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77.xml" ContentType="application/vnd.openxmlformats-officedocument.drawingml.chart+xml"/>
  <Override PartName="/ppt/charts/chart2378.xml" ContentType="application/vnd.openxmlformats-officedocument.drawingml.chart+xml"/>
  <Override PartName="/ppt/charts/chart2379.xml" ContentType="application/vnd.openxmlformats-officedocument.drawingml.chart+xml"/>
  <Override PartName="/ppt/charts/chart238.xml" ContentType="application/vnd.openxmlformats-officedocument.drawingml.chart+xml"/>
  <Override PartName="/ppt/charts/chart2380.xml" ContentType="application/vnd.openxmlformats-officedocument.drawingml.chart+xml"/>
  <Override PartName="/ppt/charts/chart2381.xml" ContentType="application/vnd.openxmlformats-officedocument.drawingml.chart+xml"/>
  <Override PartName="/ppt/charts/chart2382.xml" ContentType="application/vnd.openxmlformats-officedocument.drawingml.chart+xml"/>
  <Override PartName="/ppt/charts/chart2383.xml" ContentType="application/vnd.openxmlformats-officedocument.drawingml.chart+xml"/>
  <Override PartName="/ppt/charts/chart2384.xml" ContentType="application/vnd.openxmlformats-officedocument.drawingml.chart+xml"/>
  <Override PartName="/ppt/charts/chart2385.xml" ContentType="application/vnd.openxmlformats-officedocument.drawingml.chart+xml"/>
  <Override PartName="/ppt/charts/chart2386.xml" ContentType="application/vnd.openxmlformats-officedocument.drawingml.chart+xml"/>
  <Override PartName="/ppt/charts/chart2387.xml" ContentType="application/vnd.openxmlformats-officedocument.drawingml.chart+xml"/>
  <Override PartName="/ppt/charts/chart2388.xml" ContentType="application/vnd.openxmlformats-officedocument.drawingml.chart+xml"/>
  <Override PartName="/ppt/charts/chart2389.xml" ContentType="application/vnd.openxmlformats-officedocument.drawingml.chart+xml"/>
  <Override PartName="/ppt/charts/chart239.xml" ContentType="application/vnd.openxmlformats-officedocument.drawingml.chart+xml"/>
  <Override PartName="/ppt/charts/chart2390.xml" ContentType="application/vnd.openxmlformats-officedocument.drawingml.chart+xml"/>
  <Override PartName="/ppt/charts/chart2391.xml" ContentType="application/vnd.openxmlformats-officedocument.drawingml.chart+xml"/>
  <Override PartName="/ppt/charts/chart2392.xml" ContentType="application/vnd.openxmlformats-officedocument.drawingml.chart+xml"/>
  <Override PartName="/ppt/charts/chart2393.xml" ContentType="application/vnd.openxmlformats-officedocument.drawingml.chart+xml"/>
  <Override PartName="/ppt/charts/chart2394.xml" ContentType="application/vnd.openxmlformats-officedocument.drawingml.chart+xml"/>
  <Override PartName="/ppt/charts/chart2395.xml" ContentType="application/vnd.openxmlformats-officedocument.drawingml.chart+xml"/>
  <Override PartName="/ppt/charts/chart2396.xml" ContentType="application/vnd.openxmlformats-officedocument.drawingml.chart+xml"/>
  <Override PartName="/ppt/charts/chart2397.xml" ContentType="application/vnd.openxmlformats-officedocument.drawingml.chart+xml"/>
  <Override PartName="/ppt/charts/chart2398.xml" ContentType="application/vnd.openxmlformats-officedocument.drawingml.chart+xml"/>
  <Override PartName="/ppt/charts/chart239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00.xml" ContentType="application/vnd.openxmlformats-officedocument.drawingml.chart+xml"/>
  <Override PartName="/ppt/charts/chart2401.xml" ContentType="application/vnd.openxmlformats-officedocument.drawingml.chart+xml"/>
  <Override PartName="/ppt/charts/chart2402.xml" ContentType="application/vnd.openxmlformats-officedocument.drawingml.chart+xml"/>
  <Override PartName="/ppt/charts/chart2403.xml" ContentType="application/vnd.openxmlformats-officedocument.drawingml.chart+xml"/>
  <Override PartName="/ppt/charts/chart2404.xml" ContentType="application/vnd.openxmlformats-officedocument.drawingml.chart+xml"/>
  <Override PartName="/ppt/charts/chart2405.xml" ContentType="application/vnd.openxmlformats-officedocument.drawingml.chart+xml"/>
  <Override PartName="/ppt/charts/chart2406.xml" ContentType="application/vnd.openxmlformats-officedocument.drawingml.chart+xml"/>
  <Override PartName="/ppt/charts/chart2407.xml" ContentType="application/vnd.openxmlformats-officedocument.drawingml.chart+xml"/>
  <Override PartName="/ppt/charts/chart2408.xml" ContentType="application/vnd.openxmlformats-officedocument.drawingml.chart+xml"/>
  <Override PartName="/ppt/charts/chart2409.xml" ContentType="application/vnd.openxmlformats-officedocument.drawingml.chart+xml"/>
  <Override PartName="/ppt/charts/chart241.xml" ContentType="application/vnd.openxmlformats-officedocument.drawingml.chart+xml"/>
  <Override PartName="/ppt/charts/chart2410.xml" ContentType="application/vnd.openxmlformats-officedocument.drawingml.chart+xml"/>
  <Override PartName="/ppt/charts/chart2411.xml" ContentType="application/vnd.openxmlformats-officedocument.drawingml.chart+xml"/>
  <Override PartName="/ppt/charts/chart2412.xml" ContentType="application/vnd.openxmlformats-officedocument.drawingml.chart+xml"/>
  <Override PartName="/ppt/charts/chart2413.xml" ContentType="application/vnd.openxmlformats-officedocument.drawingml.chart+xml"/>
  <Override PartName="/ppt/charts/chart2414.xml" ContentType="application/vnd.openxmlformats-officedocument.drawingml.chart+xml"/>
  <Override PartName="/ppt/charts/chart2415.xml" ContentType="application/vnd.openxmlformats-officedocument.drawingml.chart+xml"/>
  <Override PartName="/ppt/charts/chart2416.xml" ContentType="application/vnd.openxmlformats-officedocument.drawingml.chart+xml"/>
  <Override PartName="/ppt/charts/chart2417.xml" ContentType="application/vnd.openxmlformats-officedocument.drawingml.chart+xml"/>
  <Override PartName="/ppt/charts/chart2418.xml" ContentType="application/vnd.openxmlformats-officedocument.drawingml.chart+xml"/>
  <Override PartName="/ppt/charts/chart2419.xml" ContentType="application/vnd.openxmlformats-officedocument.drawingml.chart+xml"/>
  <Override PartName="/ppt/charts/chart242.xml" ContentType="application/vnd.openxmlformats-officedocument.drawingml.chart+xml"/>
  <Override PartName="/ppt/charts/chart2420.xml" ContentType="application/vnd.openxmlformats-officedocument.drawingml.chart+xml"/>
  <Override PartName="/ppt/charts/chart2421.xml" ContentType="application/vnd.openxmlformats-officedocument.drawingml.chart+xml"/>
  <Override PartName="/ppt/charts/chart2422.xml" ContentType="application/vnd.openxmlformats-officedocument.drawingml.chart+xml"/>
  <Override PartName="/ppt/charts/chart2423.xml" ContentType="application/vnd.openxmlformats-officedocument.drawingml.chart+xml"/>
  <Override PartName="/ppt/charts/chart2424.xml" ContentType="application/vnd.openxmlformats-officedocument.drawingml.chart+xml"/>
  <Override PartName="/ppt/charts/chart2425.xml" ContentType="application/vnd.openxmlformats-officedocument.drawingml.chart+xml"/>
  <Override PartName="/ppt/charts/chart2426.xml" ContentType="application/vnd.openxmlformats-officedocument.drawingml.chart+xml"/>
  <Override PartName="/ppt/charts/chart2427.xml" ContentType="application/vnd.openxmlformats-officedocument.drawingml.chart+xml"/>
  <Override PartName="/ppt/charts/chart2428.xml" ContentType="application/vnd.openxmlformats-officedocument.drawingml.chart+xml"/>
  <Override PartName="/ppt/charts/chart2429.xml" ContentType="application/vnd.openxmlformats-officedocument.drawingml.chart+xml"/>
  <Override PartName="/ppt/charts/chart243.xml" ContentType="application/vnd.openxmlformats-officedocument.drawingml.chart+xml"/>
  <Override PartName="/ppt/charts/chart2430.xml" ContentType="application/vnd.openxmlformats-officedocument.drawingml.chart+xml"/>
  <Override PartName="/ppt/charts/chart2431.xml" ContentType="application/vnd.openxmlformats-officedocument.drawingml.chart+xml"/>
  <Override PartName="/ppt/charts/chart2432.xml" ContentType="application/vnd.openxmlformats-officedocument.drawingml.chart+xml"/>
  <Override PartName="/ppt/charts/chart2433.xml" ContentType="application/vnd.openxmlformats-officedocument.drawingml.chart+xml"/>
  <Override PartName="/ppt/charts/chart2434.xml" ContentType="application/vnd.openxmlformats-officedocument.drawingml.chart+xml"/>
  <Override PartName="/ppt/charts/chart2435.xml" ContentType="application/vnd.openxmlformats-officedocument.drawingml.chart+xml"/>
  <Override PartName="/ppt/charts/chart2436.xml" ContentType="application/vnd.openxmlformats-officedocument.drawingml.chart+xml"/>
  <Override PartName="/ppt/charts/chart2437.xml" ContentType="application/vnd.openxmlformats-officedocument.drawingml.chart+xml"/>
  <Override PartName="/ppt/charts/chart2438.xml" ContentType="application/vnd.openxmlformats-officedocument.drawingml.chart+xml"/>
  <Override PartName="/ppt/charts/chart2439.xml" ContentType="application/vnd.openxmlformats-officedocument.drawingml.chart+xml"/>
  <Override PartName="/ppt/charts/chart244.xml" ContentType="application/vnd.openxmlformats-officedocument.drawingml.chart+xml"/>
  <Override PartName="/ppt/charts/chart2440.xml" ContentType="application/vnd.openxmlformats-officedocument.drawingml.chart+xml"/>
  <Override PartName="/ppt/charts/chart2441.xml" ContentType="application/vnd.openxmlformats-officedocument.drawingml.chart+xml"/>
  <Override PartName="/ppt/charts/chart2442.xml" ContentType="application/vnd.openxmlformats-officedocument.drawingml.chart+xml"/>
  <Override PartName="/ppt/charts/chart2443.xml" ContentType="application/vnd.openxmlformats-officedocument.drawingml.chart+xml"/>
  <Override PartName="/ppt/charts/chart2444.xml" ContentType="application/vnd.openxmlformats-officedocument.drawingml.chart+xml"/>
  <Override PartName="/ppt/charts/chart2445.xml" ContentType="application/vnd.openxmlformats-officedocument.drawingml.chart+xml"/>
  <Override PartName="/ppt/charts/chart2446.xml" ContentType="application/vnd.openxmlformats-officedocument.drawingml.chart+xml"/>
  <Override PartName="/ppt/charts/chart2447.xml" ContentType="application/vnd.openxmlformats-officedocument.drawingml.chart+xml"/>
  <Override PartName="/ppt/charts/chart2448.xml" ContentType="application/vnd.openxmlformats-officedocument.drawingml.chart+xml"/>
  <Override PartName="/ppt/charts/chart2449.xml" ContentType="application/vnd.openxmlformats-officedocument.drawingml.chart+xml"/>
  <Override PartName="/ppt/charts/chart245.xml" ContentType="application/vnd.openxmlformats-officedocument.drawingml.chart+xml"/>
  <Override PartName="/ppt/charts/chart2450.xml" ContentType="application/vnd.openxmlformats-officedocument.drawingml.chart+xml"/>
  <Override PartName="/ppt/charts/chart2451.xml" ContentType="application/vnd.openxmlformats-officedocument.drawingml.chart+xml"/>
  <Override PartName="/ppt/charts/chart2452.xml" ContentType="application/vnd.openxmlformats-officedocument.drawingml.chart+xml"/>
  <Override PartName="/ppt/charts/chart2453.xml" ContentType="application/vnd.openxmlformats-officedocument.drawingml.chart+xml"/>
  <Override PartName="/ppt/charts/chart2454.xml" ContentType="application/vnd.openxmlformats-officedocument.drawingml.chart+xml"/>
  <Override PartName="/ppt/charts/chart2455.xml" ContentType="application/vnd.openxmlformats-officedocument.drawingml.chart+xml"/>
  <Override PartName="/ppt/charts/chart2456.xml" ContentType="application/vnd.openxmlformats-officedocument.drawingml.chart+xml"/>
  <Override PartName="/ppt/charts/chart2457.xml" ContentType="application/vnd.openxmlformats-officedocument.drawingml.chart+xml"/>
  <Override PartName="/ppt/charts/chart2458.xml" ContentType="application/vnd.openxmlformats-officedocument.drawingml.chart+xml"/>
  <Override PartName="/ppt/charts/chart2459.xml" ContentType="application/vnd.openxmlformats-officedocument.drawingml.chart+xml"/>
  <Override PartName="/ppt/charts/chart246.xml" ContentType="application/vnd.openxmlformats-officedocument.drawingml.chart+xml"/>
  <Override PartName="/ppt/charts/chart2460.xml" ContentType="application/vnd.openxmlformats-officedocument.drawingml.chart+xml"/>
  <Override PartName="/ppt/charts/chart2461.xml" ContentType="application/vnd.openxmlformats-officedocument.drawingml.chart+xml"/>
  <Override PartName="/ppt/charts/chart2462.xml" ContentType="application/vnd.openxmlformats-officedocument.drawingml.chart+xml"/>
  <Override PartName="/ppt/charts/chart2463.xml" ContentType="application/vnd.openxmlformats-officedocument.drawingml.chart+xml"/>
  <Override PartName="/ppt/charts/chart2464.xml" ContentType="application/vnd.openxmlformats-officedocument.drawingml.chart+xml"/>
  <Override PartName="/ppt/charts/chart2465.xml" ContentType="application/vnd.openxmlformats-officedocument.drawingml.chart+xml"/>
  <Override PartName="/ppt/charts/chart2466.xml" ContentType="application/vnd.openxmlformats-officedocument.drawingml.chart+xml"/>
  <Override PartName="/ppt/charts/chart2467.xml" ContentType="application/vnd.openxmlformats-officedocument.drawingml.chart+xml"/>
  <Override PartName="/ppt/charts/chart2468.xml" ContentType="application/vnd.openxmlformats-officedocument.drawingml.chart+xml"/>
  <Override PartName="/ppt/charts/chart2469.xml" ContentType="application/vnd.openxmlformats-officedocument.drawingml.chart+xml"/>
  <Override PartName="/ppt/charts/chart247.xml" ContentType="application/vnd.openxmlformats-officedocument.drawingml.chart+xml"/>
  <Override PartName="/ppt/charts/chart2470.xml" ContentType="application/vnd.openxmlformats-officedocument.drawingml.chart+xml"/>
  <Override PartName="/ppt/charts/chart2471.xml" ContentType="application/vnd.openxmlformats-officedocument.drawingml.chart+xml"/>
  <Override PartName="/ppt/charts/chart2472.xml" ContentType="application/vnd.openxmlformats-officedocument.drawingml.chart+xml"/>
  <Override PartName="/ppt/charts/chart2473.xml" ContentType="application/vnd.openxmlformats-officedocument.drawingml.chart+xml"/>
  <Override PartName="/ppt/charts/chart2474.xml" ContentType="application/vnd.openxmlformats-officedocument.drawingml.chart+xml"/>
  <Override PartName="/ppt/charts/chart2475.xml" ContentType="application/vnd.openxmlformats-officedocument.drawingml.chart+xml"/>
  <Override PartName="/ppt/charts/chart2476.xml" ContentType="application/vnd.openxmlformats-officedocument.drawingml.chart+xml"/>
  <Override PartName="/ppt/charts/chart2477.xml" ContentType="application/vnd.openxmlformats-officedocument.drawingml.chart+xml"/>
  <Override PartName="/ppt/charts/chart2478.xml" ContentType="application/vnd.openxmlformats-officedocument.drawingml.chart+xml"/>
  <Override PartName="/ppt/charts/chart2479.xml" ContentType="application/vnd.openxmlformats-officedocument.drawingml.chart+xml"/>
  <Override PartName="/ppt/charts/chart248.xml" ContentType="application/vnd.openxmlformats-officedocument.drawingml.chart+xml"/>
  <Override PartName="/ppt/charts/chart2480.xml" ContentType="application/vnd.openxmlformats-officedocument.drawingml.chart+xml"/>
  <Override PartName="/ppt/charts/chart2481.xml" ContentType="application/vnd.openxmlformats-officedocument.drawingml.chart+xml"/>
  <Override PartName="/ppt/charts/chart2482.xml" ContentType="application/vnd.openxmlformats-officedocument.drawingml.chart+xml"/>
  <Override PartName="/ppt/charts/chart2483.xml" ContentType="application/vnd.openxmlformats-officedocument.drawingml.chart+xml"/>
  <Override PartName="/ppt/charts/chart2484.xml" ContentType="application/vnd.openxmlformats-officedocument.drawingml.chart+xml"/>
  <Override PartName="/ppt/charts/chart2485.xml" ContentType="application/vnd.openxmlformats-officedocument.drawingml.chart+xml"/>
  <Override PartName="/ppt/charts/chart2486.xml" ContentType="application/vnd.openxmlformats-officedocument.drawingml.chart+xml"/>
  <Override PartName="/ppt/charts/chart2487.xml" ContentType="application/vnd.openxmlformats-officedocument.drawingml.chart+xml"/>
  <Override PartName="/ppt/charts/chart2488.xml" ContentType="application/vnd.openxmlformats-officedocument.drawingml.chart+xml"/>
  <Override PartName="/ppt/charts/chart2489.xml" ContentType="application/vnd.openxmlformats-officedocument.drawingml.chart+xml"/>
  <Override PartName="/ppt/charts/chart249.xml" ContentType="application/vnd.openxmlformats-officedocument.drawingml.chart+xml"/>
  <Override PartName="/ppt/charts/chart2490.xml" ContentType="application/vnd.openxmlformats-officedocument.drawingml.chart+xml"/>
  <Override PartName="/ppt/charts/chart2491.xml" ContentType="application/vnd.openxmlformats-officedocument.drawingml.chart+xml"/>
  <Override PartName="/ppt/charts/chart2492.xml" ContentType="application/vnd.openxmlformats-officedocument.drawingml.chart+xml"/>
  <Override PartName="/ppt/charts/chart2493.xml" ContentType="application/vnd.openxmlformats-officedocument.drawingml.chart+xml"/>
  <Override PartName="/ppt/charts/chart2494.xml" ContentType="application/vnd.openxmlformats-officedocument.drawingml.chart+xml"/>
  <Override PartName="/ppt/charts/chart2495.xml" ContentType="application/vnd.openxmlformats-officedocument.drawingml.chart+xml"/>
  <Override PartName="/ppt/charts/chart2496.xml" ContentType="application/vnd.openxmlformats-officedocument.drawingml.chart+xml"/>
  <Override PartName="/ppt/charts/chart2497.xml" ContentType="application/vnd.openxmlformats-officedocument.drawingml.chart+xml"/>
  <Override PartName="/ppt/charts/chart2498.xml" ContentType="application/vnd.openxmlformats-officedocument.drawingml.chart+xml"/>
  <Override PartName="/ppt/charts/chart249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00.xml" ContentType="application/vnd.openxmlformats-officedocument.drawingml.chart+xml"/>
  <Override PartName="/ppt/charts/chart2501.xml" ContentType="application/vnd.openxmlformats-officedocument.drawingml.chart+xml"/>
  <Override PartName="/ppt/charts/chart2502.xml" ContentType="application/vnd.openxmlformats-officedocument.drawingml.chart+xml"/>
  <Override PartName="/ppt/charts/chart2503.xml" ContentType="application/vnd.openxmlformats-officedocument.drawingml.chart+xml"/>
  <Override PartName="/ppt/charts/chart2504.xml" ContentType="application/vnd.openxmlformats-officedocument.drawingml.chart+xml"/>
  <Override PartName="/ppt/charts/chart2505.xml" ContentType="application/vnd.openxmlformats-officedocument.drawingml.chart+xml"/>
  <Override PartName="/ppt/charts/chart2506.xml" ContentType="application/vnd.openxmlformats-officedocument.drawingml.chart+xml"/>
  <Override PartName="/ppt/charts/chart2507.xml" ContentType="application/vnd.openxmlformats-officedocument.drawingml.chart+xml"/>
  <Override PartName="/ppt/charts/chart2508.xml" ContentType="application/vnd.openxmlformats-officedocument.drawingml.chart+xml"/>
  <Override PartName="/ppt/charts/chart2509.xml" ContentType="application/vnd.openxmlformats-officedocument.drawingml.chart+xml"/>
  <Override PartName="/ppt/charts/chart251.xml" ContentType="application/vnd.openxmlformats-officedocument.drawingml.chart+xml"/>
  <Override PartName="/ppt/charts/chart2510.xml" ContentType="application/vnd.openxmlformats-officedocument.drawingml.chart+xml"/>
  <Override PartName="/ppt/charts/chart2511.xml" ContentType="application/vnd.openxmlformats-officedocument.drawingml.chart+xml"/>
  <Override PartName="/ppt/charts/chart2512.xml" ContentType="application/vnd.openxmlformats-officedocument.drawingml.chart+xml"/>
  <Override PartName="/ppt/charts/chart2513.xml" ContentType="application/vnd.openxmlformats-officedocument.drawingml.chart+xml"/>
  <Override PartName="/ppt/charts/chart2514.xml" ContentType="application/vnd.openxmlformats-officedocument.drawingml.chart+xml"/>
  <Override PartName="/ppt/charts/chart2515.xml" ContentType="application/vnd.openxmlformats-officedocument.drawingml.chart+xml"/>
  <Override PartName="/ppt/charts/chart2516.xml" ContentType="application/vnd.openxmlformats-officedocument.drawingml.chart+xml"/>
  <Override PartName="/ppt/charts/chart2517.xml" ContentType="application/vnd.openxmlformats-officedocument.drawingml.chart+xml"/>
  <Override PartName="/ppt/charts/chart2518.xml" ContentType="application/vnd.openxmlformats-officedocument.drawingml.chart+xml"/>
  <Override PartName="/ppt/charts/chart2519.xml" ContentType="application/vnd.openxmlformats-officedocument.drawingml.chart+xml"/>
  <Override PartName="/ppt/charts/chart252.xml" ContentType="application/vnd.openxmlformats-officedocument.drawingml.chart+xml"/>
  <Override PartName="/ppt/charts/chart2520.xml" ContentType="application/vnd.openxmlformats-officedocument.drawingml.chart+xml"/>
  <Override PartName="/ppt/charts/chart2521.xml" ContentType="application/vnd.openxmlformats-officedocument.drawingml.chart+xml"/>
  <Override PartName="/ppt/charts/chart2522.xml" ContentType="application/vnd.openxmlformats-officedocument.drawingml.chart+xml"/>
  <Override PartName="/ppt/charts/chart2523.xml" ContentType="application/vnd.openxmlformats-officedocument.drawingml.chart+xml"/>
  <Override PartName="/ppt/charts/chart2524.xml" ContentType="application/vnd.openxmlformats-officedocument.drawingml.chart+xml"/>
  <Override PartName="/ppt/charts/chart2525.xml" ContentType="application/vnd.openxmlformats-officedocument.drawingml.chart+xml"/>
  <Override PartName="/ppt/charts/chart2526.xml" ContentType="application/vnd.openxmlformats-officedocument.drawingml.chart+xml"/>
  <Override PartName="/ppt/charts/chart2527.xml" ContentType="application/vnd.openxmlformats-officedocument.drawingml.chart+xml"/>
  <Override PartName="/ppt/charts/chart2528.xml" ContentType="application/vnd.openxmlformats-officedocument.drawingml.chart+xml"/>
  <Override PartName="/ppt/charts/chart2529.xml" ContentType="application/vnd.openxmlformats-officedocument.drawingml.chart+xml"/>
  <Override PartName="/ppt/charts/chart253.xml" ContentType="application/vnd.openxmlformats-officedocument.drawingml.chart+xml"/>
  <Override PartName="/ppt/charts/chart2530.xml" ContentType="application/vnd.openxmlformats-officedocument.drawingml.chart+xml"/>
  <Override PartName="/ppt/charts/chart2531.xml" ContentType="application/vnd.openxmlformats-officedocument.drawingml.chart+xml"/>
  <Override PartName="/ppt/charts/chart2532.xml" ContentType="application/vnd.openxmlformats-officedocument.drawingml.chart+xml"/>
  <Override PartName="/ppt/charts/chart2533.xml" ContentType="application/vnd.openxmlformats-officedocument.drawingml.chart+xml"/>
  <Override PartName="/ppt/charts/chart2534.xml" ContentType="application/vnd.openxmlformats-officedocument.drawingml.chart+xml"/>
  <Override PartName="/ppt/charts/chart2535.xml" ContentType="application/vnd.openxmlformats-officedocument.drawingml.chart+xml"/>
  <Override PartName="/ppt/charts/chart2536.xml" ContentType="application/vnd.openxmlformats-officedocument.drawingml.chart+xml"/>
  <Override PartName="/ppt/charts/chart2537.xml" ContentType="application/vnd.openxmlformats-officedocument.drawingml.chart+xml"/>
  <Override PartName="/ppt/charts/chart2538.xml" ContentType="application/vnd.openxmlformats-officedocument.drawingml.chart+xml"/>
  <Override PartName="/ppt/charts/chart2539.xml" ContentType="application/vnd.openxmlformats-officedocument.drawingml.chart+xml"/>
  <Override PartName="/ppt/charts/chart254.xml" ContentType="application/vnd.openxmlformats-officedocument.drawingml.chart+xml"/>
  <Override PartName="/ppt/charts/chart2540.xml" ContentType="application/vnd.openxmlformats-officedocument.drawingml.chart+xml"/>
  <Override PartName="/ppt/charts/chart2541.xml" ContentType="application/vnd.openxmlformats-officedocument.drawingml.chart+xml"/>
  <Override PartName="/ppt/charts/chart2542.xml" ContentType="application/vnd.openxmlformats-officedocument.drawingml.chart+xml"/>
  <Override PartName="/ppt/charts/chart2543.xml" ContentType="application/vnd.openxmlformats-officedocument.drawingml.chart+xml"/>
  <Override PartName="/ppt/charts/chart2544.xml" ContentType="application/vnd.openxmlformats-officedocument.drawingml.chart+xml"/>
  <Override PartName="/ppt/charts/chart2545.xml" ContentType="application/vnd.openxmlformats-officedocument.drawingml.chart+xml"/>
  <Override PartName="/ppt/charts/chart2546.xml" ContentType="application/vnd.openxmlformats-officedocument.drawingml.chart+xml"/>
  <Override PartName="/ppt/charts/chart2547.xml" ContentType="application/vnd.openxmlformats-officedocument.drawingml.chart+xml"/>
  <Override PartName="/ppt/charts/chart2548.xml" ContentType="application/vnd.openxmlformats-officedocument.drawingml.chart+xml"/>
  <Override PartName="/ppt/charts/chart2549.xml" ContentType="application/vnd.openxmlformats-officedocument.drawingml.chart+xml"/>
  <Override PartName="/ppt/charts/chart255.xml" ContentType="application/vnd.openxmlformats-officedocument.drawingml.chart+xml"/>
  <Override PartName="/ppt/charts/chart2550.xml" ContentType="application/vnd.openxmlformats-officedocument.drawingml.chart+xml"/>
  <Override PartName="/ppt/charts/chart2551.xml" ContentType="application/vnd.openxmlformats-officedocument.drawingml.chart+xml"/>
  <Override PartName="/ppt/charts/chart2552.xml" ContentType="application/vnd.openxmlformats-officedocument.drawingml.chart+xml"/>
  <Override PartName="/ppt/charts/chart2553.xml" ContentType="application/vnd.openxmlformats-officedocument.drawingml.chart+xml"/>
  <Override PartName="/ppt/charts/chart2554.xml" ContentType="application/vnd.openxmlformats-officedocument.drawingml.chart+xml"/>
  <Override PartName="/ppt/charts/chart2555.xml" ContentType="application/vnd.openxmlformats-officedocument.drawingml.chart+xml"/>
  <Override PartName="/ppt/charts/chart2556.xml" ContentType="application/vnd.openxmlformats-officedocument.drawingml.chart+xml"/>
  <Override PartName="/ppt/charts/chart2557.xml" ContentType="application/vnd.openxmlformats-officedocument.drawingml.chart+xml"/>
  <Override PartName="/ppt/charts/chart2558.xml" ContentType="application/vnd.openxmlformats-officedocument.drawingml.chart+xml"/>
  <Override PartName="/ppt/charts/chart2559.xml" ContentType="application/vnd.openxmlformats-officedocument.drawingml.chart+xml"/>
  <Override PartName="/ppt/charts/chart256.xml" ContentType="application/vnd.openxmlformats-officedocument.drawingml.chart+xml"/>
  <Override PartName="/ppt/charts/chart2560.xml" ContentType="application/vnd.openxmlformats-officedocument.drawingml.chart+xml"/>
  <Override PartName="/ppt/charts/chart2561.xml" ContentType="application/vnd.openxmlformats-officedocument.drawingml.chart+xml"/>
  <Override PartName="/ppt/charts/chart2562.xml" ContentType="application/vnd.openxmlformats-officedocument.drawingml.chart+xml"/>
  <Override PartName="/ppt/charts/chart2563.xml" ContentType="application/vnd.openxmlformats-officedocument.drawingml.chart+xml"/>
  <Override PartName="/ppt/charts/chart2564.xml" ContentType="application/vnd.openxmlformats-officedocument.drawingml.chart+xml"/>
  <Override PartName="/ppt/charts/chart2565.xml" ContentType="application/vnd.openxmlformats-officedocument.drawingml.chart+xml"/>
  <Override PartName="/ppt/charts/chart2566.xml" ContentType="application/vnd.openxmlformats-officedocument.drawingml.chart+xml"/>
  <Override PartName="/ppt/charts/chart2567.xml" ContentType="application/vnd.openxmlformats-officedocument.drawingml.chart+xml"/>
  <Override PartName="/ppt/charts/chart2568.xml" ContentType="application/vnd.openxmlformats-officedocument.drawingml.chart+xml"/>
  <Override PartName="/ppt/charts/chart2569.xml" ContentType="application/vnd.openxmlformats-officedocument.drawingml.chart+xml"/>
  <Override PartName="/ppt/charts/chart257.xml" ContentType="application/vnd.openxmlformats-officedocument.drawingml.chart+xml"/>
  <Override PartName="/ppt/charts/chart2570.xml" ContentType="application/vnd.openxmlformats-officedocument.drawingml.chart+xml"/>
  <Override PartName="/ppt/charts/chart2571.xml" ContentType="application/vnd.openxmlformats-officedocument.drawingml.chart+xml"/>
  <Override PartName="/ppt/charts/chart2572.xml" ContentType="application/vnd.openxmlformats-officedocument.drawingml.chart+xml"/>
  <Override PartName="/ppt/charts/chart2573.xml" ContentType="application/vnd.openxmlformats-officedocument.drawingml.chart+xml"/>
  <Override PartName="/ppt/charts/chart2574.xml" ContentType="application/vnd.openxmlformats-officedocument.drawingml.chart+xml"/>
  <Override PartName="/ppt/charts/chart2575.xml" ContentType="application/vnd.openxmlformats-officedocument.drawingml.chart+xml"/>
  <Override PartName="/ppt/charts/chart2576.xml" ContentType="application/vnd.openxmlformats-officedocument.drawingml.chart+xml"/>
  <Override PartName="/ppt/charts/chart2577.xml" ContentType="application/vnd.openxmlformats-officedocument.drawingml.chart+xml"/>
  <Override PartName="/ppt/charts/chart2578.xml" ContentType="application/vnd.openxmlformats-officedocument.drawingml.chart+xml"/>
  <Override PartName="/ppt/charts/chart2579.xml" ContentType="application/vnd.openxmlformats-officedocument.drawingml.chart+xml"/>
  <Override PartName="/ppt/charts/chart258.xml" ContentType="application/vnd.openxmlformats-officedocument.drawingml.chart+xml"/>
  <Override PartName="/ppt/charts/chart2580.xml" ContentType="application/vnd.openxmlformats-officedocument.drawingml.chart+xml"/>
  <Override PartName="/ppt/charts/chart2581.xml" ContentType="application/vnd.openxmlformats-officedocument.drawingml.chart+xml"/>
  <Override PartName="/ppt/charts/chart2582.xml" ContentType="application/vnd.openxmlformats-officedocument.drawingml.chart+xml"/>
  <Override PartName="/ppt/charts/chart2583.xml" ContentType="application/vnd.openxmlformats-officedocument.drawingml.chart+xml"/>
  <Override PartName="/ppt/charts/chart2584.xml" ContentType="application/vnd.openxmlformats-officedocument.drawingml.chart+xml"/>
  <Override PartName="/ppt/charts/chart2585.xml" ContentType="application/vnd.openxmlformats-officedocument.drawingml.chart+xml"/>
  <Override PartName="/ppt/charts/chart2586.xml" ContentType="application/vnd.openxmlformats-officedocument.drawingml.chart+xml"/>
  <Override PartName="/ppt/charts/chart2587.xml" ContentType="application/vnd.openxmlformats-officedocument.drawingml.chart+xml"/>
  <Override PartName="/ppt/charts/chart2588.xml" ContentType="application/vnd.openxmlformats-officedocument.drawingml.chart+xml"/>
  <Override PartName="/ppt/charts/chart2589.xml" ContentType="application/vnd.openxmlformats-officedocument.drawingml.chart+xml"/>
  <Override PartName="/ppt/charts/chart259.xml" ContentType="application/vnd.openxmlformats-officedocument.drawingml.chart+xml"/>
  <Override PartName="/ppt/charts/chart2590.xml" ContentType="application/vnd.openxmlformats-officedocument.drawingml.chart+xml"/>
  <Override PartName="/ppt/charts/chart2591.xml" ContentType="application/vnd.openxmlformats-officedocument.drawingml.chart+xml"/>
  <Override PartName="/ppt/charts/chart2592.xml" ContentType="application/vnd.openxmlformats-officedocument.drawingml.chart+xml"/>
  <Override PartName="/ppt/charts/chart2593.xml" ContentType="application/vnd.openxmlformats-officedocument.drawingml.chart+xml"/>
  <Override PartName="/ppt/charts/chart2594.xml" ContentType="application/vnd.openxmlformats-officedocument.drawingml.chart+xml"/>
  <Override PartName="/ppt/charts/chart2595.xml" ContentType="application/vnd.openxmlformats-officedocument.drawingml.chart+xml"/>
  <Override PartName="/ppt/charts/chart2596.xml" ContentType="application/vnd.openxmlformats-officedocument.drawingml.chart+xml"/>
  <Override PartName="/ppt/charts/chart2597.xml" ContentType="application/vnd.openxmlformats-officedocument.drawingml.chart+xml"/>
  <Override PartName="/ppt/charts/chart2598.xml" ContentType="application/vnd.openxmlformats-officedocument.drawingml.chart+xml"/>
  <Override PartName="/ppt/charts/chart259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00.xml" ContentType="application/vnd.openxmlformats-officedocument.drawingml.chart+xml"/>
  <Override PartName="/ppt/charts/chart2601.xml" ContentType="application/vnd.openxmlformats-officedocument.drawingml.chart+xml"/>
  <Override PartName="/ppt/charts/chart2602.xml" ContentType="application/vnd.openxmlformats-officedocument.drawingml.chart+xml"/>
  <Override PartName="/ppt/charts/chart2603.xml" ContentType="application/vnd.openxmlformats-officedocument.drawingml.chart+xml"/>
  <Override PartName="/ppt/charts/chart2604.xml" ContentType="application/vnd.openxmlformats-officedocument.drawingml.chart+xml"/>
  <Override PartName="/ppt/charts/chart2605.xml" ContentType="application/vnd.openxmlformats-officedocument.drawingml.chart+xml"/>
  <Override PartName="/ppt/charts/chart2606.xml" ContentType="application/vnd.openxmlformats-officedocument.drawingml.chart+xml"/>
  <Override PartName="/ppt/charts/chart2607.xml" ContentType="application/vnd.openxmlformats-officedocument.drawingml.chart+xml"/>
  <Override PartName="/ppt/charts/chart2608.xml" ContentType="application/vnd.openxmlformats-officedocument.drawingml.chart+xml"/>
  <Override PartName="/ppt/charts/chart2609.xml" ContentType="application/vnd.openxmlformats-officedocument.drawingml.chart+xml"/>
  <Override PartName="/ppt/charts/chart261.xml" ContentType="application/vnd.openxmlformats-officedocument.drawingml.chart+xml"/>
  <Override PartName="/ppt/charts/chart2610.xml" ContentType="application/vnd.openxmlformats-officedocument.drawingml.chart+xml"/>
  <Override PartName="/ppt/charts/chart2611.xml" ContentType="application/vnd.openxmlformats-officedocument.drawingml.chart+xml"/>
  <Override PartName="/ppt/charts/chart2612.xml" ContentType="application/vnd.openxmlformats-officedocument.drawingml.chart+xml"/>
  <Override PartName="/ppt/charts/chart2613.xml" ContentType="application/vnd.openxmlformats-officedocument.drawingml.chart+xml"/>
  <Override PartName="/ppt/charts/chart2614.xml" ContentType="application/vnd.openxmlformats-officedocument.drawingml.chart+xml"/>
  <Override PartName="/ppt/charts/chart2615.xml" ContentType="application/vnd.openxmlformats-officedocument.drawingml.chart+xml"/>
  <Override PartName="/ppt/charts/chart2616.xml" ContentType="application/vnd.openxmlformats-officedocument.drawingml.chart+xml"/>
  <Override PartName="/ppt/charts/chart2617.xml" ContentType="application/vnd.openxmlformats-officedocument.drawingml.chart+xml"/>
  <Override PartName="/ppt/charts/chart2618.xml" ContentType="application/vnd.openxmlformats-officedocument.drawingml.chart+xml"/>
  <Override PartName="/ppt/charts/chart2619.xml" ContentType="application/vnd.openxmlformats-officedocument.drawingml.chart+xml"/>
  <Override PartName="/ppt/charts/chart262.xml" ContentType="application/vnd.openxmlformats-officedocument.drawingml.chart+xml"/>
  <Override PartName="/ppt/charts/chart2620.xml" ContentType="application/vnd.openxmlformats-officedocument.drawingml.chart+xml"/>
  <Override PartName="/ppt/charts/chart2621.xml" ContentType="application/vnd.openxmlformats-officedocument.drawingml.chart+xml"/>
  <Override PartName="/ppt/charts/chart2622.xml" ContentType="application/vnd.openxmlformats-officedocument.drawingml.chart+xml"/>
  <Override PartName="/ppt/charts/chart2623.xml" ContentType="application/vnd.openxmlformats-officedocument.drawingml.chart+xml"/>
  <Override PartName="/ppt/charts/chart2624.xml" ContentType="application/vnd.openxmlformats-officedocument.drawingml.chart+xml"/>
  <Override PartName="/ppt/charts/chart2625.xml" ContentType="application/vnd.openxmlformats-officedocument.drawingml.chart+xml"/>
  <Override PartName="/ppt/charts/chart2626.xml" ContentType="application/vnd.openxmlformats-officedocument.drawingml.chart+xml"/>
  <Override PartName="/ppt/charts/chart2627.xml" ContentType="application/vnd.openxmlformats-officedocument.drawingml.chart+xml"/>
  <Override PartName="/ppt/charts/chart2628.xml" ContentType="application/vnd.openxmlformats-officedocument.drawingml.chart+xml"/>
  <Override PartName="/ppt/charts/chart2629.xml" ContentType="application/vnd.openxmlformats-officedocument.drawingml.chart+xml"/>
  <Override PartName="/ppt/charts/chart263.xml" ContentType="application/vnd.openxmlformats-officedocument.drawingml.chart+xml"/>
  <Override PartName="/ppt/charts/chart2630.xml" ContentType="application/vnd.openxmlformats-officedocument.drawingml.chart+xml"/>
  <Override PartName="/ppt/charts/chart2631.xml" ContentType="application/vnd.openxmlformats-officedocument.drawingml.chart+xml"/>
  <Override PartName="/ppt/charts/chart2632.xml" ContentType="application/vnd.openxmlformats-officedocument.drawingml.chart+xml"/>
  <Override PartName="/ppt/charts/chart2633.xml" ContentType="application/vnd.openxmlformats-officedocument.drawingml.chart+xml"/>
  <Override PartName="/ppt/charts/chart2634.xml" ContentType="application/vnd.openxmlformats-officedocument.drawingml.chart+xml"/>
  <Override PartName="/ppt/charts/chart2635.xml" ContentType="application/vnd.openxmlformats-officedocument.drawingml.chart+xml"/>
  <Override PartName="/ppt/charts/chart2636.xml" ContentType="application/vnd.openxmlformats-officedocument.drawingml.chart+xml"/>
  <Override PartName="/ppt/charts/chart2637.xml" ContentType="application/vnd.openxmlformats-officedocument.drawingml.chart+xml"/>
  <Override PartName="/ppt/charts/chart2638.xml" ContentType="application/vnd.openxmlformats-officedocument.drawingml.chart+xml"/>
  <Override PartName="/ppt/charts/chart2639.xml" ContentType="application/vnd.openxmlformats-officedocument.drawingml.chart+xml"/>
  <Override PartName="/ppt/charts/chart264.xml" ContentType="application/vnd.openxmlformats-officedocument.drawingml.chart+xml"/>
  <Override PartName="/ppt/charts/chart2640.xml" ContentType="application/vnd.openxmlformats-officedocument.drawingml.chart+xml"/>
  <Override PartName="/ppt/charts/chart2641.xml" ContentType="application/vnd.openxmlformats-officedocument.drawingml.chart+xml"/>
  <Override PartName="/ppt/charts/chart2642.xml" ContentType="application/vnd.openxmlformats-officedocument.drawingml.chart+xml"/>
  <Override PartName="/ppt/charts/chart2643.xml" ContentType="application/vnd.openxmlformats-officedocument.drawingml.chart+xml"/>
  <Override PartName="/ppt/charts/chart2644.xml" ContentType="application/vnd.openxmlformats-officedocument.drawingml.chart+xml"/>
  <Override PartName="/ppt/charts/chart2645.xml" ContentType="application/vnd.openxmlformats-officedocument.drawingml.chart+xml"/>
  <Override PartName="/ppt/charts/chart2646.xml" ContentType="application/vnd.openxmlformats-officedocument.drawingml.chart+xml"/>
  <Override PartName="/ppt/charts/chart2647.xml" ContentType="application/vnd.openxmlformats-officedocument.drawingml.chart+xml"/>
  <Override PartName="/ppt/charts/chart2648.xml" ContentType="application/vnd.openxmlformats-officedocument.drawingml.chart+xml"/>
  <Override PartName="/ppt/charts/chart2649.xml" ContentType="application/vnd.openxmlformats-officedocument.drawingml.chart+xml"/>
  <Override PartName="/ppt/charts/chart265.xml" ContentType="application/vnd.openxmlformats-officedocument.drawingml.chart+xml"/>
  <Override PartName="/ppt/charts/chart2650.xml" ContentType="application/vnd.openxmlformats-officedocument.drawingml.chart+xml"/>
  <Override PartName="/ppt/charts/chart2651.xml" ContentType="application/vnd.openxmlformats-officedocument.drawingml.chart+xml"/>
  <Override PartName="/ppt/charts/chart2652.xml" ContentType="application/vnd.openxmlformats-officedocument.drawingml.chart+xml"/>
  <Override PartName="/ppt/charts/chart2653.xml" ContentType="application/vnd.openxmlformats-officedocument.drawingml.chart+xml"/>
  <Override PartName="/ppt/charts/chart2654.xml" ContentType="application/vnd.openxmlformats-officedocument.drawingml.chart+xml"/>
  <Override PartName="/ppt/charts/chart2655.xml" ContentType="application/vnd.openxmlformats-officedocument.drawingml.chart+xml"/>
  <Override PartName="/ppt/charts/chart2656.xml" ContentType="application/vnd.openxmlformats-officedocument.drawingml.chart+xml"/>
  <Override PartName="/ppt/charts/chart2657.xml" ContentType="application/vnd.openxmlformats-officedocument.drawingml.chart+xml"/>
  <Override PartName="/ppt/charts/chart2658.xml" ContentType="application/vnd.openxmlformats-officedocument.drawingml.chart+xml"/>
  <Override PartName="/ppt/charts/chart2659.xml" ContentType="application/vnd.openxmlformats-officedocument.drawingml.chart+xml"/>
  <Override PartName="/ppt/charts/chart266.xml" ContentType="application/vnd.openxmlformats-officedocument.drawingml.chart+xml"/>
  <Override PartName="/ppt/charts/chart2660.xml" ContentType="application/vnd.openxmlformats-officedocument.drawingml.chart+xml"/>
  <Override PartName="/ppt/charts/chart2661.xml" ContentType="application/vnd.openxmlformats-officedocument.drawingml.chart+xml"/>
  <Override PartName="/ppt/charts/chart2662.xml" ContentType="application/vnd.openxmlformats-officedocument.drawingml.chart+xml"/>
  <Override PartName="/ppt/charts/chart2663.xml" ContentType="application/vnd.openxmlformats-officedocument.drawingml.chart+xml"/>
  <Override PartName="/ppt/charts/chart2664.xml" ContentType="application/vnd.openxmlformats-officedocument.drawingml.chart+xml"/>
  <Override PartName="/ppt/charts/chart2665.xml" ContentType="application/vnd.openxmlformats-officedocument.drawingml.chart+xml"/>
  <Override PartName="/ppt/charts/chart2666.xml" ContentType="application/vnd.openxmlformats-officedocument.drawingml.chart+xml"/>
  <Override PartName="/ppt/charts/chart2667.xml" ContentType="application/vnd.openxmlformats-officedocument.drawingml.chart+xml"/>
  <Override PartName="/ppt/charts/chart2668.xml" ContentType="application/vnd.openxmlformats-officedocument.drawingml.chart+xml"/>
  <Override PartName="/ppt/charts/chart2669.xml" ContentType="application/vnd.openxmlformats-officedocument.drawingml.chart+xml"/>
  <Override PartName="/ppt/charts/chart267.xml" ContentType="application/vnd.openxmlformats-officedocument.drawingml.chart+xml"/>
  <Override PartName="/ppt/charts/chart2670.xml" ContentType="application/vnd.openxmlformats-officedocument.drawingml.chart+xml"/>
  <Override PartName="/ppt/charts/chart2671.xml" ContentType="application/vnd.openxmlformats-officedocument.drawingml.chart+xml"/>
  <Override PartName="/ppt/charts/chart2672.xml" ContentType="application/vnd.openxmlformats-officedocument.drawingml.chart+xml"/>
  <Override PartName="/ppt/charts/chart2673.xml" ContentType="application/vnd.openxmlformats-officedocument.drawingml.chart+xml"/>
  <Override PartName="/ppt/charts/chart2674.xml" ContentType="application/vnd.openxmlformats-officedocument.drawingml.chart+xml"/>
  <Override PartName="/ppt/charts/chart2675.xml" ContentType="application/vnd.openxmlformats-officedocument.drawingml.chart+xml"/>
  <Override PartName="/ppt/charts/chart2676.xml" ContentType="application/vnd.openxmlformats-officedocument.drawingml.chart+xml"/>
  <Override PartName="/ppt/charts/chart2677.xml" ContentType="application/vnd.openxmlformats-officedocument.drawingml.chart+xml"/>
  <Override PartName="/ppt/charts/chart2678.xml" ContentType="application/vnd.openxmlformats-officedocument.drawingml.chart+xml"/>
  <Override PartName="/ppt/charts/chart2679.xml" ContentType="application/vnd.openxmlformats-officedocument.drawingml.chart+xml"/>
  <Override PartName="/ppt/charts/chart268.xml" ContentType="application/vnd.openxmlformats-officedocument.drawingml.chart+xml"/>
  <Override PartName="/ppt/charts/chart2680.xml" ContentType="application/vnd.openxmlformats-officedocument.drawingml.chart+xml"/>
  <Override PartName="/ppt/charts/chart2681.xml" ContentType="application/vnd.openxmlformats-officedocument.drawingml.chart+xml"/>
  <Override PartName="/ppt/charts/chart2682.xml" ContentType="application/vnd.openxmlformats-officedocument.drawingml.chart+xml"/>
  <Override PartName="/ppt/charts/chart2683.xml" ContentType="application/vnd.openxmlformats-officedocument.drawingml.chart+xml"/>
  <Override PartName="/ppt/charts/chart2684.xml" ContentType="application/vnd.openxmlformats-officedocument.drawingml.chart+xml"/>
  <Override PartName="/ppt/charts/chart2685.xml" ContentType="application/vnd.openxmlformats-officedocument.drawingml.chart+xml"/>
  <Override PartName="/ppt/charts/chart2686.xml" ContentType="application/vnd.openxmlformats-officedocument.drawingml.chart+xml"/>
  <Override PartName="/ppt/charts/chart2687.xml" ContentType="application/vnd.openxmlformats-officedocument.drawingml.chart+xml"/>
  <Override PartName="/ppt/charts/chart2688.xml" ContentType="application/vnd.openxmlformats-officedocument.drawingml.chart+xml"/>
  <Override PartName="/ppt/charts/chart2689.xml" ContentType="application/vnd.openxmlformats-officedocument.drawingml.chart+xml"/>
  <Override PartName="/ppt/charts/chart269.xml" ContentType="application/vnd.openxmlformats-officedocument.drawingml.chart+xml"/>
  <Override PartName="/ppt/charts/chart2690.xml" ContentType="application/vnd.openxmlformats-officedocument.drawingml.chart+xml"/>
  <Override PartName="/ppt/charts/chart2691.xml" ContentType="application/vnd.openxmlformats-officedocument.drawingml.chart+xml"/>
  <Override PartName="/ppt/charts/chart2692.xml" ContentType="application/vnd.openxmlformats-officedocument.drawingml.chart+xml"/>
  <Override PartName="/ppt/charts/chart2693.xml" ContentType="application/vnd.openxmlformats-officedocument.drawingml.chart+xml"/>
  <Override PartName="/ppt/charts/chart2694.xml" ContentType="application/vnd.openxmlformats-officedocument.drawingml.chart+xml"/>
  <Override PartName="/ppt/charts/chart2695.xml" ContentType="application/vnd.openxmlformats-officedocument.drawingml.chart+xml"/>
  <Override PartName="/ppt/charts/chart2696.xml" ContentType="application/vnd.openxmlformats-officedocument.drawingml.chart+xml"/>
  <Override PartName="/ppt/charts/chart2697.xml" ContentType="application/vnd.openxmlformats-officedocument.drawingml.chart+xml"/>
  <Override PartName="/ppt/charts/chart2698.xml" ContentType="application/vnd.openxmlformats-officedocument.drawingml.chart+xml"/>
  <Override PartName="/ppt/charts/chart269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00.xml" ContentType="application/vnd.openxmlformats-officedocument.drawingml.chart+xml"/>
  <Override PartName="/ppt/charts/chart2701.xml" ContentType="application/vnd.openxmlformats-officedocument.drawingml.chart+xml"/>
  <Override PartName="/ppt/charts/chart2702.xml" ContentType="application/vnd.openxmlformats-officedocument.drawingml.chart+xml"/>
  <Override PartName="/ppt/charts/chart2703.xml" ContentType="application/vnd.openxmlformats-officedocument.drawingml.chart+xml"/>
  <Override PartName="/ppt/charts/chart2704.xml" ContentType="application/vnd.openxmlformats-officedocument.drawingml.chart+xml"/>
  <Override PartName="/ppt/charts/chart2705.xml" ContentType="application/vnd.openxmlformats-officedocument.drawingml.chart+xml"/>
  <Override PartName="/ppt/charts/chart2706.xml" ContentType="application/vnd.openxmlformats-officedocument.drawingml.chart+xml"/>
  <Override PartName="/ppt/charts/chart2707.xml" ContentType="application/vnd.openxmlformats-officedocument.drawingml.chart+xml"/>
  <Override PartName="/ppt/charts/chart2708.xml" ContentType="application/vnd.openxmlformats-officedocument.drawingml.chart+xml"/>
  <Override PartName="/ppt/charts/chart2709.xml" ContentType="application/vnd.openxmlformats-officedocument.drawingml.chart+xml"/>
  <Override PartName="/ppt/charts/chart271.xml" ContentType="application/vnd.openxmlformats-officedocument.drawingml.chart+xml"/>
  <Override PartName="/ppt/charts/chart2710.xml" ContentType="application/vnd.openxmlformats-officedocument.drawingml.chart+xml"/>
  <Override PartName="/ppt/charts/chart2711.xml" ContentType="application/vnd.openxmlformats-officedocument.drawingml.chart+xml"/>
  <Override PartName="/ppt/charts/chart2712.xml" ContentType="application/vnd.openxmlformats-officedocument.drawingml.chart+xml"/>
  <Override PartName="/ppt/charts/chart2713.xml" ContentType="application/vnd.openxmlformats-officedocument.drawingml.chart+xml"/>
  <Override PartName="/ppt/charts/chart2714.xml" ContentType="application/vnd.openxmlformats-officedocument.drawingml.chart+xml"/>
  <Override PartName="/ppt/charts/chart2715.xml" ContentType="application/vnd.openxmlformats-officedocument.drawingml.chart+xml"/>
  <Override PartName="/ppt/charts/chart2716.xml" ContentType="application/vnd.openxmlformats-officedocument.drawingml.chart+xml"/>
  <Override PartName="/ppt/charts/chart2717.xml" ContentType="application/vnd.openxmlformats-officedocument.drawingml.chart+xml"/>
  <Override PartName="/ppt/charts/chart2718.xml" ContentType="application/vnd.openxmlformats-officedocument.drawingml.chart+xml"/>
  <Override PartName="/ppt/charts/chart2719.xml" ContentType="application/vnd.openxmlformats-officedocument.drawingml.chart+xml"/>
  <Override PartName="/ppt/charts/chart272.xml" ContentType="application/vnd.openxmlformats-officedocument.drawingml.chart+xml"/>
  <Override PartName="/ppt/charts/chart2720.xml" ContentType="application/vnd.openxmlformats-officedocument.drawingml.chart+xml"/>
  <Override PartName="/ppt/charts/chart2721.xml" ContentType="application/vnd.openxmlformats-officedocument.drawingml.chart+xml"/>
  <Override PartName="/ppt/charts/chart2722.xml" ContentType="application/vnd.openxmlformats-officedocument.drawingml.chart+xml"/>
  <Override PartName="/ppt/charts/chart2723.xml" ContentType="application/vnd.openxmlformats-officedocument.drawingml.chart+xml"/>
  <Override PartName="/ppt/charts/chart2724.xml" ContentType="application/vnd.openxmlformats-officedocument.drawingml.chart+xml"/>
  <Override PartName="/ppt/charts/chart2725.xml" ContentType="application/vnd.openxmlformats-officedocument.drawingml.chart+xml"/>
  <Override PartName="/ppt/charts/chart2726.xml" ContentType="application/vnd.openxmlformats-officedocument.drawingml.chart+xml"/>
  <Override PartName="/ppt/charts/chart2727.xml" ContentType="application/vnd.openxmlformats-officedocument.drawingml.chart+xml"/>
  <Override PartName="/ppt/charts/chart2728.xml" ContentType="application/vnd.openxmlformats-officedocument.drawingml.chart+xml"/>
  <Override PartName="/ppt/charts/chart2729.xml" ContentType="application/vnd.openxmlformats-officedocument.drawingml.chart+xml"/>
  <Override PartName="/ppt/charts/chart273.xml" ContentType="application/vnd.openxmlformats-officedocument.drawingml.chart+xml"/>
  <Override PartName="/ppt/charts/chart2730.xml" ContentType="application/vnd.openxmlformats-officedocument.drawingml.chart+xml"/>
  <Override PartName="/ppt/charts/chart2731.xml" ContentType="application/vnd.openxmlformats-officedocument.drawingml.chart+xml"/>
  <Override PartName="/ppt/charts/chart2732.xml" ContentType="application/vnd.openxmlformats-officedocument.drawingml.chart+xml"/>
  <Override PartName="/ppt/charts/chart2733.xml" ContentType="application/vnd.openxmlformats-officedocument.drawingml.chart+xml"/>
  <Override PartName="/ppt/charts/chart2734.xml" ContentType="application/vnd.openxmlformats-officedocument.drawingml.chart+xml"/>
  <Override PartName="/ppt/charts/chart2735.xml" ContentType="application/vnd.openxmlformats-officedocument.drawingml.chart+xml"/>
  <Override PartName="/ppt/charts/chart2736.xml" ContentType="application/vnd.openxmlformats-officedocument.drawingml.chart+xml"/>
  <Override PartName="/ppt/charts/chart2737.xml" ContentType="application/vnd.openxmlformats-officedocument.drawingml.chart+xml"/>
  <Override PartName="/ppt/charts/chart2738.xml" ContentType="application/vnd.openxmlformats-officedocument.drawingml.chart+xml"/>
  <Override PartName="/ppt/charts/chart2739.xml" ContentType="application/vnd.openxmlformats-officedocument.drawingml.chart+xml"/>
  <Override PartName="/ppt/charts/chart274.xml" ContentType="application/vnd.openxmlformats-officedocument.drawingml.chart+xml"/>
  <Override PartName="/ppt/charts/chart2740.xml" ContentType="application/vnd.openxmlformats-officedocument.drawingml.chart+xml"/>
  <Override PartName="/ppt/charts/chart2741.xml" ContentType="application/vnd.openxmlformats-officedocument.drawingml.chart+xml"/>
  <Override PartName="/ppt/charts/chart2742.xml" ContentType="application/vnd.openxmlformats-officedocument.drawingml.chart+xml"/>
  <Override PartName="/ppt/charts/chart2743.xml" ContentType="application/vnd.openxmlformats-officedocument.drawingml.chart+xml"/>
  <Override PartName="/ppt/charts/chart2744.xml" ContentType="application/vnd.openxmlformats-officedocument.drawingml.chart+xml"/>
  <Override PartName="/ppt/charts/chart2745.xml" ContentType="application/vnd.openxmlformats-officedocument.drawingml.chart+xml"/>
  <Override PartName="/ppt/charts/chart2746.xml" ContentType="application/vnd.openxmlformats-officedocument.drawingml.chart+xml"/>
  <Override PartName="/ppt/charts/chart2747.xml" ContentType="application/vnd.openxmlformats-officedocument.drawingml.chart+xml"/>
  <Override PartName="/ppt/charts/chart2748.xml" ContentType="application/vnd.openxmlformats-officedocument.drawingml.chart+xml"/>
  <Override PartName="/ppt/charts/chart2749.xml" ContentType="application/vnd.openxmlformats-officedocument.drawingml.chart+xml"/>
  <Override PartName="/ppt/charts/chart275.xml" ContentType="application/vnd.openxmlformats-officedocument.drawingml.chart+xml"/>
  <Override PartName="/ppt/charts/chart2750.xml" ContentType="application/vnd.openxmlformats-officedocument.drawingml.chart+xml"/>
  <Override PartName="/ppt/charts/chart2751.xml" ContentType="application/vnd.openxmlformats-officedocument.drawingml.chart+xml"/>
  <Override PartName="/ppt/charts/chart2752.xml" ContentType="application/vnd.openxmlformats-officedocument.drawingml.chart+xml"/>
  <Override PartName="/ppt/charts/chart2753.xml" ContentType="application/vnd.openxmlformats-officedocument.drawingml.chart+xml"/>
  <Override PartName="/ppt/charts/chart2754.xml" ContentType="application/vnd.openxmlformats-officedocument.drawingml.chart+xml"/>
  <Override PartName="/ppt/charts/chart2755.xml" ContentType="application/vnd.openxmlformats-officedocument.drawingml.chart+xml"/>
  <Override PartName="/ppt/charts/chart2756.xml" ContentType="application/vnd.openxmlformats-officedocument.drawingml.chart+xml"/>
  <Override PartName="/ppt/charts/chart2757.xml" ContentType="application/vnd.openxmlformats-officedocument.drawingml.chart+xml"/>
  <Override PartName="/ppt/charts/chart2758.xml" ContentType="application/vnd.openxmlformats-officedocument.drawingml.chart+xml"/>
  <Override PartName="/ppt/charts/chart2759.xml" ContentType="application/vnd.openxmlformats-officedocument.drawingml.chart+xml"/>
  <Override PartName="/ppt/charts/chart276.xml" ContentType="application/vnd.openxmlformats-officedocument.drawingml.chart+xml"/>
  <Override PartName="/ppt/charts/chart2760.xml" ContentType="application/vnd.openxmlformats-officedocument.drawingml.chart+xml"/>
  <Override PartName="/ppt/charts/chart2761.xml" ContentType="application/vnd.openxmlformats-officedocument.drawingml.chart+xml"/>
  <Override PartName="/ppt/charts/chart2762.xml" ContentType="application/vnd.openxmlformats-officedocument.drawingml.chart+xml"/>
  <Override PartName="/ppt/charts/chart2763.xml" ContentType="application/vnd.openxmlformats-officedocument.drawingml.chart+xml"/>
  <Override PartName="/ppt/charts/chart2764.xml" ContentType="application/vnd.openxmlformats-officedocument.drawingml.chart+xml"/>
  <Override PartName="/ppt/charts/chart2765.xml" ContentType="application/vnd.openxmlformats-officedocument.drawingml.chart+xml"/>
  <Override PartName="/ppt/charts/chart2766.xml" ContentType="application/vnd.openxmlformats-officedocument.drawingml.chart+xml"/>
  <Override PartName="/ppt/charts/chart2767.xml" ContentType="application/vnd.openxmlformats-officedocument.drawingml.chart+xml"/>
  <Override PartName="/ppt/charts/chart2768.xml" ContentType="application/vnd.openxmlformats-officedocument.drawingml.chart+xml"/>
  <Override PartName="/ppt/charts/chart2769.xml" ContentType="application/vnd.openxmlformats-officedocument.drawingml.chart+xml"/>
  <Override PartName="/ppt/charts/chart277.xml" ContentType="application/vnd.openxmlformats-officedocument.drawingml.chart+xml"/>
  <Override PartName="/ppt/charts/chart2770.xml" ContentType="application/vnd.openxmlformats-officedocument.drawingml.chart+xml"/>
  <Override PartName="/ppt/charts/chart2771.xml" ContentType="application/vnd.openxmlformats-officedocument.drawingml.chart+xml"/>
  <Override PartName="/ppt/charts/chart2772.xml" ContentType="application/vnd.openxmlformats-officedocument.drawingml.chart+xml"/>
  <Override PartName="/ppt/charts/chart2773.xml" ContentType="application/vnd.openxmlformats-officedocument.drawingml.chart+xml"/>
  <Override PartName="/ppt/charts/chart2774.xml" ContentType="application/vnd.openxmlformats-officedocument.drawingml.chart+xml"/>
  <Override PartName="/ppt/charts/chart2775.xml" ContentType="application/vnd.openxmlformats-officedocument.drawingml.chart+xml"/>
  <Override PartName="/ppt/charts/chart2776.xml" ContentType="application/vnd.openxmlformats-officedocument.drawingml.chart+xml"/>
  <Override PartName="/ppt/charts/chart2777.xml" ContentType="application/vnd.openxmlformats-officedocument.drawingml.chart+xml"/>
  <Override PartName="/ppt/charts/chart2778.xml" ContentType="application/vnd.openxmlformats-officedocument.drawingml.chart+xml"/>
  <Override PartName="/ppt/charts/chart2779.xml" ContentType="application/vnd.openxmlformats-officedocument.drawingml.chart+xml"/>
  <Override PartName="/ppt/charts/chart278.xml" ContentType="application/vnd.openxmlformats-officedocument.drawingml.chart+xml"/>
  <Override PartName="/ppt/charts/chart2780.xml" ContentType="application/vnd.openxmlformats-officedocument.drawingml.chart+xml"/>
  <Override PartName="/ppt/charts/chart2781.xml" ContentType="application/vnd.openxmlformats-officedocument.drawingml.chart+xml"/>
  <Override PartName="/ppt/charts/chart2782.xml" ContentType="application/vnd.openxmlformats-officedocument.drawingml.chart+xml"/>
  <Override PartName="/ppt/charts/chart2783.xml" ContentType="application/vnd.openxmlformats-officedocument.drawingml.chart+xml"/>
  <Override PartName="/ppt/charts/chart2784.xml" ContentType="application/vnd.openxmlformats-officedocument.drawingml.chart+xml"/>
  <Override PartName="/ppt/charts/chart2785.xml" ContentType="application/vnd.openxmlformats-officedocument.drawingml.chart+xml"/>
  <Override PartName="/ppt/charts/chart2786.xml" ContentType="application/vnd.openxmlformats-officedocument.drawingml.chart+xml"/>
  <Override PartName="/ppt/charts/chart2787.xml" ContentType="application/vnd.openxmlformats-officedocument.drawingml.chart+xml"/>
  <Override PartName="/ppt/charts/chart2788.xml" ContentType="application/vnd.openxmlformats-officedocument.drawingml.chart+xml"/>
  <Override PartName="/ppt/charts/chart2789.xml" ContentType="application/vnd.openxmlformats-officedocument.drawingml.chart+xml"/>
  <Override PartName="/ppt/charts/chart279.xml" ContentType="application/vnd.openxmlformats-officedocument.drawingml.chart+xml"/>
  <Override PartName="/ppt/charts/chart2790.xml" ContentType="application/vnd.openxmlformats-officedocument.drawingml.chart+xml"/>
  <Override PartName="/ppt/charts/chart2791.xml" ContentType="application/vnd.openxmlformats-officedocument.drawingml.chart+xml"/>
  <Override PartName="/ppt/charts/chart2792.xml" ContentType="application/vnd.openxmlformats-officedocument.drawingml.chart+xml"/>
  <Override PartName="/ppt/charts/chart2793.xml" ContentType="application/vnd.openxmlformats-officedocument.drawingml.chart+xml"/>
  <Override PartName="/ppt/charts/chart2794.xml" ContentType="application/vnd.openxmlformats-officedocument.drawingml.chart+xml"/>
  <Override PartName="/ppt/charts/chart2795.xml" ContentType="application/vnd.openxmlformats-officedocument.drawingml.chart+xml"/>
  <Override PartName="/ppt/charts/chart2796.xml" ContentType="application/vnd.openxmlformats-officedocument.drawingml.chart+xml"/>
  <Override PartName="/ppt/charts/chart2797.xml" ContentType="application/vnd.openxmlformats-officedocument.drawingml.chart+xml"/>
  <Override PartName="/ppt/charts/chart2798.xml" ContentType="application/vnd.openxmlformats-officedocument.drawingml.chart+xml"/>
  <Override PartName="/ppt/charts/chart279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00.xml" ContentType="application/vnd.openxmlformats-officedocument.drawingml.chart+xml"/>
  <Override PartName="/ppt/charts/chart2801.xml" ContentType="application/vnd.openxmlformats-officedocument.drawingml.chart+xml"/>
  <Override PartName="/ppt/charts/chart2802.xml" ContentType="application/vnd.openxmlformats-officedocument.drawingml.chart+xml"/>
  <Override PartName="/ppt/charts/chart2803.xml" ContentType="application/vnd.openxmlformats-officedocument.drawingml.chart+xml"/>
  <Override PartName="/ppt/charts/chart2804.xml" ContentType="application/vnd.openxmlformats-officedocument.drawingml.chart+xml"/>
  <Override PartName="/ppt/charts/chart2805.xml" ContentType="application/vnd.openxmlformats-officedocument.drawingml.chart+xml"/>
  <Override PartName="/ppt/charts/chart2806.xml" ContentType="application/vnd.openxmlformats-officedocument.drawingml.chart+xml"/>
  <Override PartName="/ppt/charts/chart2807.xml" ContentType="application/vnd.openxmlformats-officedocument.drawingml.chart+xml"/>
  <Override PartName="/ppt/charts/chart2808.xml" ContentType="application/vnd.openxmlformats-officedocument.drawingml.chart+xml"/>
  <Override PartName="/ppt/charts/chart2809.xml" ContentType="application/vnd.openxmlformats-officedocument.drawingml.chart+xml"/>
  <Override PartName="/ppt/charts/chart281.xml" ContentType="application/vnd.openxmlformats-officedocument.drawingml.chart+xml"/>
  <Override PartName="/ppt/charts/chart2810.xml" ContentType="application/vnd.openxmlformats-officedocument.drawingml.chart+xml"/>
  <Override PartName="/ppt/charts/chart2811.xml" ContentType="application/vnd.openxmlformats-officedocument.drawingml.chart+xml"/>
  <Override PartName="/ppt/charts/chart2812.xml" ContentType="application/vnd.openxmlformats-officedocument.drawingml.chart+xml"/>
  <Override PartName="/ppt/charts/chart2813.xml" ContentType="application/vnd.openxmlformats-officedocument.drawingml.chart+xml"/>
  <Override PartName="/ppt/charts/chart2814.xml" ContentType="application/vnd.openxmlformats-officedocument.drawingml.chart+xml"/>
  <Override PartName="/ppt/charts/chart2815.xml" ContentType="application/vnd.openxmlformats-officedocument.drawingml.chart+xml"/>
  <Override PartName="/ppt/charts/chart2816.xml" ContentType="application/vnd.openxmlformats-officedocument.drawingml.chart+xml"/>
  <Override PartName="/ppt/charts/chart2817.xml" ContentType="application/vnd.openxmlformats-officedocument.drawingml.chart+xml"/>
  <Override PartName="/ppt/charts/chart2818.xml" ContentType="application/vnd.openxmlformats-officedocument.drawingml.chart+xml"/>
  <Override PartName="/ppt/charts/chart2819.xml" ContentType="application/vnd.openxmlformats-officedocument.drawingml.chart+xml"/>
  <Override PartName="/ppt/charts/chart282.xml" ContentType="application/vnd.openxmlformats-officedocument.drawingml.chart+xml"/>
  <Override PartName="/ppt/charts/chart2820.xml" ContentType="application/vnd.openxmlformats-officedocument.drawingml.chart+xml"/>
  <Override PartName="/ppt/charts/chart2821.xml" ContentType="application/vnd.openxmlformats-officedocument.drawingml.chart+xml"/>
  <Override PartName="/ppt/charts/chart2822.xml" ContentType="application/vnd.openxmlformats-officedocument.drawingml.chart+xml"/>
  <Override PartName="/ppt/charts/chart2823.xml" ContentType="application/vnd.openxmlformats-officedocument.drawingml.chart+xml"/>
  <Override PartName="/ppt/charts/chart2824.xml" ContentType="application/vnd.openxmlformats-officedocument.drawingml.chart+xml"/>
  <Override PartName="/ppt/charts/chart2825.xml" ContentType="application/vnd.openxmlformats-officedocument.drawingml.chart+xml"/>
  <Override PartName="/ppt/charts/chart2826.xml" ContentType="application/vnd.openxmlformats-officedocument.drawingml.chart+xml"/>
  <Override PartName="/ppt/charts/chart2827.xml" ContentType="application/vnd.openxmlformats-officedocument.drawingml.chart+xml"/>
  <Override PartName="/ppt/charts/chart2828.xml" ContentType="application/vnd.openxmlformats-officedocument.drawingml.chart+xml"/>
  <Override PartName="/ppt/charts/chart2829.xml" ContentType="application/vnd.openxmlformats-officedocument.drawingml.chart+xml"/>
  <Override PartName="/ppt/charts/chart283.xml" ContentType="application/vnd.openxmlformats-officedocument.drawingml.chart+xml"/>
  <Override PartName="/ppt/charts/chart2830.xml" ContentType="application/vnd.openxmlformats-officedocument.drawingml.chart+xml"/>
  <Override PartName="/ppt/charts/chart2831.xml" ContentType="application/vnd.openxmlformats-officedocument.drawingml.chart+xml"/>
  <Override PartName="/ppt/charts/chart2832.xml" ContentType="application/vnd.openxmlformats-officedocument.drawingml.chart+xml"/>
  <Override PartName="/ppt/charts/chart2833.xml" ContentType="application/vnd.openxmlformats-officedocument.drawingml.chart+xml"/>
  <Override PartName="/ppt/charts/chart2834.xml" ContentType="application/vnd.openxmlformats-officedocument.drawingml.chart+xml"/>
  <Override PartName="/ppt/charts/chart2835.xml" ContentType="application/vnd.openxmlformats-officedocument.drawingml.chart+xml"/>
  <Override PartName="/ppt/charts/chart2836.xml" ContentType="application/vnd.openxmlformats-officedocument.drawingml.chart+xml"/>
  <Override PartName="/ppt/charts/chart2837.xml" ContentType="application/vnd.openxmlformats-officedocument.drawingml.chart+xml"/>
  <Override PartName="/ppt/charts/chart2838.xml" ContentType="application/vnd.openxmlformats-officedocument.drawingml.chart+xml"/>
  <Override PartName="/ppt/charts/chart2839.xml" ContentType="application/vnd.openxmlformats-officedocument.drawingml.chart+xml"/>
  <Override PartName="/ppt/charts/chart284.xml" ContentType="application/vnd.openxmlformats-officedocument.drawingml.chart+xml"/>
  <Override PartName="/ppt/charts/chart2840.xml" ContentType="application/vnd.openxmlformats-officedocument.drawingml.chart+xml"/>
  <Override PartName="/ppt/charts/chart2841.xml" ContentType="application/vnd.openxmlformats-officedocument.drawingml.chart+xml"/>
  <Override PartName="/ppt/charts/chart2842.xml" ContentType="application/vnd.openxmlformats-officedocument.drawingml.chart+xml"/>
  <Override PartName="/ppt/charts/chart2843.xml" ContentType="application/vnd.openxmlformats-officedocument.drawingml.chart+xml"/>
  <Override PartName="/ppt/charts/chart2844.xml" ContentType="application/vnd.openxmlformats-officedocument.drawingml.chart+xml"/>
  <Override PartName="/ppt/charts/chart2845.xml" ContentType="application/vnd.openxmlformats-officedocument.drawingml.chart+xml"/>
  <Override PartName="/ppt/charts/chart2846.xml" ContentType="application/vnd.openxmlformats-officedocument.drawingml.chart+xml"/>
  <Override PartName="/ppt/charts/chart2847.xml" ContentType="application/vnd.openxmlformats-officedocument.drawingml.chart+xml"/>
  <Override PartName="/ppt/charts/chart2848.xml" ContentType="application/vnd.openxmlformats-officedocument.drawingml.chart+xml"/>
  <Override PartName="/ppt/charts/chart2849.xml" ContentType="application/vnd.openxmlformats-officedocument.drawingml.chart+xml"/>
  <Override PartName="/ppt/charts/chart285.xml" ContentType="application/vnd.openxmlformats-officedocument.drawingml.chart+xml"/>
  <Override PartName="/ppt/charts/chart2850.xml" ContentType="application/vnd.openxmlformats-officedocument.drawingml.chart+xml"/>
  <Override PartName="/ppt/charts/chart2851.xml" ContentType="application/vnd.openxmlformats-officedocument.drawingml.chart+xml"/>
  <Override PartName="/ppt/charts/chart2852.xml" ContentType="application/vnd.openxmlformats-officedocument.drawingml.chart+xml"/>
  <Override PartName="/ppt/charts/chart2853.xml" ContentType="application/vnd.openxmlformats-officedocument.drawingml.chart+xml"/>
  <Override PartName="/ppt/charts/chart2854.xml" ContentType="application/vnd.openxmlformats-officedocument.drawingml.chart+xml"/>
  <Override PartName="/ppt/charts/chart2855.xml" ContentType="application/vnd.openxmlformats-officedocument.drawingml.chart+xml"/>
  <Override PartName="/ppt/charts/chart2856.xml" ContentType="application/vnd.openxmlformats-officedocument.drawingml.chart+xml"/>
  <Override PartName="/ppt/charts/chart2857.xml" ContentType="application/vnd.openxmlformats-officedocument.drawingml.chart+xml"/>
  <Override PartName="/ppt/charts/chart2858.xml" ContentType="application/vnd.openxmlformats-officedocument.drawingml.chart+xml"/>
  <Override PartName="/ppt/charts/chart2859.xml" ContentType="application/vnd.openxmlformats-officedocument.drawingml.chart+xml"/>
  <Override PartName="/ppt/charts/chart286.xml" ContentType="application/vnd.openxmlformats-officedocument.drawingml.chart+xml"/>
  <Override PartName="/ppt/charts/chart2860.xml" ContentType="application/vnd.openxmlformats-officedocument.drawingml.chart+xml"/>
  <Override PartName="/ppt/charts/chart2861.xml" ContentType="application/vnd.openxmlformats-officedocument.drawingml.chart+xml"/>
  <Override PartName="/ppt/charts/chart2862.xml" ContentType="application/vnd.openxmlformats-officedocument.drawingml.chart+xml"/>
  <Override PartName="/ppt/charts/chart2863.xml" ContentType="application/vnd.openxmlformats-officedocument.drawingml.chart+xml"/>
  <Override PartName="/ppt/charts/chart2864.xml" ContentType="application/vnd.openxmlformats-officedocument.drawingml.chart+xml"/>
  <Override PartName="/ppt/charts/chart2865.xml" ContentType="application/vnd.openxmlformats-officedocument.drawingml.chart+xml"/>
  <Override PartName="/ppt/charts/chart2866.xml" ContentType="application/vnd.openxmlformats-officedocument.drawingml.chart+xml"/>
  <Override PartName="/ppt/charts/chart2867.xml" ContentType="application/vnd.openxmlformats-officedocument.drawingml.chart+xml"/>
  <Override PartName="/ppt/charts/chart2868.xml" ContentType="application/vnd.openxmlformats-officedocument.drawingml.chart+xml"/>
  <Override PartName="/ppt/charts/chart2869.xml" ContentType="application/vnd.openxmlformats-officedocument.drawingml.chart+xml"/>
  <Override PartName="/ppt/charts/chart287.xml" ContentType="application/vnd.openxmlformats-officedocument.drawingml.chart+xml"/>
  <Override PartName="/ppt/charts/chart2870.xml" ContentType="application/vnd.openxmlformats-officedocument.drawingml.chart+xml"/>
  <Override PartName="/ppt/charts/chart2871.xml" ContentType="application/vnd.openxmlformats-officedocument.drawingml.chart+xml"/>
  <Override PartName="/ppt/charts/chart2872.xml" ContentType="application/vnd.openxmlformats-officedocument.drawingml.chart+xml"/>
  <Override PartName="/ppt/charts/chart2873.xml" ContentType="application/vnd.openxmlformats-officedocument.drawingml.chart+xml"/>
  <Override PartName="/ppt/charts/chart2874.xml" ContentType="application/vnd.openxmlformats-officedocument.drawingml.chart+xml"/>
  <Override PartName="/ppt/charts/chart2875.xml" ContentType="application/vnd.openxmlformats-officedocument.drawingml.chart+xml"/>
  <Override PartName="/ppt/charts/chart2876.xml" ContentType="application/vnd.openxmlformats-officedocument.drawingml.chart+xml"/>
  <Override PartName="/ppt/charts/chart2877.xml" ContentType="application/vnd.openxmlformats-officedocument.drawingml.chart+xml"/>
  <Override PartName="/ppt/charts/chart2878.xml" ContentType="application/vnd.openxmlformats-officedocument.drawingml.chart+xml"/>
  <Override PartName="/ppt/charts/chart2879.xml" ContentType="application/vnd.openxmlformats-officedocument.drawingml.chart+xml"/>
  <Override PartName="/ppt/charts/chart288.xml" ContentType="application/vnd.openxmlformats-officedocument.drawingml.chart+xml"/>
  <Override PartName="/ppt/charts/chart2880.xml" ContentType="application/vnd.openxmlformats-officedocument.drawingml.chart+xml"/>
  <Override PartName="/ppt/charts/chart2881.xml" ContentType="application/vnd.openxmlformats-officedocument.drawingml.chart+xml"/>
  <Override PartName="/ppt/charts/chart2882.xml" ContentType="application/vnd.openxmlformats-officedocument.drawingml.chart+xml"/>
  <Override PartName="/ppt/charts/chart2883.xml" ContentType="application/vnd.openxmlformats-officedocument.drawingml.chart+xml"/>
  <Override PartName="/ppt/charts/chart2884.xml" ContentType="application/vnd.openxmlformats-officedocument.drawingml.chart+xml"/>
  <Override PartName="/ppt/charts/chart2885.xml" ContentType="application/vnd.openxmlformats-officedocument.drawingml.chart+xml"/>
  <Override PartName="/ppt/charts/chart2886.xml" ContentType="application/vnd.openxmlformats-officedocument.drawingml.chart+xml"/>
  <Override PartName="/ppt/charts/chart2887.xml" ContentType="application/vnd.openxmlformats-officedocument.drawingml.chart+xml"/>
  <Override PartName="/ppt/charts/chart2888.xml" ContentType="application/vnd.openxmlformats-officedocument.drawingml.chart+xml"/>
  <Override PartName="/ppt/charts/chart2889.xml" ContentType="application/vnd.openxmlformats-officedocument.drawingml.chart+xml"/>
  <Override PartName="/ppt/charts/chart289.xml" ContentType="application/vnd.openxmlformats-officedocument.drawingml.chart+xml"/>
  <Override PartName="/ppt/charts/chart2890.xml" ContentType="application/vnd.openxmlformats-officedocument.drawingml.chart+xml"/>
  <Override PartName="/ppt/charts/chart2891.xml" ContentType="application/vnd.openxmlformats-officedocument.drawingml.chart+xml"/>
  <Override PartName="/ppt/charts/chart2892.xml" ContentType="application/vnd.openxmlformats-officedocument.drawingml.chart+xml"/>
  <Override PartName="/ppt/charts/chart2893.xml" ContentType="application/vnd.openxmlformats-officedocument.drawingml.chart+xml"/>
  <Override PartName="/ppt/charts/chart2894.xml" ContentType="application/vnd.openxmlformats-officedocument.drawingml.chart+xml"/>
  <Override PartName="/ppt/charts/chart2895.xml" ContentType="application/vnd.openxmlformats-officedocument.drawingml.chart+xml"/>
  <Override PartName="/ppt/charts/chart2896.xml" ContentType="application/vnd.openxmlformats-officedocument.drawingml.chart+xml"/>
  <Override PartName="/ppt/charts/chart2897.xml" ContentType="application/vnd.openxmlformats-officedocument.drawingml.chart+xml"/>
  <Override PartName="/ppt/charts/chart2898.xml" ContentType="application/vnd.openxmlformats-officedocument.drawingml.chart+xml"/>
  <Override PartName="/ppt/charts/chart289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00.xml" ContentType="application/vnd.openxmlformats-officedocument.drawingml.chart+xml"/>
  <Override PartName="/ppt/charts/chart2901.xml" ContentType="application/vnd.openxmlformats-officedocument.drawingml.chart+xml"/>
  <Override PartName="/ppt/charts/chart2902.xml" ContentType="application/vnd.openxmlformats-officedocument.drawingml.chart+xml"/>
  <Override PartName="/ppt/charts/chart2903.xml" ContentType="application/vnd.openxmlformats-officedocument.drawingml.chart+xml"/>
  <Override PartName="/ppt/charts/chart2904.xml" ContentType="application/vnd.openxmlformats-officedocument.drawingml.chart+xml"/>
  <Override PartName="/ppt/charts/chart2905.xml" ContentType="application/vnd.openxmlformats-officedocument.drawingml.chart+xml"/>
  <Override PartName="/ppt/charts/chart2906.xml" ContentType="application/vnd.openxmlformats-officedocument.drawingml.chart+xml"/>
  <Override PartName="/ppt/charts/chart2907.xml" ContentType="application/vnd.openxmlformats-officedocument.drawingml.chart+xml"/>
  <Override PartName="/ppt/charts/chart2908.xml" ContentType="application/vnd.openxmlformats-officedocument.drawingml.chart+xml"/>
  <Override PartName="/ppt/charts/chart2909.xml" ContentType="application/vnd.openxmlformats-officedocument.drawingml.chart+xml"/>
  <Override PartName="/ppt/charts/chart291.xml" ContentType="application/vnd.openxmlformats-officedocument.drawingml.chart+xml"/>
  <Override PartName="/ppt/charts/chart2910.xml" ContentType="application/vnd.openxmlformats-officedocument.drawingml.chart+xml"/>
  <Override PartName="/ppt/charts/chart2911.xml" ContentType="application/vnd.openxmlformats-officedocument.drawingml.chart+xml"/>
  <Override PartName="/ppt/charts/chart2912.xml" ContentType="application/vnd.openxmlformats-officedocument.drawingml.chart+xml"/>
  <Override PartName="/ppt/charts/chart2913.xml" ContentType="application/vnd.openxmlformats-officedocument.drawingml.chart+xml"/>
  <Override PartName="/ppt/charts/chart2914.xml" ContentType="application/vnd.openxmlformats-officedocument.drawingml.chart+xml"/>
  <Override PartName="/ppt/charts/chart2915.xml" ContentType="application/vnd.openxmlformats-officedocument.drawingml.chart+xml"/>
  <Override PartName="/ppt/charts/chart2916.xml" ContentType="application/vnd.openxmlformats-officedocument.drawingml.chart+xml"/>
  <Override PartName="/ppt/charts/chart2917.xml" ContentType="application/vnd.openxmlformats-officedocument.drawingml.chart+xml"/>
  <Override PartName="/ppt/charts/chart2918.xml" ContentType="application/vnd.openxmlformats-officedocument.drawingml.chart+xml"/>
  <Override PartName="/ppt/charts/chart2919.xml" ContentType="application/vnd.openxmlformats-officedocument.drawingml.chart+xml"/>
  <Override PartName="/ppt/charts/chart292.xml" ContentType="application/vnd.openxmlformats-officedocument.drawingml.chart+xml"/>
  <Override PartName="/ppt/charts/chart2920.xml" ContentType="application/vnd.openxmlformats-officedocument.drawingml.chart+xml"/>
  <Override PartName="/ppt/charts/chart2921.xml" ContentType="application/vnd.openxmlformats-officedocument.drawingml.chart+xml"/>
  <Override PartName="/ppt/charts/chart2922.xml" ContentType="application/vnd.openxmlformats-officedocument.drawingml.chart+xml"/>
  <Override PartName="/ppt/charts/chart2923.xml" ContentType="application/vnd.openxmlformats-officedocument.drawingml.chart+xml"/>
  <Override PartName="/ppt/charts/chart2924.xml" ContentType="application/vnd.openxmlformats-officedocument.drawingml.chart+xml"/>
  <Override PartName="/ppt/charts/chart2925.xml" ContentType="application/vnd.openxmlformats-officedocument.drawingml.chart+xml"/>
  <Override PartName="/ppt/charts/chart2926.xml" ContentType="application/vnd.openxmlformats-officedocument.drawingml.chart+xml"/>
  <Override PartName="/ppt/charts/chart2927.xml" ContentType="application/vnd.openxmlformats-officedocument.drawingml.chart+xml"/>
  <Override PartName="/ppt/charts/chart2928.xml" ContentType="application/vnd.openxmlformats-officedocument.drawingml.chart+xml"/>
  <Override PartName="/ppt/charts/chart2929.xml" ContentType="application/vnd.openxmlformats-officedocument.drawingml.chart+xml"/>
  <Override PartName="/ppt/charts/chart293.xml" ContentType="application/vnd.openxmlformats-officedocument.drawingml.chart+xml"/>
  <Override PartName="/ppt/charts/chart2930.xml" ContentType="application/vnd.openxmlformats-officedocument.drawingml.chart+xml"/>
  <Override PartName="/ppt/charts/chart2931.xml" ContentType="application/vnd.openxmlformats-officedocument.drawingml.chart+xml"/>
  <Override PartName="/ppt/charts/chart2932.xml" ContentType="application/vnd.openxmlformats-officedocument.drawingml.chart+xml"/>
  <Override PartName="/ppt/charts/chart2933.xml" ContentType="application/vnd.openxmlformats-officedocument.drawingml.chart+xml"/>
  <Override PartName="/ppt/charts/chart2934.xml" ContentType="application/vnd.openxmlformats-officedocument.drawingml.chart+xml"/>
  <Override PartName="/ppt/charts/chart2935.xml" ContentType="application/vnd.openxmlformats-officedocument.drawingml.chart+xml"/>
  <Override PartName="/ppt/charts/chart2936.xml" ContentType="application/vnd.openxmlformats-officedocument.drawingml.chart+xml"/>
  <Override PartName="/ppt/charts/chart2937.xml" ContentType="application/vnd.openxmlformats-officedocument.drawingml.chart+xml"/>
  <Override PartName="/ppt/charts/chart2938.xml" ContentType="application/vnd.openxmlformats-officedocument.drawingml.chart+xml"/>
  <Override PartName="/ppt/charts/chart2939.xml" ContentType="application/vnd.openxmlformats-officedocument.drawingml.chart+xml"/>
  <Override PartName="/ppt/charts/chart294.xml" ContentType="application/vnd.openxmlformats-officedocument.drawingml.chart+xml"/>
  <Override PartName="/ppt/charts/chart2940.xml" ContentType="application/vnd.openxmlformats-officedocument.drawingml.chart+xml"/>
  <Override PartName="/ppt/charts/chart2941.xml" ContentType="application/vnd.openxmlformats-officedocument.drawingml.chart+xml"/>
  <Override PartName="/ppt/charts/chart2942.xml" ContentType="application/vnd.openxmlformats-officedocument.drawingml.chart+xml"/>
  <Override PartName="/ppt/charts/chart2943.xml" ContentType="application/vnd.openxmlformats-officedocument.drawingml.chart+xml"/>
  <Override PartName="/ppt/charts/chart2944.xml" ContentType="application/vnd.openxmlformats-officedocument.drawingml.chart+xml"/>
  <Override PartName="/ppt/charts/chart2945.xml" ContentType="application/vnd.openxmlformats-officedocument.drawingml.chart+xml"/>
  <Override PartName="/ppt/charts/chart2946.xml" ContentType="application/vnd.openxmlformats-officedocument.drawingml.chart+xml"/>
  <Override PartName="/ppt/charts/chart2947.xml" ContentType="application/vnd.openxmlformats-officedocument.drawingml.chart+xml"/>
  <Override PartName="/ppt/charts/chart2948.xml" ContentType="application/vnd.openxmlformats-officedocument.drawingml.chart+xml"/>
  <Override PartName="/ppt/charts/chart2949.xml" ContentType="application/vnd.openxmlformats-officedocument.drawingml.chart+xml"/>
  <Override PartName="/ppt/charts/chart295.xml" ContentType="application/vnd.openxmlformats-officedocument.drawingml.chart+xml"/>
  <Override PartName="/ppt/charts/chart2950.xml" ContentType="application/vnd.openxmlformats-officedocument.drawingml.chart+xml"/>
  <Override PartName="/ppt/charts/chart2951.xml" ContentType="application/vnd.openxmlformats-officedocument.drawingml.chart+xml"/>
  <Override PartName="/ppt/charts/chart2952.xml" ContentType="application/vnd.openxmlformats-officedocument.drawingml.chart+xml"/>
  <Override PartName="/ppt/charts/chart2953.xml" ContentType="application/vnd.openxmlformats-officedocument.drawingml.chart+xml"/>
  <Override PartName="/ppt/charts/chart2954.xml" ContentType="application/vnd.openxmlformats-officedocument.drawingml.chart+xml"/>
  <Override PartName="/ppt/charts/chart2955.xml" ContentType="application/vnd.openxmlformats-officedocument.drawingml.chart+xml"/>
  <Override PartName="/ppt/charts/chart2956.xml" ContentType="application/vnd.openxmlformats-officedocument.drawingml.chart+xml"/>
  <Override PartName="/ppt/charts/chart2957.xml" ContentType="application/vnd.openxmlformats-officedocument.drawingml.chart+xml"/>
  <Override PartName="/ppt/charts/chart2958.xml" ContentType="application/vnd.openxmlformats-officedocument.drawingml.chart+xml"/>
  <Override PartName="/ppt/charts/chart2959.xml" ContentType="application/vnd.openxmlformats-officedocument.drawingml.chart+xml"/>
  <Override PartName="/ppt/charts/chart296.xml" ContentType="application/vnd.openxmlformats-officedocument.drawingml.chart+xml"/>
  <Override PartName="/ppt/charts/chart2960.xml" ContentType="application/vnd.openxmlformats-officedocument.drawingml.chart+xml"/>
  <Override PartName="/ppt/charts/chart2961.xml" ContentType="application/vnd.openxmlformats-officedocument.drawingml.chart+xml"/>
  <Override PartName="/ppt/charts/chart2962.xml" ContentType="application/vnd.openxmlformats-officedocument.drawingml.chart+xml"/>
  <Override PartName="/ppt/charts/chart2963.xml" ContentType="application/vnd.openxmlformats-officedocument.drawingml.chart+xml"/>
  <Override PartName="/ppt/charts/chart2964.xml" ContentType="application/vnd.openxmlformats-officedocument.drawingml.chart+xml"/>
  <Override PartName="/ppt/charts/chart2965.xml" ContentType="application/vnd.openxmlformats-officedocument.drawingml.chart+xml"/>
  <Override PartName="/ppt/charts/chart2966.xml" ContentType="application/vnd.openxmlformats-officedocument.drawingml.chart+xml"/>
  <Override PartName="/ppt/charts/chart2967.xml" ContentType="application/vnd.openxmlformats-officedocument.drawingml.chart+xml"/>
  <Override PartName="/ppt/charts/chart2968.xml" ContentType="application/vnd.openxmlformats-officedocument.drawingml.chart+xml"/>
  <Override PartName="/ppt/charts/chart2969.xml" ContentType="application/vnd.openxmlformats-officedocument.drawingml.chart+xml"/>
  <Override PartName="/ppt/charts/chart297.xml" ContentType="application/vnd.openxmlformats-officedocument.drawingml.chart+xml"/>
  <Override PartName="/ppt/charts/chart2970.xml" ContentType="application/vnd.openxmlformats-officedocument.drawingml.chart+xml"/>
  <Override PartName="/ppt/charts/chart2971.xml" ContentType="application/vnd.openxmlformats-officedocument.drawingml.chart+xml"/>
  <Override PartName="/ppt/charts/chart2972.xml" ContentType="application/vnd.openxmlformats-officedocument.drawingml.chart+xml"/>
  <Override PartName="/ppt/charts/chart2973.xml" ContentType="application/vnd.openxmlformats-officedocument.drawingml.chart+xml"/>
  <Override PartName="/ppt/charts/chart2974.xml" ContentType="application/vnd.openxmlformats-officedocument.drawingml.chart+xml"/>
  <Override PartName="/ppt/charts/chart2975.xml" ContentType="application/vnd.openxmlformats-officedocument.drawingml.chart+xml"/>
  <Override PartName="/ppt/charts/chart2976.xml" ContentType="application/vnd.openxmlformats-officedocument.drawingml.chart+xml"/>
  <Override PartName="/ppt/charts/chart2977.xml" ContentType="application/vnd.openxmlformats-officedocument.drawingml.chart+xml"/>
  <Override PartName="/ppt/charts/chart2978.xml" ContentType="application/vnd.openxmlformats-officedocument.drawingml.chart+xml"/>
  <Override PartName="/ppt/charts/chart2979.xml" ContentType="application/vnd.openxmlformats-officedocument.drawingml.chart+xml"/>
  <Override PartName="/ppt/charts/chart298.xml" ContentType="application/vnd.openxmlformats-officedocument.drawingml.chart+xml"/>
  <Override PartName="/ppt/charts/chart2980.xml" ContentType="application/vnd.openxmlformats-officedocument.drawingml.chart+xml"/>
  <Override PartName="/ppt/charts/chart2981.xml" ContentType="application/vnd.openxmlformats-officedocument.drawingml.chart+xml"/>
  <Override PartName="/ppt/charts/chart2982.xml" ContentType="application/vnd.openxmlformats-officedocument.drawingml.chart+xml"/>
  <Override PartName="/ppt/charts/chart2983.xml" ContentType="application/vnd.openxmlformats-officedocument.drawingml.chart+xml"/>
  <Override PartName="/ppt/charts/chart2984.xml" ContentType="application/vnd.openxmlformats-officedocument.drawingml.chart+xml"/>
  <Override PartName="/ppt/charts/chart2985.xml" ContentType="application/vnd.openxmlformats-officedocument.drawingml.chart+xml"/>
  <Override PartName="/ppt/charts/chart2986.xml" ContentType="application/vnd.openxmlformats-officedocument.drawingml.chart+xml"/>
  <Override PartName="/ppt/charts/chart2987.xml" ContentType="application/vnd.openxmlformats-officedocument.drawingml.chart+xml"/>
  <Override PartName="/ppt/charts/chart2988.xml" ContentType="application/vnd.openxmlformats-officedocument.drawingml.chart+xml"/>
  <Override PartName="/ppt/charts/chart2989.xml" ContentType="application/vnd.openxmlformats-officedocument.drawingml.chart+xml"/>
  <Override PartName="/ppt/charts/chart299.xml" ContentType="application/vnd.openxmlformats-officedocument.drawingml.chart+xml"/>
  <Override PartName="/ppt/charts/chart2990.xml" ContentType="application/vnd.openxmlformats-officedocument.drawingml.chart+xml"/>
  <Override PartName="/ppt/charts/chart2991.xml" ContentType="application/vnd.openxmlformats-officedocument.drawingml.chart+xml"/>
  <Override PartName="/ppt/charts/chart2992.xml" ContentType="application/vnd.openxmlformats-officedocument.drawingml.chart+xml"/>
  <Override PartName="/ppt/charts/chart2993.xml" ContentType="application/vnd.openxmlformats-officedocument.drawingml.chart+xml"/>
  <Override PartName="/ppt/charts/chart2994.xml" ContentType="application/vnd.openxmlformats-officedocument.drawingml.chart+xml"/>
  <Override PartName="/ppt/charts/chart2995.xml" ContentType="application/vnd.openxmlformats-officedocument.drawingml.chart+xml"/>
  <Override PartName="/ppt/charts/chart2996.xml" ContentType="application/vnd.openxmlformats-officedocument.drawingml.chart+xml"/>
  <Override PartName="/ppt/charts/chart2997.xml" ContentType="application/vnd.openxmlformats-officedocument.drawingml.chart+xml"/>
  <Override PartName="/ppt/charts/chart2998.xml" ContentType="application/vnd.openxmlformats-officedocument.drawingml.chart+xml"/>
  <Override PartName="/ppt/charts/chart29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00.xml" ContentType="application/vnd.openxmlformats-officedocument.drawingml.chart+xml"/>
  <Override PartName="/ppt/charts/chart3001.xml" ContentType="application/vnd.openxmlformats-officedocument.drawingml.chart+xml"/>
  <Override PartName="/ppt/charts/chart3002.xml" ContentType="application/vnd.openxmlformats-officedocument.drawingml.chart+xml"/>
  <Override PartName="/ppt/charts/chart3003.xml" ContentType="application/vnd.openxmlformats-officedocument.drawingml.chart+xml"/>
  <Override PartName="/ppt/charts/chart3004.xml" ContentType="application/vnd.openxmlformats-officedocument.drawingml.chart+xml"/>
  <Override PartName="/ppt/charts/chart3005.xml" ContentType="application/vnd.openxmlformats-officedocument.drawingml.chart+xml"/>
  <Override PartName="/ppt/charts/chart3006.xml" ContentType="application/vnd.openxmlformats-officedocument.drawingml.chart+xml"/>
  <Override PartName="/ppt/charts/chart3007.xml" ContentType="application/vnd.openxmlformats-officedocument.drawingml.chart+xml"/>
  <Override PartName="/ppt/charts/chart3008.xml" ContentType="application/vnd.openxmlformats-officedocument.drawingml.chart+xml"/>
  <Override PartName="/ppt/charts/chart3009.xml" ContentType="application/vnd.openxmlformats-officedocument.drawingml.chart+xml"/>
  <Override PartName="/ppt/charts/chart301.xml" ContentType="application/vnd.openxmlformats-officedocument.drawingml.chart+xml"/>
  <Override PartName="/ppt/charts/chart3010.xml" ContentType="application/vnd.openxmlformats-officedocument.drawingml.chart+xml"/>
  <Override PartName="/ppt/charts/chart3011.xml" ContentType="application/vnd.openxmlformats-officedocument.drawingml.chart+xml"/>
  <Override PartName="/ppt/charts/chart3012.xml" ContentType="application/vnd.openxmlformats-officedocument.drawingml.chart+xml"/>
  <Override PartName="/ppt/charts/chart3013.xml" ContentType="application/vnd.openxmlformats-officedocument.drawingml.chart+xml"/>
  <Override PartName="/ppt/charts/chart3014.xml" ContentType="application/vnd.openxmlformats-officedocument.drawingml.chart+xml"/>
  <Override PartName="/ppt/charts/chart3015.xml" ContentType="application/vnd.openxmlformats-officedocument.drawingml.chart+xml"/>
  <Override PartName="/ppt/charts/chart3016.xml" ContentType="application/vnd.openxmlformats-officedocument.drawingml.chart+xml"/>
  <Override PartName="/ppt/charts/chart3017.xml" ContentType="application/vnd.openxmlformats-officedocument.drawingml.chart+xml"/>
  <Override PartName="/ppt/charts/chart3018.xml" ContentType="application/vnd.openxmlformats-officedocument.drawingml.chart+xml"/>
  <Override PartName="/ppt/charts/chart3019.xml" ContentType="application/vnd.openxmlformats-officedocument.drawingml.chart+xml"/>
  <Override PartName="/ppt/charts/chart302.xml" ContentType="application/vnd.openxmlformats-officedocument.drawingml.chart+xml"/>
  <Override PartName="/ppt/charts/chart3020.xml" ContentType="application/vnd.openxmlformats-officedocument.drawingml.chart+xml"/>
  <Override PartName="/ppt/charts/chart3021.xml" ContentType="application/vnd.openxmlformats-officedocument.drawingml.chart+xml"/>
  <Override PartName="/ppt/charts/chart3022.xml" ContentType="application/vnd.openxmlformats-officedocument.drawingml.chart+xml"/>
  <Override PartName="/ppt/charts/chart3023.xml" ContentType="application/vnd.openxmlformats-officedocument.drawingml.chart+xml"/>
  <Override PartName="/ppt/charts/chart3024.xml" ContentType="application/vnd.openxmlformats-officedocument.drawingml.chart+xml"/>
  <Override PartName="/ppt/charts/chart3025.xml" ContentType="application/vnd.openxmlformats-officedocument.drawingml.chart+xml"/>
  <Override PartName="/ppt/charts/chart3026.xml" ContentType="application/vnd.openxmlformats-officedocument.drawingml.chart+xml"/>
  <Override PartName="/ppt/charts/chart3027.xml" ContentType="application/vnd.openxmlformats-officedocument.drawingml.chart+xml"/>
  <Override PartName="/ppt/charts/chart3028.xml" ContentType="application/vnd.openxmlformats-officedocument.drawingml.chart+xml"/>
  <Override PartName="/ppt/charts/chart3029.xml" ContentType="application/vnd.openxmlformats-officedocument.drawingml.chart+xml"/>
  <Override PartName="/ppt/charts/chart303.xml" ContentType="application/vnd.openxmlformats-officedocument.drawingml.chart+xml"/>
  <Override PartName="/ppt/charts/chart3030.xml" ContentType="application/vnd.openxmlformats-officedocument.drawingml.chart+xml"/>
  <Override PartName="/ppt/charts/chart3031.xml" ContentType="application/vnd.openxmlformats-officedocument.drawingml.chart+xml"/>
  <Override PartName="/ppt/charts/chart3032.xml" ContentType="application/vnd.openxmlformats-officedocument.drawingml.chart+xml"/>
  <Override PartName="/ppt/charts/chart3033.xml" ContentType="application/vnd.openxmlformats-officedocument.drawingml.chart+xml"/>
  <Override PartName="/ppt/charts/chart3034.xml" ContentType="application/vnd.openxmlformats-officedocument.drawingml.chart+xml"/>
  <Override PartName="/ppt/charts/chart3035.xml" ContentType="application/vnd.openxmlformats-officedocument.drawingml.chart+xml"/>
  <Override PartName="/ppt/charts/chart3036.xml" ContentType="application/vnd.openxmlformats-officedocument.drawingml.chart+xml"/>
  <Override PartName="/ppt/charts/chart3037.xml" ContentType="application/vnd.openxmlformats-officedocument.drawingml.chart+xml"/>
  <Override PartName="/ppt/charts/chart3038.xml" ContentType="application/vnd.openxmlformats-officedocument.drawingml.chart+xml"/>
  <Override PartName="/ppt/charts/chart3039.xml" ContentType="application/vnd.openxmlformats-officedocument.drawingml.chart+xml"/>
  <Override PartName="/ppt/charts/chart304.xml" ContentType="application/vnd.openxmlformats-officedocument.drawingml.chart+xml"/>
  <Override PartName="/ppt/charts/chart3040.xml" ContentType="application/vnd.openxmlformats-officedocument.drawingml.chart+xml"/>
  <Override PartName="/ppt/charts/chart3041.xml" ContentType="application/vnd.openxmlformats-officedocument.drawingml.chart+xml"/>
  <Override PartName="/ppt/charts/chart3042.xml" ContentType="application/vnd.openxmlformats-officedocument.drawingml.chart+xml"/>
  <Override PartName="/ppt/charts/chart3043.xml" ContentType="application/vnd.openxmlformats-officedocument.drawingml.chart+xml"/>
  <Override PartName="/ppt/charts/chart3044.xml" ContentType="application/vnd.openxmlformats-officedocument.drawingml.chart+xml"/>
  <Override PartName="/ppt/charts/chart3045.xml" ContentType="application/vnd.openxmlformats-officedocument.drawingml.chart+xml"/>
  <Override PartName="/ppt/charts/chart3046.xml" ContentType="application/vnd.openxmlformats-officedocument.drawingml.chart+xml"/>
  <Override PartName="/ppt/charts/chart3047.xml" ContentType="application/vnd.openxmlformats-officedocument.drawingml.chart+xml"/>
  <Override PartName="/ppt/charts/chart3048.xml" ContentType="application/vnd.openxmlformats-officedocument.drawingml.chart+xml"/>
  <Override PartName="/ppt/charts/chart3049.xml" ContentType="application/vnd.openxmlformats-officedocument.drawingml.chart+xml"/>
  <Override PartName="/ppt/charts/chart305.xml" ContentType="application/vnd.openxmlformats-officedocument.drawingml.chart+xml"/>
  <Override PartName="/ppt/charts/chart3050.xml" ContentType="application/vnd.openxmlformats-officedocument.drawingml.chart+xml"/>
  <Override PartName="/ppt/charts/chart3051.xml" ContentType="application/vnd.openxmlformats-officedocument.drawingml.chart+xml"/>
  <Override PartName="/ppt/charts/chart3052.xml" ContentType="application/vnd.openxmlformats-officedocument.drawingml.chart+xml"/>
  <Override PartName="/ppt/charts/chart3053.xml" ContentType="application/vnd.openxmlformats-officedocument.drawingml.chart+xml"/>
  <Override PartName="/ppt/charts/chart3054.xml" ContentType="application/vnd.openxmlformats-officedocument.drawingml.chart+xml"/>
  <Override PartName="/ppt/charts/chart3055.xml" ContentType="application/vnd.openxmlformats-officedocument.drawingml.chart+xml"/>
  <Override PartName="/ppt/charts/chart3056.xml" ContentType="application/vnd.openxmlformats-officedocument.drawingml.chart+xml"/>
  <Override PartName="/ppt/charts/chart3057.xml" ContentType="application/vnd.openxmlformats-officedocument.drawingml.chart+xml"/>
  <Override PartName="/ppt/charts/chart3058.xml" ContentType="application/vnd.openxmlformats-officedocument.drawingml.chart+xml"/>
  <Override PartName="/ppt/charts/chart3059.xml" ContentType="application/vnd.openxmlformats-officedocument.drawingml.chart+xml"/>
  <Override PartName="/ppt/charts/chart306.xml" ContentType="application/vnd.openxmlformats-officedocument.drawingml.chart+xml"/>
  <Override PartName="/ppt/charts/chart3060.xml" ContentType="application/vnd.openxmlformats-officedocument.drawingml.chart+xml"/>
  <Override PartName="/ppt/charts/chart3061.xml" ContentType="application/vnd.openxmlformats-officedocument.drawingml.chart+xml"/>
  <Override PartName="/ppt/charts/chart3062.xml" ContentType="application/vnd.openxmlformats-officedocument.drawingml.chart+xml"/>
  <Override PartName="/ppt/charts/chart3063.xml" ContentType="application/vnd.openxmlformats-officedocument.drawingml.chart+xml"/>
  <Override PartName="/ppt/charts/chart3064.xml" ContentType="application/vnd.openxmlformats-officedocument.drawingml.chart+xml"/>
  <Override PartName="/ppt/charts/chart3065.xml" ContentType="application/vnd.openxmlformats-officedocument.drawingml.chart+xml"/>
  <Override PartName="/ppt/charts/chart3066.xml" ContentType="application/vnd.openxmlformats-officedocument.drawingml.chart+xml"/>
  <Override PartName="/ppt/charts/chart3067.xml" ContentType="application/vnd.openxmlformats-officedocument.drawingml.chart+xml"/>
  <Override PartName="/ppt/charts/chart3068.xml" ContentType="application/vnd.openxmlformats-officedocument.drawingml.chart+xml"/>
  <Override PartName="/ppt/charts/chart3069.xml" ContentType="application/vnd.openxmlformats-officedocument.drawingml.chart+xml"/>
  <Override PartName="/ppt/charts/chart307.xml" ContentType="application/vnd.openxmlformats-officedocument.drawingml.chart+xml"/>
  <Override PartName="/ppt/charts/chart3070.xml" ContentType="application/vnd.openxmlformats-officedocument.drawingml.chart+xml"/>
  <Override PartName="/ppt/charts/chart3071.xml" ContentType="application/vnd.openxmlformats-officedocument.drawingml.chart+xml"/>
  <Override PartName="/ppt/charts/chart3072.xml" ContentType="application/vnd.openxmlformats-officedocument.drawingml.chart+xml"/>
  <Override PartName="/ppt/charts/chart3073.xml" ContentType="application/vnd.openxmlformats-officedocument.drawingml.chart+xml"/>
  <Override PartName="/ppt/charts/chart3074.xml" ContentType="application/vnd.openxmlformats-officedocument.drawingml.chart+xml"/>
  <Override PartName="/ppt/charts/chart3075.xml" ContentType="application/vnd.openxmlformats-officedocument.drawingml.chart+xml"/>
  <Override PartName="/ppt/charts/chart3076.xml" ContentType="application/vnd.openxmlformats-officedocument.drawingml.chart+xml"/>
  <Override PartName="/ppt/charts/chart3077.xml" ContentType="application/vnd.openxmlformats-officedocument.drawingml.chart+xml"/>
  <Override PartName="/ppt/charts/chart3078.xml" ContentType="application/vnd.openxmlformats-officedocument.drawingml.chart+xml"/>
  <Override PartName="/ppt/charts/chart3079.xml" ContentType="application/vnd.openxmlformats-officedocument.drawingml.chart+xml"/>
  <Override PartName="/ppt/charts/chart308.xml" ContentType="application/vnd.openxmlformats-officedocument.drawingml.chart+xml"/>
  <Override PartName="/ppt/charts/chart3080.xml" ContentType="application/vnd.openxmlformats-officedocument.drawingml.chart+xml"/>
  <Override PartName="/ppt/charts/chart3081.xml" ContentType="application/vnd.openxmlformats-officedocument.drawingml.chart+xml"/>
  <Override PartName="/ppt/charts/chart3082.xml" ContentType="application/vnd.openxmlformats-officedocument.drawingml.chart+xml"/>
  <Override PartName="/ppt/charts/chart3083.xml" ContentType="application/vnd.openxmlformats-officedocument.drawingml.chart+xml"/>
  <Override PartName="/ppt/charts/chart3084.xml" ContentType="application/vnd.openxmlformats-officedocument.drawingml.chart+xml"/>
  <Override PartName="/ppt/charts/chart3085.xml" ContentType="application/vnd.openxmlformats-officedocument.drawingml.chart+xml"/>
  <Override PartName="/ppt/charts/chart3086.xml" ContentType="application/vnd.openxmlformats-officedocument.drawingml.chart+xml"/>
  <Override PartName="/ppt/charts/chart3087.xml" ContentType="application/vnd.openxmlformats-officedocument.drawingml.chart+xml"/>
  <Override PartName="/ppt/charts/chart3088.xml" ContentType="application/vnd.openxmlformats-officedocument.drawingml.chart+xml"/>
  <Override PartName="/ppt/charts/chart3089.xml" ContentType="application/vnd.openxmlformats-officedocument.drawingml.chart+xml"/>
  <Override PartName="/ppt/charts/chart309.xml" ContentType="application/vnd.openxmlformats-officedocument.drawingml.chart+xml"/>
  <Override PartName="/ppt/charts/chart3090.xml" ContentType="application/vnd.openxmlformats-officedocument.drawingml.chart+xml"/>
  <Override PartName="/ppt/charts/chart3091.xml" ContentType="application/vnd.openxmlformats-officedocument.drawingml.chart+xml"/>
  <Override PartName="/ppt/charts/chart3092.xml" ContentType="application/vnd.openxmlformats-officedocument.drawingml.chart+xml"/>
  <Override PartName="/ppt/charts/chart3093.xml" ContentType="application/vnd.openxmlformats-officedocument.drawingml.chart+xml"/>
  <Override PartName="/ppt/charts/chart3094.xml" ContentType="application/vnd.openxmlformats-officedocument.drawingml.chart+xml"/>
  <Override PartName="/ppt/charts/chart3095.xml" ContentType="application/vnd.openxmlformats-officedocument.drawingml.chart+xml"/>
  <Override PartName="/ppt/charts/chart3096.xml" ContentType="application/vnd.openxmlformats-officedocument.drawingml.chart+xml"/>
  <Override PartName="/ppt/charts/chart3097.xml" ContentType="application/vnd.openxmlformats-officedocument.drawingml.chart+xml"/>
  <Override PartName="/ppt/charts/chart3098.xml" ContentType="application/vnd.openxmlformats-officedocument.drawingml.chart+xml"/>
  <Override PartName="/ppt/charts/chart309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00.xml" ContentType="application/vnd.openxmlformats-officedocument.drawingml.chart+xml"/>
  <Override PartName="/ppt/charts/chart3101.xml" ContentType="application/vnd.openxmlformats-officedocument.drawingml.chart+xml"/>
  <Override PartName="/ppt/charts/chart3102.xml" ContentType="application/vnd.openxmlformats-officedocument.drawingml.chart+xml"/>
  <Override PartName="/ppt/charts/chart3103.xml" ContentType="application/vnd.openxmlformats-officedocument.drawingml.chart+xml"/>
  <Override PartName="/ppt/charts/chart3104.xml" ContentType="application/vnd.openxmlformats-officedocument.drawingml.chart+xml"/>
  <Override PartName="/ppt/charts/chart3105.xml" ContentType="application/vnd.openxmlformats-officedocument.drawingml.chart+xml"/>
  <Override PartName="/ppt/charts/chart3106.xml" ContentType="application/vnd.openxmlformats-officedocument.drawingml.chart+xml"/>
  <Override PartName="/ppt/charts/chart3107.xml" ContentType="application/vnd.openxmlformats-officedocument.drawingml.chart+xml"/>
  <Override PartName="/ppt/charts/chart3108.xml" ContentType="application/vnd.openxmlformats-officedocument.drawingml.chart+xml"/>
  <Override PartName="/ppt/charts/chart3109.xml" ContentType="application/vnd.openxmlformats-officedocument.drawingml.chart+xml"/>
  <Override PartName="/ppt/charts/chart311.xml" ContentType="application/vnd.openxmlformats-officedocument.drawingml.chart+xml"/>
  <Override PartName="/ppt/charts/chart3110.xml" ContentType="application/vnd.openxmlformats-officedocument.drawingml.chart+xml"/>
  <Override PartName="/ppt/charts/chart3111.xml" ContentType="application/vnd.openxmlformats-officedocument.drawingml.chart+xml"/>
  <Override PartName="/ppt/charts/chart3112.xml" ContentType="application/vnd.openxmlformats-officedocument.drawingml.chart+xml"/>
  <Override PartName="/ppt/charts/chart3113.xml" ContentType="application/vnd.openxmlformats-officedocument.drawingml.chart+xml"/>
  <Override PartName="/ppt/charts/chart3114.xml" ContentType="application/vnd.openxmlformats-officedocument.drawingml.chart+xml"/>
  <Override PartName="/ppt/charts/chart3115.xml" ContentType="application/vnd.openxmlformats-officedocument.drawingml.chart+xml"/>
  <Override PartName="/ppt/charts/chart3116.xml" ContentType="application/vnd.openxmlformats-officedocument.drawingml.chart+xml"/>
  <Override PartName="/ppt/charts/chart3117.xml" ContentType="application/vnd.openxmlformats-officedocument.drawingml.chart+xml"/>
  <Override PartName="/ppt/charts/chart3118.xml" ContentType="application/vnd.openxmlformats-officedocument.drawingml.chart+xml"/>
  <Override PartName="/ppt/charts/chart3119.xml" ContentType="application/vnd.openxmlformats-officedocument.drawingml.chart+xml"/>
  <Override PartName="/ppt/charts/chart312.xml" ContentType="application/vnd.openxmlformats-officedocument.drawingml.chart+xml"/>
  <Override PartName="/ppt/charts/chart3120.xml" ContentType="application/vnd.openxmlformats-officedocument.drawingml.chart+xml"/>
  <Override PartName="/ppt/charts/chart3121.xml" ContentType="application/vnd.openxmlformats-officedocument.drawingml.chart+xml"/>
  <Override PartName="/ppt/charts/chart3122.xml" ContentType="application/vnd.openxmlformats-officedocument.drawingml.chart+xml"/>
  <Override PartName="/ppt/charts/chart3123.xml" ContentType="application/vnd.openxmlformats-officedocument.drawingml.chart+xml"/>
  <Override PartName="/ppt/charts/chart3124.xml" ContentType="application/vnd.openxmlformats-officedocument.drawingml.chart+xml"/>
  <Override PartName="/ppt/charts/chart3125.xml" ContentType="application/vnd.openxmlformats-officedocument.drawingml.chart+xml"/>
  <Override PartName="/ppt/charts/chart3126.xml" ContentType="application/vnd.openxmlformats-officedocument.drawingml.chart+xml"/>
  <Override PartName="/ppt/charts/chart3127.xml" ContentType="application/vnd.openxmlformats-officedocument.drawingml.chart+xml"/>
  <Override PartName="/ppt/charts/chart3128.xml" ContentType="application/vnd.openxmlformats-officedocument.drawingml.chart+xml"/>
  <Override PartName="/ppt/charts/chart3129.xml" ContentType="application/vnd.openxmlformats-officedocument.drawingml.chart+xml"/>
  <Override PartName="/ppt/charts/chart313.xml" ContentType="application/vnd.openxmlformats-officedocument.drawingml.chart+xml"/>
  <Override PartName="/ppt/charts/chart3130.xml" ContentType="application/vnd.openxmlformats-officedocument.drawingml.chart+xml"/>
  <Override PartName="/ppt/charts/chart3131.xml" ContentType="application/vnd.openxmlformats-officedocument.drawingml.chart+xml"/>
  <Override PartName="/ppt/charts/chart3132.xml" ContentType="application/vnd.openxmlformats-officedocument.drawingml.chart+xml"/>
  <Override PartName="/ppt/charts/chart3133.xml" ContentType="application/vnd.openxmlformats-officedocument.drawingml.chart+xml"/>
  <Override PartName="/ppt/charts/chart3134.xml" ContentType="application/vnd.openxmlformats-officedocument.drawingml.chart+xml"/>
  <Override PartName="/ppt/charts/chart3135.xml" ContentType="application/vnd.openxmlformats-officedocument.drawingml.chart+xml"/>
  <Override PartName="/ppt/charts/chart3136.xml" ContentType="application/vnd.openxmlformats-officedocument.drawingml.chart+xml"/>
  <Override PartName="/ppt/charts/chart3137.xml" ContentType="application/vnd.openxmlformats-officedocument.drawingml.chart+xml"/>
  <Override PartName="/ppt/charts/chart3138.xml" ContentType="application/vnd.openxmlformats-officedocument.drawingml.chart+xml"/>
  <Override PartName="/ppt/charts/chart3139.xml" ContentType="application/vnd.openxmlformats-officedocument.drawingml.chart+xml"/>
  <Override PartName="/ppt/charts/chart314.xml" ContentType="application/vnd.openxmlformats-officedocument.drawingml.chart+xml"/>
  <Override PartName="/ppt/charts/chart3140.xml" ContentType="application/vnd.openxmlformats-officedocument.drawingml.chart+xml"/>
  <Override PartName="/ppt/charts/chart3141.xml" ContentType="application/vnd.openxmlformats-officedocument.drawingml.chart+xml"/>
  <Override PartName="/ppt/charts/chart3142.xml" ContentType="application/vnd.openxmlformats-officedocument.drawingml.chart+xml"/>
  <Override PartName="/ppt/charts/chart3143.xml" ContentType="application/vnd.openxmlformats-officedocument.drawingml.chart+xml"/>
  <Override PartName="/ppt/charts/chart3144.xml" ContentType="application/vnd.openxmlformats-officedocument.drawingml.chart+xml"/>
  <Override PartName="/ppt/charts/chart3145.xml" ContentType="application/vnd.openxmlformats-officedocument.drawingml.chart+xml"/>
  <Override PartName="/ppt/charts/chart3146.xml" ContentType="application/vnd.openxmlformats-officedocument.drawingml.chart+xml"/>
  <Override PartName="/ppt/charts/chart3147.xml" ContentType="application/vnd.openxmlformats-officedocument.drawingml.chart+xml"/>
  <Override PartName="/ppt/charts/chart3148.xml" ContentType="application/vnd.openxmlformats-officedocument.drawingml.chart+xml"/>
  <Override PartName="/ppt/charts/chart3149.xml" ContentType="application/vnd.openxmlformats-officedocument.drawingml.chart+xml"/>
  <Override PartName="/ppt/charts/chart315.xml" ContentType="application/vnd.openxmlformats-officedocument.drawingml.chart+xml"/>
  <Override PartName="/ppt/charts/chart3150.xml" ContentType="application/vnd.openxmlformats-officedocument.drawingml.chart+xml"/>
  <Override PartName="/ppt/charts/chart3151.xml" ContentType="application/vnd.openxmlformats-officedocument.drawingml.chart+xml"/>
  <Override PartName="/ppt/charts/chart3152.xml" ContentType="application/vnd.openxmlformats-officedocument.drawingml.chart+xml"/>
  <Override PartName="/ppt/charts/chart3153.xml" ContentType="application/vnd.openxmlformats-officedocument.drawingml.chart+xml"/>
  <Override PartName="/ppt/charts/chart3154.xml" ContentType="application/vnd.openxmlformats-officedocument.drawingml.chart+xml"/>
  <Override PartName="/ppt/charts/chart3155.xml" ContentType="application/vnd.openxmlformats-officedocument.drawingml.chart+xml"/>
  <Override PartName="/ppt/charts/chart3156.xml" ContentType="application/vnd.openxmlformats-officedocument.drawingml.chart+xml"/>
  <Override PartName="/ppt/charts/chart3157.xml" ContentType="application/vnd.openxmlformats-officedocument.drawingml.chart+xml"/>
  <Override PartName="/ppt/charts/chart3158.xml" ContentType="application/vnd.openxmlformats-officedocument.drawingml.chart+xml"/>
  <Override PartName="/ppt/charts/chart3159.xml" ContentType="application/vnd.openxmlformats-officedocument.drawingml.chart+xml"/>
  <Override PartName="/ppt/charts/chart316.xml" ContentType="application/vnd.openxmlformats-officedocument.drawingml.chart+xml"/>
  <Override PartName="/ppt/charts/chart3160.xml" ContentType="application/vnd.openxmlformats-officedocument.drawingml.chart+xml"/>
  <Override PartName="/ppt/charts/chart3161.xml" ContentType="application/vnd.openxmlformats-officedocument.drawingml.chart+xml"/>
  <Override PartName="/ppt/charts/chart3162.xml" ContentType="application/vnd.openxmlformats-officedocument.drawingml.chart+xml"/>
  <Override PartName="/ppt/charts/chart3163.xml" ContentType="application/vnd.openxmlformats-officedocument.drawingml.chart+xml"/>
  <Override PartName="/ppt/charts/chart3164.xml" ContentType="application/vnd.openxmlformats-officedocument.drawingml.chart+xml"/>
  <Override PartName="/ppt/charts/chart3165.xml" ContentType="application/vnd.openxmlformats-officedocument.drawingml.chart+xml"/>
  <Override PartName="/ppt/charts/chart3166.xml" ContentType="application/vnd.openxmlformats-officedocument.drawingml.chart+xml"/>
  <Override PartName="/ppt/charts/chart3167.xml" ContentType="application/vnd.openxmlformats-officedocument.drawingml.chart+xml"/>
  <Override PartName="/ppt/charts/chart3168.xml" ContentType="application/vnd.openxmlformats-officedocument.drawingml.chart+xml"/>
  <Override PartName="/ppt/charts/chart3169.xml" ContentType="application/vnd.openxmlformats-officedocument.drawingml.chart+xml"/>
  <Override PartName="/ppt/charts/chart317.xml" ContentType="application/vnd.openxmlformats-officedocument.drawingml.chart+xml"/>
  <Override PartName="/ppt/charts/chart3170.xml" ContentType="application/vnd.openxmlformats-officedocument.drawingml.chart+xml"/>
  <Override PartName="/ppt/charts/chart3171.xml" ContentType="application/vnd.openxmlformats-officedocument.drawingml.chart+xml"/>
  <Override PartName="/ppt/charts/chart3172.xml" ContentType="application/vnd.openxmlformats-officedocument.drawingml.chart+xml"/>
  <Override PartName="/ppt/charts/chart3173.xml" ContentType="application/vnd.openxmlformats-officedocument.drawingml.chart+xml"/>
  <Override PartName="/ppt/charts/chart3174.xml" ContentType="application/vnd.openxmlformats-officedocument.drawingml.chart+xml"/>
  <Override PartName="/ppt/charts/chart3175.xml" ContentType="application/vnd.openxmlformats-officedocument.drawingml.chart+xml"/>
  <Override PartName="/ppt/charts/chart3176.xml" ContentType="application/vnd.openxmlformats-officedocument.drawingml.chart+xml"/>
  <Override PartName="/ppt/charts/chart3177.xml" ContentType="application/vnd.openxmlformats-officedocument.drawingml.chart+xml"/>
  <Override PartName="/ppt/charts/chart3178.xml" ContentType="application/vnd.openxmlformats-officedocument.drawingml.chart+xml"/>
  <Override PartName="/ppt/charts/chart3179.xml" ContentType="application/vnd.openxmlformats-officedocument.drawingml.chart+xml"/>
  <Override PartName="/ppt/charts/chart318.xml" ContentType="application/vnd.openxmlformats-officedocument.drawingml.chart+xml"/>
  <Override PartName="/ppt/charts/chart3180.xml" ContentType="application/vnd.openxmlformats-officedocument.drawingml.chart+xml"/>
  <Override PartName="/ppt/charts/chart3181.xml" ContentType="application/vnd.openxmlformats-officedocument.drawingml.chart+xml"/>
  <Override PartName="/ppt/charts/chart3182.xml" ContentType="application/vnd.openxmlformats-officedocument.drawingml.chart+xml"/>
  <Override PartName="/ppt/charts/chart3183.xml" ContentType="application/vnd.openxmlformats-officedocument.drawingml.chart+xml"/>
  <Override PartName="/ppt/charts/chart3184.xml" ContentType="application/vnd.openxmlformats-officedocument.drawingml.chart+xml"/>
  <Override PartName="/ppt/charts/chart3185.xml" ContentType="application/vnd.openxmlformats-officedocument.drawingml.chart+xml"/>
  <Override PartName="/ppt/charts/chart3186.xml" ContentType="application/vnd.openxmlformats-officedocument.drawingml.chart+xml"/>
  <Override PartName="/ppt/charts/chart3187.xml" ContentType="application/vnd.openxmlformats-officedocument.drawingml.chart+xml"/>
  <Override PartName="/ppt/charts/chart3188.xml" ContentType="application/vnd.openxmlformats-officedocument.drawingml.chart+xml"/>
  <Override PartName="/ppt/charts/chart3189.xml" ContentType="application/vnd.openxmlformats-officedocument.drawingml.chart+xml"/>
  <Override PartName="/ppt/charts/chart319.xml" ContentType="application/vnd.openxmlformats-officedocument.drawingml.chart+xml"/>
  <Override PartName="/ppt/charts/chart3190.xml" ContentType="application/vnd.openxmlformats-officedocument.drawingml.chart+xml"/>
  <Override PartName="/ppt/charts/chart3191.xml" ContentType="application/vnd.openxmlformats-officedocument.drawingml.chart+xml"/>
  <Override PartName="/ppt/charts/chart3192.xml" ContentType="application/vnd.openxmlformats-officedocument.drawingml.chart+xml"/>
  <Override PartName="/ppt/charts/chart3193.xml" ContentType="application/vnd.openxmlformats-officedocument.drawingml.chart+xml"/>
  <Override PartName="/ppt/charts/chart3194.xml" ContentType="application/vnd.openxmlformats-officedocument.drawingml.chart+xml"/>
  <Override PartName="/ppt/charts/chart3195.xml" ContentType="application/vnd.openxmlformats-officedocument.drawingml.chart+xml"/>
  <Override PartName="/ppt/charts/chart3196.xml" ContentType="application/vnd.openxmlformats-officedocument.drawingml.chart+xml"/>
  <Override PartName="/ppt/charts/chart3197.xml" ContentType="application/vnd.openxmlformats-officedocument.drawingml.chart+xml"/>
  <Override PartName="/ppt/charts/chart3198.xml" ContentType="application/vnd.openxmlformats-officedocument.drawingml.chart+xml"/>
  <Override PartName="/ppt/charts/chart319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00.xml" ContentType="application/vnd.openxmlformats-officedocument.drawingml.chart+xml"/>
  <Override PartName="/ppt/charts/chart3201.xml" ContentType="application/vnd.openxmlformats-officedocument.drawingml.chart+xml"/>
  <Override PartName="/ppt/charts/chart3202.xml" ContentType="application/vnd.openxmlformats-officedocument.drawingml.chart+xml"/>
  <Override PartName="/ppt/charts/chart3203.xml" ContentType="application/vnd.openxmlformats-officedocument.drawingml.chart+xml"/>
  <Override PartName="/ppt/charts/chart3204.xml" ContentType="application/vnd.openxmlformats-officedocument.drawingml.chart+xml"/>
  <Override PartName="/ppt/charts/chart3205.xml" ContentType="application/vnd.openxmlformats-officedocument.drawingml.chart+xml"/>
  <Override PartName="/ppt/charts/chart3206.xml" ContentType="application/vnd.openxmlformats-officedocument.drawingml.chart+xml"/>
  <Override PartName="/ppt/charts/chart3207.xml" ContentType="application/vnd.openxmlformats-officedocument.drawingml.chart+xml"/>
  <Override PartName="/ppt/charts/chart3208.xml" ContentType="application/vnd.openxmlformats-officedocument.drawingml.chart+xml"/>
  <Override PartName="/ppt/charts/chart3209.xml" ContentType="application/vnd.openxmlformats-officedocument.drawingml.chart+xml"/>
  <Override PartName="/ppt/charts/chart321.xml" ContentType="application/vnd.openxmlformats-officedocument.drawingml.chart+xml"/>
  <Override PartName="/ppt/charts/chart3210.xml" ContentType="application/vnd.openxmlformats-officedocument.drawingml.chart+xml"/>
  <Override PartName="/ppt/charts/chart3211.xml" ContentType="application/vnd.openxmlformats-officedocument.drawingml.chart+xml"/>
  <Override PartName="/ppt/charts/chart3212.xml" ContentType="application/vnd.openxmlformats-officedocument.drawingml.chart+xml"/>
  <Override PartName="/ppt/charts/chart3213.xml" ContentType="application/vnd.openxmlformats-officedocument.drawingml.chart+xml"/>
  <Override PartName="/ppt/charts/chart3214.xml" ContentType="application/vnd.openxmlformats-officedocument.drawingml.chart+xml"/>
  <Override PartName="/ppt/charts/chart3215.xml" ContentType="application/vnd.openxmlformats-officedocument.drawingml.chart+xml"/>
  <Override PartName="/ppt/charts/chart3216.xml" ContentType="application/vnd.openxmlformats-officedocument.drawingml.chart+xml"/>
  <Override PartName="/ppt/charts/chart3217.xml" ContentType="application/vnd.openxmlformats-officedocument.drawingml.chart+xml"/>
  <Override PartName="/ppt/charts/chart3218.xml" ContentType="application/vnd.openxmlformats-officedocument.drawingml.chart+xml"/>
  <Override PartName="/ppt/charts/chart3219.xml" ContentType="application/vnd.openxmlformats-officedocument.drawingml.chart+xml"/>
  <Override PartName="/ppt/charts/chart322.xml" ContentType="application/vnd.openxmlformats-officedocument.drawingml.chart+xml"/>
  <Override PartName="/ppt/charts/chart3220.xml" ContentType="application/vnd.openxmlformats-officedocument.drawingml.chart+xml"/>
  <Override PartName="/ppt/charts/chart3221.xml" ContentType="application/vnd.openxmlformats-officedocument.drawingml.chart+xml"/>
  <Override PartName="/ppt/charts/chart3222.xml" ContentType="application/vnd.openxmlformats-officedocument.drawingml.chart+xml"/>
  <Override PartName="/ppt/charts/chart3223.xml" ContentType="application/vnd.openxmlformats-officedocument.drawingml.chart+xml"/>
  <Override PartName="/ppt/charts/chart3224.xml" ContentType="application/vnd.openxmlformats-officedocument.drawingml.chart+xml"/>
  <Override PartName="/ppt/charts/chart3225.xml" ContentType="application/vnd.openxmlformats-officedocument.drawingml.chart+xml"/>
  <Override PartName="/ppt/charts/chart3226.xml" ContentType="application/vnd.openxmlformats-officedocument.drawingml.chart+xml"/>
  <Override PartName="/ppt/charts/chart3227.xml" ContentType="application/vnd.openxmlformats-officedocument.drawingml.chart+xml"/>
  <Override PartName="/ppt/charts/chart3228.xml" ContentType="application/vnd.openxmlformats-officedocument.drawingml.chart+xml"/>
  <Override PartName="/ppt/charts/chart3229.xml" ContentType="application/vnd.openxmlformats-officedocument.drawingml.chart+xml"/>
  <Override PartName="/ppt/charts/chart323.xml" ContentType="application/vnd.openxmlformats-officedocument.drawingml.chart+xml"/>
  <Override PartName="/ppt/charts/chart3230.xml" ContentType="application/vnd.openxmlformats-officedocument.drawingml.chart+xml"/>
  <Override PartName="/ppt/charts/chart3231.xml" ContentType="application/vnd.openxmlformats-officedocument.drawingml.chart+xml"/>
  <Override PartName="/ppt/charts/chart3232.xml" ContentType="application/vnd.openxmlformats-officedocument.drawingml.chart+xml"/>
  <Override PartName="/ppt/charts/chart3233.xml" ContentType="application/vnd.openxmlformats-officedocument.drawingml.chart+xml"/>
  <Override PartName="/ppt/charts/chart3234.xml" ContentType="application/vnd.openxmlformats-officedocument.drawingml.chart+xml"/>
  <Override PartName="/ppt/charts/chart3235.xml" ContentType="application/vnd.openxmlformats-officedocument.drawingml.chart+xml"/>
  <Override PartName="/ppt/charts/chart3236.xml" ContentType="application/vnd.openxmlformats-officedocument.drawingml.chart+xml"/>
  <Override PartName="/ppt/charts/chart3237.xml" ContentType="application/vnd.openxmlformats-officedocument.drawingml.chart+xml"/>
  <Override PartName="/ppt/charts/chart3238.xml" ContentType="application/vnd.openxmlformats-officedocument.drawingml.chart+xml"/>
  <Override PartName="/ppt/charts/chart3239.xml" ContentType="application/vnd.openxmlformats-officedocument.drawingml.chart+xml"/>
  <Override PartName="/ppt/charts/chart324.xml" ContentType="application/vnd.openxmlformats-officedocument.drawingml.chart+xml"/>
  <Override PartName="/ppt/charts/chart3240.xml" ContentType="application/vnd.openxmlformats-officedocument.drawingml.chart+xml"/>
  <Override PartName="/ppt/charts/chart3241.xml" ContentType="application/vnd.openxmlformats-officedocument.drawingml.chart+xml"/>
  <Override PartName="/ppt/charts/chart3242.xml" ContentType="application/vnd.openxmlformats-officedocument.drawingml.chart+xml"/>
  <Override PartName="/ppt/charts/chart3243.xml" ContentType="application/vnd.openxmlformats-officedocument.drawingml.chart+xml"/>
  <Override PartName="/ppt/charts/chart3244.xml" ContentType="application/vnd.openxmlformats-officedocument.drawingml.chart+xml"/>
  <Override PartName="/ppt/charts/chart3245.xml" ContentType="application/vnd.openxmlformats-officedocument.drawingml.chart+xml"/>
  <Override PartName="/ppt/charts/chart3246.xml" ContentType="application/vnd.openxmlformats-officedocument.drawingml.chart+xml"/>
  <Override PartName="/ppt/charts/chart3247.xml" ContentType="application/vnd.openxmlformats-officedocument.drawingml.chart+xml"/>
  <Override PartName="/ppt/charts/chart3248.xml" ContentType="application/vnd.openxmlformats-officedocument.drawingml.chart+xml"/>
  <Override PartName="/ppt/charts/chart3249.xml" ContentType="application/vnd.openxmlformats-officedocument.drawingml.chart+xml"/>
  <Override PartName="/ppt/charts/chart325.xml" ContentType="application/vnd.openxmlformats-officedocument.drawingml.chart+xml"/>
  <Override PartName="/ppt/charts/chart3250.xml" ContentType="application/vnd.openxmlformats-officedocument.drawingml.chart+xml"/>
  <Override PartName="/ppt/charts/chart3251.xml" ContentType="application/vnd.openxmlformats-officedocument.drawingml.chart+xml"/>
  <Override PartName="/ppt/charts/chart3252.xml" ContentType="application/vnd.openxmlformats-officedocument.drawingml.chart+xml"/>
  <Override PartName="/ppt/charts/chart3253.xml" ContentType="application/vnd.openxmlformats-officedocument.drawingml.chart+xml"/>
  <Override PartName="/ppt/charts/chart3254.xml" ContentType="application/vnd.openxmlformats-officedocument.drawingml.chart+xml"/>
  <Override PartName="/ppt/charts/chart3255.xml" ContentType="application/vnd.openxmlformats-officedocument.drawingml.chart+xml"/>
  <Override PartName="/ppt/charts/chart3256.xml" ContentType="application/vnd.openxmlformats-officedocument.drawingml.chart+xml"/>
  <Override PartName="/ppt/charts/chart3257.xml" ContentType="application/vnd.openxmlformats-officedocument.drawingml.chart+xml"/>
  <Override PartName="/ppt/charts/chart3258.xml" ContentType="application/vnd.openxmlformats-officedocument.drawingml.chart+xml"/>
  <Override PartName="/ppt/charts/chart3259.xml" ContentType="application/vnd.openxmlformats-officedocument.drawingml.chart+xml"/>
  <Override PartName="/ppt/charts/chart326.xml" ContentType="application/vnd.openxmlformats-officedocument.drawingml.chart+xml"/>
  <Override PartName="/ppt/charts/chart3260.xml" ContentType="application/vnd.openxmlformats-officedocument.drawingml.chart+xml"/>
  <Override PartName="/ppt/charts/chart3261.xml" ContentType="application/vnd.openxmlformats-officedocument.drawingml.chart+xml"/>
  <Override PartName="/ppt/charts/chart3262.xml" ContentType="application/vnd.openxmlformats-officedocument.drawingml.chart+xml"/>
  <Override PartName="/ppt/charts/chart3263.xml" ContentType="application/vnd.openxmlformats-officedocument.drawingml.chart+xml"/>
  <Override PartName="/ppt/charts/chart3264.xml" ContentType="application/vnd.openxmlformats-officedocument.drawingml.chart+xml"/>
  <Override PartName="/ppt/charts/chart3265.xml" ContentType="application/vnd.openxmlformats-officedocument.drawingml.chart+xml"/>
  <Override PartName="/ppt/charts/chart3266.xml" ContentType="application/vnd.openxmlformats-officedocument.drawingml.chart+xml"/>
  <Override PartName="/ppt/charts/chart3267.xml" ContentType="application/vnd.openxmlformats-officedocument.drawingml.chart+xml"/>
  <Override PartName="/ppt/charts/chart3268.xml" ContentType="application/vnd.openxmlformats-officedocument.drawingml.chart+xml"/>
  <Override PartName="/ppt/charts/chart3269.xml" ContentType="application/vnd.openxmlformats-officedocument.drawingml.chart+xml"/>
  <Override PartName="/ppt/charts/chart327.xml" ContentType="application/vnd.openxmlformats-officedocument.drawingml.chart+xml"/>
  <Override PartName="/ppt/charts/chart3270.xml" ContentType="application/vnd.openxmlformats-officedocument.drawingml.chart+xml"/>
  <Override PartName="/ppt/charts/chart3271.xml" ContentType="application/vnd.openxmlformats-officedocument.drawingml.chart+xml"/>
  <Override PartName="/ppt/charts/chart3272.xml" ContentType="application/vnd.openxmlformats-officedocument.drawingml.chart+xml"/>
  <Override PartName="/ppt/charts/chart3273.xml" ContentType="application/vnd.openxmlformats-officedocument.drawingml.chart+xml"/>
  <Override PartName="/ppt/charts/chart3274.xml" ContentType="application/vnd.openxmlformats-officedocument.drawingml.chart+xml"/>
  <Override PartName="/ppt/charts/chart3275.xml" ContentType="application/vnd.openxmlformats-officedocument.drawingml.chart+xml"/>
  <Override PartName="/ppt/charts/chart3276.xml" ContentType="application/vnd.openxmlformats-officedocument.drawingml.chart+xml"/>
  <Override PartName="/ppt/charts/chart3277.xml" ContentType="application/vnd.openxmlformats-officedocument.drawingml.chart+xml"/>
  <Override PartName="/ppt/charts/chart3278.xml" ContentType="application/vnd.openxmlformats-officedocument.drawingml.chart+xml"/>
  <Override PartName="/ppt/charts/chart3279.xml" ContentType="application/vnd.openxmlformats-officedocument.drawingml.chart+xml"/>
  <Override PartName="/ppt/charts/chart328.xml" ContentType="application/vnd.openxmlformats-officedocument.drawingml.chart+xml"/>
  <Override PartName="/ppt/charts/chart3280.xml" ContentType="application/vnd.openxmlformats-officedocument.drawingml.chart+xml"/>
  <Override PartName="/ppt/charts/chart3281.xml" ContentType="application/vnd.openxmlformats-officedocument.drawingml.chart+xml"/>
  <Override PartName="/ppt/charts/chart3282.xml" ContentType="application/vnd.openxmlformats-officedocument.drawingml.chart+xml"/>
  <Override PartName="/ppt/charts/chart3283.xml" ContentType="application/vnd.openxmlformats-officedocument.drawingml.chart+xml"/>
  <Override PartName="/ppt/charts/chart3284.xml" ContentType="application/vnd.openxmlformats-officedocument.drawingml.chart+xml"/>
  <Override PartName="/ppt/charts/chart3285.xml" ContentType="application/vnd.openxmlformats-officedocument.drawingml.chart+xml"/>
  <Override PartName="/ppt/charts/chart3286.xml" ContentType="application/vnd.openxmlformats-officedocument.drawingml.chart+xml"/>
  <Override PartName="/ppt/charts/chart3287.xml" ContentType="application/vnd.openxmlformats-officedocument.drawingml.chart+xml"/>
  <Override PartName="/ppt/charts/chart3288.xml" ContentType="application/vnd.openxmlformats-officedocument.drawingml.chart+xml"/>
  <Override PartName="/ppt/charts/chart3289.xml" ContentType="application/vnd.openxmlformats-officedocument.drawingml.chart+xml"/>
  <Override PartName="/ppt/charts/chart329.xml" ContentType="application/vnd.openxmlformats-officedocument.drawingml.chart+xml"/>
  <Override PartName="/ppt/charts/chart3290.xml" ContentType="application/vnd.openxmlformats-officedocument.drawingml.chart+xml"/>
  <Override PartName="/ppt/charts/chart3291.xml" ContentType="application/vnd.openxmlformats-officedocument.drawingml.chart+xml"/>
  <Override PartName="/ppt/charts/chart3292.xml" ContentType="application/vnd.openxmlformats-officedocument.drawingml.chart+xml"/>
  <Override PartName="/ppt/charts/chart3293.xml" ContentType="application/vnd.openxmlformats-officedocument.drawingml.chart+xml"/>
  <Override PartName="/ppt/charts/chart3294.xml" ContentType="application/vnd.openxmlformats-officedocument.drawingml.chart+xml"/>
  <Override PartName="/ppt/charts/chart3295.xml" ContentType="application/vnd.openxmlformats-officedocument.drawingml.chart+xml"/>
  <Override PartName="/ppt/charts/chart3296.xml" ContentType="application/vnd.openxmlformats-officedocument.drawingml.chart+xml"/>
  <Override PartName="/ppt/charts/chart3297.xml" ContentType="application/vnd.openxmlformats-officedocument.drawingml.chart+xml"/>
  <Override PartName="/ppt/charts/chart3298.xml" ContentType="application/vnd.openxmlformats-officedocument.drawingml.chart+xml"/>
  <Override PartName="/ppt/charts/chart329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00.xml" ContentType="application/vnd.openxmlformats-officedocument.drawingml.chart+xml"/>
  <Override PartName="/ppt/charts/chart3301.xml" ContentType="application/vnd.openxmlformats-officedocument.drawingml.chart+xml"/>
  <Override PartName="/ppt/charts/chart3302.xml" ContentType="application/vnd.openxmlformats-officedocument.drawingml.chart+xml"/>
  <Override PartName="/ppt/charts/chart3303.xml" ContentType="application/vnd.openxmlformats-officedocument.drawingml.chart+xml"/>
  <Override PartName="/ppt/charts/chart3304.xml" ContentType="application/vnd.openxmlformats-officedocument.drawingml.chart+xml"/>
  <Override PartName="/ppt/charts/chart3305.xml" ContentType="application/vnd.openxmlformats-officedocument.drawingml.chart+xml"/>
  <Override PartName="/ppt/charts/chart3306.xml" ContentType="application/vnd.openxmlformats-officedocument.drawingml.chart+xml"/>
  <Override PartName="/ppt/charts/chart3307.xml" ContentType="application/vnd.openxmlformats-officedocument.drawingml.chart+xml"/>
  <Override PartName="/ppt/charts/chart3308.xml" ContentType="application/vnd.openxmlformats-officedocument.drawingml.chart+xml"/>
  <Override PartName="/ppt/charts/chart3309.xml" ContentType="application/vnd.openxmlformats-officedocument.drawingml.chart+xml"/>
  <Override PartName="/ppt/charts/chart331.xml" ContentType="application/vnd.openxmlformats-officedocument.drawingml.chart+xml"/>
  <Override PartName="/ppt/charts/chart3310.xml" ContentType="application/vnd.openxmlformats-officedocument.drawingml.chart+xml"/>
  <Override PartName="/ppt/charts/chart3311.xml" ContentType="application/vnd.openxmlformats-officedocument.drawingml.chart+xml"/>
  <Override PartName="/ppt/charts/chart3312.xml" ContentType="application/vnd.openxmlformats-officedocument.drawingml.chart+xml"/>
  <Override PartName="/ppt/charts/chart3313.xml" ContentType="application/vnd.openxmlformats-officedocument.drawingml.chart+xml"/>
  <Override PartName="/ppt/charts/chart3314.xml" ContentType="application/vnd.openxmlformats-officedocument.drawingml.chart+xml"/>
  <Override PartName="/ppt/charts/chart3315.xml" ContentType="application/vnd.openxmlformats-officedocument.drawingml.chart+xml"/>
  <Override PartName="/ppt/charts/chart3316.xml" ContentType="application/vnd.openxmlformats-officedocument.drawingml.chart+xml"/>
  <Override PartName="/ppt/charts/chart3317.xml" ContentType="application/vnd.openxmlformats-officedocument.drawingml.chart+xml"/>
  <Override PartName="/ppt/charts/chart3318.xml" ContentType="application/vnd.openxmlformats-officedocument.drawingml.chart+xml"/>
  <Override PartName="/ppt/charts/chart3319.xml" ContentType="application/vnd.openxmlformats-officedocument.drawingml.chart+xml"/>
  <Override PartName="/ppt/charts/chart332.xml" ContentType="application/vnd.openxmlformats-officedocument.drawingml.chart+xml"/>
  <Override PartName="/ppt/charts/chart3320.xml" ContentType="application/vnd.openxmlformats-officedocument.drawingml.chart+xml"/>
  <Override PartName="/ppt/charts/chart3321.xml" ContentType="application/vnd.openxmlformats-officedocument.drawingml.chart+xml"/>
  <Override PartName="/ppt/charts/chart3322.xml" ContentType="application/vnd.openxmlformats-officedocument.drawingml.chart+xml"/>
  <Override PartName="/ppt/charts/chart3323.xml" ContentType="application/vnd.openxmlformats-officedocument.drawingml.chart+xml"/>
  <Override PartName="/ppt/charts/chart3324.xml" ContentType="application/vnd.openxmlformats-officedocument.drawingml.chart+xml"/>
  <Override PartName="/ppt/charts/chart3325.xml" ContentType="application/vnd.openxmlformats-officedocument.drawingml.chart+xml"/>
  <Override PartName="/ppt/charts/chart3326.xml" ContentType="application/vnd.openxmlformats-officedocument.drawingml.chart+xml"/>
  <Override PartName="/ppt/charts/chart3327.xml" ContentType="application/vnd.openxmlformats-officedocument.drawingml.chart+xml"/>
  <Override PartName="/ppt/charts/chart3328.xml" ContentType="application/vnd.openxmlformats-officedocument.drawingml.chart+xml"/>
  <Override PartName="/ppt/charts/chart3329.xml" ContentType="application/vnd.openxmlformats-officedocument.drawingml.chart+xml"/>
  <Override PartName="/ppt/charts/chart333.xml" ContentType="application/vnd.openxmlformats-officedocument.drawingml.chart+xml"/>
  <Override PartName="/ppt/charts/chart3330.xml" ContentType="application/vnd.openxmlformats-officedocument.drawingml.chart+xml"/>
  <Override PartName="/ppt/charts/chart3331.xml" ContentType="application/vnd.openxmlformats-officedocument.drawingml.chart+xml"/>
  <Override PartName="/ppt/charts/chart3332.xml" ContentType="application/vnd.openxmlformats-officedocument.drawingml.chart+xml"/>
  <Override PartName="/ppt/charts/chart3333.xml" ContentType="application/vnd.openxmlformats-officedocument.drawingml.chart+xml"/>
  <Override PartName="/ppt/charts/chart3334.xml" ContentType="application/vnd.openxmlformats-officedocument.drawingml.chart+xml"/>
  <Override PartName="/ppt/charts/chart3335.xml" ContentType="application/vnd.openxmlformats-officedocument.drawingml.chart+xml"/>
  <Override PartName="/ppt/charts/chart3336.xml" ContentType="application/vnd.openxmlformats-officedocument.drawingml.chart+xml"/>
  <Override PartName="/ppt/charts/chart3337.xml" ContentType="application/vnd.openxmlformats-officedocument.drawingml.chart+xml"/>
  <Override PartName="/ppt/charts/chart3338.xml" ContentType="application/vnd.openxmlformats-officedocument.drawingml.chart+xml"/>
  <Override PartName="/ppt/charts/chart3339.xml" ContentType="application/vnd.openxmlformats-officedocument.drawingml.chart+xml"/>
  <Override PartName="/ppt/charts/chart334.xml" ContentType="application/vnd.openxmlformats-officedocument.drawingml.chart+xml"/>
  <Override PartName="/ppt/charts/chart3340.xml" ContentType="application/vnd.openxmlformats-officedocument.drawingml.chart+xml"/>
  <Override PartName="/ppt/charts/chart3341.xml" ContentType="application/vnd.openxmlformats-officedocument.drawingml.chart+xml"/>
  <Override PartName="/ppt/charts/chart3342.xml" ContentType="application/vnd.openxmlformats-officedocument.drawingml.chart+xml"/>
  <Override PartName="/ppt/charts/chart3343.xml" ContentType="application/vnd.openxmlformats-officedocument.drawingml.chart+xml"/>
  <Override PartName="/ppt/charts/chart3344.xml" ContentType="application/vnd.openxmlformats-officedocument.drawingml.chart+xml"/>
  <Override PartName="/ppt/charts/chart3345.xml" ContentType="application/vnd.openxmlformats-officedocument.drawingml.chart+xml"/>
  <Override PartName="/ppt/charts/chart3346.xml" ContentType="application/vnd.openxmlformats-officedocument.drawingml.chart+xml"/>
  <Override PartName="/ppt/charts/chart3347.xml" ContentType="application/vnd.openxmlformats-officedocument.drawingml.chart+xml"/>
  <Override PartName="/ppt/charts/chart3348.xml" ContentType="application/vnd.openxmlformats-officedocument.drawingml.chart+xml"/>
  <Override PartName="/ppt/charts/chart3349.xml" ContentType="application/vnd.openxmlformats-officedocument.drawingml.chart+xml"/>
  <Override PartName="/ppt/charts/chart335.xml" ContentType="application/vnd.openxmlformats-officedocument.drawingml.chart+xml"/>
  <Override PartName="/ppt/charts/chart3350.xml" ContentType="application/vnd.openxmlformats-officedocument.drawingml.chart+xml"/>
  <Override PartName="/ppt/charts/chart3351.xml" ContentType="application/vnd.openxmlformats-officedocument.drawingml.chart+xml"/>
  <Override PartName="/ppt/charts/chart3352.xml" ContentType="application/vnd.openxmlformats-officedocument.drawingml.chart+xml"/>
  <Override PartName="/ppt/charts/chart3353.xml" ContentType="application/vnd.openxmlformats-officedocument.drawingml.chart+xml"/>
  <Override PartName="/ppt/charts/chart3354.xml" ContentType="application/vnd.openxmlformats-officedocument.drawingml.chart+xml"/>
  <Override PartName="/ppt/charts/chart3355.xml" ContentType="application/vnd.openxmlformats-officedocument.drawingml.chart+xml"/>
  <Override PartName="/ppt/charts/chart3356.xml" ContentType="application/vnd.openxmlformats-officedocument.drawingml.chart+xml"/>
  <Override PartName="/ppt/charts/chart3357.xml" ContentType="application/vnd.openxmlformats-officedocument.drawingml.chart+xml"/>
  <Override PartName="/ppt/charts/chart3358.xml" ContentType="application/vnd.openxmlformats-officedocument.drawingml.chart+xml"/>
  <Override PartName="/ppt/charts/chart3359.xml" ContentType="application/vnd.openxmlformats-officedocument.drawingml.chart+xml"/>
  <Override PartName="/ppt/charts/chart336.xml" ContentType="application/vnd.openxmlformats-officedocument.drawingml.chart+xml"/>
  <Override PartName="/ppt/charts/chart3360.xml" ContentType="application/vnd.openxmlformats-officedocument.drawingml.chart+xml"/>
  <Override PartName="/ppt/charts/chart3361.xml" ContentType="application/vnd.openxmlformats-officedocument.drawingml.chart+xml"/>
  <Override PartName="/ppt/charts/chart3362.xml" ContentType="application/vnd.openxmlformats-officedocument.drawingml.chart+xml"/>
  <Override PartName="/ppt/charts/chart3363.xml" ContentType="application/vnd.openxmlformats-officedocument.drawingml.chart+xml"/>
  <Override PartName="/ppt/charts/chart3364.xml" ContentType="application/vnd.openxmlformats-officedocument.drawingml.chart+xml"/>
  <Override PartName="/ppt/charts/chart3365.xml" ContentType="application/vnd.openxmlformats-officedocument.drawingml.chart+xml"/>
  <Override PartName="/ppt/charts/chart3366.xml" ContentType="application/vnd.openxmlformats-officedocument.drawingml.chart+xml"/>
  <Override PartName="/ppt/charts/chart3367.xml" ContentType="application/vnd.openxmlformats-officedocument.drawingml.chart+xml"/>
  <Override PartName="/ppt/charts/chart3368.xml" ContentType="application/vnd.openxmlformats-officedocument.drawingml.chart+xml"/>
  <Override PartName="/ppt/charts/chart3369.xml" ContentType="application/vnd.openxmlformats-officedocument.drawingml.chart+xml"/>
  <Override PartName="/ppt/charts/chart337.xml" ContentType="application/vnd.openxmlformats-officedocument.drawingml.chart+xml"/>
  <Override PartName="/ppt/charts/chart3370.xml" ContentType="application/vnd.openxmlformats-officedocument.drawingml.chart+xml"/>
  <Override PartName="/ppt/charts/chart3371.xml" ContentType="application/vnd.openxmlformats-officedocument.drawingml.chart+xml"/>
  <Override PartName="/ppt/charts/chart3372.xml" ContentType="application/vnd.openxmlformats-officedocument.drawingml.chart+xml"/>
  <Override PartName="/ppt/charts/chart3373.xml" ContentType="application/vnd.openxmlformats-officedocument.drawingml.chart+xml"/>
  <Override PartName="/ppt/charts/chart3374.xml" ContentType="application/vnd.openxmlformats-officedocument.drawingml.chart+xml"/>
  <Override PartName="/ppt/charts/chart3375.xml" ContentType="application/vnd.openxmlformats-officedocument.drawingml.chart+xml"/>
  <Override PartName="/ppt/charts/chart3376.xml" ContentType="application/vnd.openxmlformats-officedocument.drawingml.chart+xml"/>
  <Override PartName="/ppt/charts/chart3377.xml" ContentType="application/vnd.openxmlformats-officedocument.drawingml.chart+xml"/>
  <Override PartName="/ppt/charts/chart3378.xml" ContentType="application/vnd.openxmlformats-officedocument.drawingml.chart+xml"/>
  <Override PartName="/ppt/charts/chart3379.xml" ContentType="application/vnd.openxmlformats-officedocument.drawingml.chart+xml"/>
  <Override PartName="/ppt/charts/chart338.xml" ContentType="application/vnd.openxmlformats-officedocument.drawingml.chart+xml"/>
  <Override PartName="/ppt/charts/chart3380.xml" ContentType="application/vnd.openxmlformats-officedocument.drawingml.chart+xml"/>
  <Override PartName="/ppt/charts/chart3381.xml" ContentType="application/vnd.openxmlformats-officedocument.drawingml.chart+xml"/>
  <Override PartName="/ppt/charts/chart3382.xml" ContentType="application/vnd.openxmlformats-officedocument.drawingml.chart+xml"/>
  <Override PartName="/ppt/charts/chart3383.xml" ContentType="application/vnd.openxmlformats-officedocument.drawingml.chart+xml"/>
  <Override PartName="/ppt/charts/chart3384.xml" ContentType="application/vnd.openxmlformats-officedocument.drawingml.chart+xml"/>
  <Override PartName="/ppt/charts/chart3385.xml" ContentType="application/vnd.openxmlformats-officedocument.drawingml.chart+xml"/>
  <Override PartName="/ppt/charts/chart3386.xml" ContentType="application/vnd.openxmlformats-officedocument.drawingml.chart+xml"/>
  <Override PartName="/ppt/charts/chart3387.xml" ContentType="application/vnd.openxmlformats-officedocument.drawingml.chart+xml"/>
  <Override PartName="/ppt/charts/chart3388.xml" ContentType="application/vnd.openxmlformats-officedocument.drawingml.chart+xml"/>
  <Override PartName="/ppt/charts/chart3389.xml" ContentType="application/vnd.openxmlformats-officedocument.drawingml.chart+xml"/>
  <Override PartName="/ppt/charts/chart339.xml" ContentType="application/vnd.openxmlformats-officedocument.drawingml.chart+xml"/>
  <Override PartName="/ppt/charts/chart3390.xml" ContentType="application/vnd.openxmlformats-officedocument.drawingml.chart+xml"/>
  <Override PartName="/ppt/charts/chart3391.xml" ContentType="application/vnd.openxmlformats-officedocument.drawingml.chart+xml"/>
  <Override PartName="/ppt/charts/chart3392.xml" ContentType="application/vnd.openxmlformats-officedocument.drawingml.chart+xml"/>
  <Override PartName="/ppt/charts/chart3393.xml" ContentType="application/vnd.openxmlformats-officedocument.drawingml.chart+xml"/>
  <Override PartName="/ppt/charts/chart3394.xml" ContentType="application/vnd.openxmlformats-officedocument.drawingml.chart+xml"/>
  <Override PartName="/ppt/charts/chart3395.xml" ContentType="application/vnd.openxmlformats-officedocument.drawingml.chart+xml"/>
  <Override PartName="/ppt/charts/chart3396.xml" ContentType="application/vnd.openxmlformats-officedocument.drawingml.chart+xml"/>
  <Override PartName="/ppt/charts/chart3397.xml" ContentType="application/vnd.openxmlformats-officedocument.drawingml.chart+xml"/>
  <Override PartName="/ppt/charts/chart3398.xml" ContentType="application/vnd.openxmlformats-officedocument.drawingml.chart+xml"/>
  <Override PartName="/ppt/charts/chart339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00.xml" ContentType="application/vnd.openxmlformats-officedocument.drawingml.chart+xml"/>
  <Override PartName="/ppt/charts/chart3401.xml" ContentType="application/vnd.openxmlformats-officedocument.drawingml.chart+xml"/>
  <Override PartName="/ppt/charts/chart3402.xml" ContentType="application/vnd.openxmlformats-officedocument.drawingml.chart+xml"/>
  <Override PartName="/ppt/charts/chart3403.xml" ContentType="application/vnd.openxmlformats-officedocument.drawingml.chart+xml"/>
  <Override PartName="/ppt/charts/chart3404.xml" ContentType="application/vnd.openxmlformats-officedocument.drawingml.chart+xml"/>
  <Override PartName="/ppt/charts/chart3405.xml" ContentType="application/vnd.openxmlformats-officedocument.drawingml.chart+xml"/>
  <Override PartName="/ppt/charts/chart3406.xml" ContentType="application/vnd.openxmlformats-officedocument.drawingml.chart+xml"/>
  <Override PartName="/ppt/charts/chart3407.xml" ContentType="application/vnd.openxmlformats-officedocument.drawingml.chart+xml"/>
  <Override PartName="/ppt/charts/chart3408.xml" ContentType="application/vnd.openxmlformats-officedocument.drawingml.chart+xml"/>
  <Override PartName="/ppt/charts/chart3409.xml" ContentType="application/vnd.openxmlformats-officedocument.drawingml.chart+xml"/>
  <Override PartName="/ppt/charts/chart341.xml" ContentType="application/vnd.openxmlformats-officedocument.drawingml.chart+xml"/>
  <Override PartName="/ppt/charts/chart3410.xml" ContentType="application/vnd.openxmlformats-officedocument.drawingml.chart+xml"/>
  <Override PartName="/ppt/charts/chart3411.xml" ContentType="application/vnd.openxmlformats-officedocument.drawingml.chart+xml"/>
  <Override PartName="/ppt/charts/chart3412.xml" ContentType="application/vnd.openxmlformats-officedocument.drawingml.chart+xml"/>
  <Override PartName="/ppt/charts/chart3413.xml" ContentType="application/vnd.openxmlformats-officedocument.drawingml.chart+xml"/>
  <Override PartName="/ppt/charts/chart3414.xml" ContentType="application/vnd.openxmlformats-officedocument.drawingml.chart+xml"/>
  <Override PartName="/ppt/charts/chart3415.xml" ContentType="application/vnd.openxmlformats-officedocument.drawingml.chart+xml"/>
  <Override PartName="/ppt/charts/chart3416.xml" ContentType="application/vnd.openxmlformats-officedocument.drawingml.chart+xml"/>
  <Override PartName="/ppt/charts/chart3417.xml" ContentType="application/vnd.openxmlformats-officedocument.drawingml.chart+xml"/>
  <Override PartName="/ppt/charts/chart3418.xml" ContentType="application/vnd.openxmlformats-officedocument.drawingml.chart+xml"/>
  <Override PartName="/ppt/charts/chart3419.xml" ContentType="application/vnd.openxmlformats-officedocument.drawingml.chart+xml"/>
  <Override PartName="/ppt/charts/chart342.xml" ContentType="application/vnd.openxmlformats-officedocument.drawingml.chart+xml"/>
  <Override PartName="/ppt/charts/chart3420.xml" ContentType="application/vnd.openxmlformats-officedocument.drawingml.chart+xml"/>
  <Override PartName="/ppt/charts/chart3421.xml" ContentType="application/vnd.openxmlformats-officedocument.drawingml.chart+xml"/>
  <Override PartName="/ppt/charts/chart3422.xml" ContentType="application/vnd.openxmlformats-officedocument.drawingml.chart+xml"/>
  <Override PartName="/ppt/charts/chart3423.xml" ContentType="application/vnd.openxmlformats-officedocument.drawingml.chart+xml"/>
  <Override PartName="/ppt/charts/chart3424.xml" ContentType="application/vnd.openxmlformats-officedocument.drawingml.chart+xml"/>
  <Override PartName="/ppt/charts/chart3425.xml" ContentType="application/vnd.openxmlformats-officedocument.drawingml.chart+xml"/>
  <Override PartName="/ppt/charts/chart3426.xml" ContentType="application/vnd.openxmlformats-officedocument.drawingml.chart+xml"/>
  <Override PartName="/ppt/charts/chart3427.xml" ContentType="application/vnd.openxmlformats-officedocument.drawingml.chart+xml"/>
  <Override PartName="/ppt/charts/chart3428.xml" ContentType="application/vnd.openxmlformats-officedocument.drawingml.chart+xml"/>
  <Override PartName="/ppt/charts/chart3429.xml" ContentType="application/vnd.openxmlformats-officedocument.drawingml.chart+xml"/>
  <Override PartName="/ppt/charts/chart343.xml" ContentType="application/vnd.openxmlformats-officedocument.drawingml.chart+xml"/>
  <Override PartName="/ppt/charts/chart3430.xml" ContentType="application/vnd.openxmlformats-officedocument.drawingml.chart+xml"/>
  <Override PartName="/ppt/charts/chart3431.xml" ContentType="application/vnd.openxmlformats-officedocument.drawingml.chart+xml"/>
  <Override PartName="/ppt/charts/chart3432.xml" ContentType="application/vnd.openxmlformats-officedocument.drawingml.chart+xml"/>
  <Override PartName="/ppt/charts/chart3433.xml" ContentType="application/vnd.openxmlformats-officedocument.drawingml.chart+xml"/>
  <Override PartName="/ppt/charts/chart3434.xml" ContentType="application/vnd.openxmlformats-officedocument.drawingml.chart+xml"/>
  <Override PartName="/ppt/charts/chart3435.xml" ContentType="application/vnd.openxmlformats-officedocument.drawingml.chart+xml"/>
  <Override PartName="/ppt/charts/chart3436.xml" ContentType="application/vnd.openxmlformats-officedocument.drawingml.chart+xml"/>
  <Override PartName="/ppt/charts/chart3437.xml" ContentType="application/vnd.openxmlformats-officedocument.drawingml.chart+xml"/>
  <Override PartName="/ppt/charts/chart3438.xml" ContentType="application/vnd.openxmlformats-officedocument.drawingml.chart+xml"/>
  <Override PartName="/ppt/charts/chart3439.xml" ContentType="application/vnd.openxmlformats-officedocument.drawingml.chart+xml"/>
  <Override PartName="/ppt/charts/chart344.xml" ContentType="application/vnd.openxmlformats-officedocument.drawingml.chart+xml"/>
  <Override PartName="/ppt/charts/chart3440.xml" ContentType="application/vnd.openxmlformats-officedocument.drawingml.chart+xml"/>
  <Override PartName="/ppt/charts/chart3441.xml" ContentType="application/vnd.openxmlformats-officedocument.drawingml.chart+xml"/>
  <Override PartName="/ppt/charts/chart3442.xml" ContentType="application/vnd.openxmlformats-officedocument.drawingml.chart+xml"/>
  <Override PartName="/ppt/charts/chart3443.xml" ContentType="application/vnd.openxmlformats-officedocument.drawingml.chart+xml"/>
  <Override PartName="/ppt/charts/chart3444.xml" ContentType="application/vnd.openxmlformats-officedocument.drawingml.chart+xml"/>
  <Override PartName="/ppt/charts/chart3445.xml" ContentType="application/vnd.openxmlformats-officedocument.drawingml.chart+xml"/>
  <Override PartName="/ppt/charts/chart3446.xml" ContentType="application/vnd.openxmlformats-officedocument.drawingml.chart+xml"/>
  <Override PartName="/ppt/charts/chart3447.xml" ContentType="application/vnd.openxmlformats-officedocument.drawingml.chart+xml"/>
  <Override PartName="/ppt/charts/chart3448.xml" ContentType="application/vnd.openxmlformats-officedocument.drawingml.chart+xml"/>
  <Override PartName="/ppt/charts/chart3449.xml" ContentType="application/vnd.openxmlformats-officedocument.drawingml.chart+xml"/>
  <Override PartName="/ppt/charts/chart345.xml" ContentType="application/vnd.openxmlformats-officedocument.drawingml.chart+xml"/>
  <Override PartName="/ppt/charts/chart3450.xml" ContentType="application/vnd.openxmlformats-officedocument.drawingml.chart+xml"/>
  <Override PartName="/ppt/charts/chart3451.xml" ContentType="application/vnd.openxmlformats-officedocument.drawingml.chart+xml"/>
  <Override PartName="/ppt/charts/chart3452.xml" ContentType="application/vnd.openxmlformats-officedocument.drawingml.chart+xml"/>
  <Override PartName="/ppt/charts/chart3453.xml" ContentType="application/vnd.openxmlformats-officedocument.drawingml.chart+xml"/>
  <Override PartName="/ppt/charts/chart3454.xml" ContentType="application/vnd.openxmlformats-officedocument.drawingml.chart+xml"/>
  <Override PartName="/ppt/charts/chart3455.xml" ContentType="application/vnd.openxmlformats-officedocument.drawingml.chart+xml"/>
  <Override PartName="/ppt/charts/chart3456.xml" ContentType="application/vnd.openxmlformats-officedocument.drawingml.chart+xml"/>
  <Override PartName="/ppt/charts/chart3457.xml" ContentType="application/vnd.openxmlformats-officedocument.drawingml.chart+xml"/>
  <Override PartName="/ppt/charts/chart3458.xml" ContentType="application/vnd.openxmlformats-officedocument.drawingml.chart+xml"/>
  <Override PartName="/ppt/charts/chart3459.xml" ContentType="application/vnd.openxmlformats-officedocument.drawingml.chart+xml"/>
  <Override PartName="/ppt/charts/chart346.xml" ContentType="application/vnd.openxmlformats-officedocument.drawingml.chart+xml"/>
  <Override PartName="/ppt/charts/chart3460.xml" ContentType="application/vnd.openxmlformats-officedocument.drawingml.chart+xml"/>
  <Override PartName="/ppt/charts/chart3461.xml" ContentType="application/vnd.openxmlformats-officedocument.drawingml.chart+xml"/>
  <Override PartName="/ppt/charts/chart3462.xml" ContentType="application/vnd.openxmlformats-officedocument.drawingml.chart+xml"/>
  <Override PartName="/ppt/charts/chart3463.xml" ContentType="application/vnd.openxmlformats-officedocument.drawingml.chart+xml"/>
  <Override PartName="/ppt/charts/chart3464.xml" ContentType="application/vnd.openxmlformats-officedocument.drawingml.chart+xml"/>
  <Override PartName="/ppt/charts/chart3465.xml" ContentType="application/vnd.openxmlformats-officedocument.drawingml.chart+xml"/>
  <Override PartName="/ppt/charts/chart3466.xml" ContentType="application/vnd.openxmlformats-officedocument.drawingml.chart+xml"/>
  <Override PartName="/ppt/charts/chart3467.xml" ContentType="application/vnd.openxmlformats-officedocument.drawingml.chart+xml"/>
  <Override PartName="/ppt/charts/chart3468.xml" ContentType="application/vnd.openxmlformats-officedocument.drawingml.chart+xml"/>
  <Override PartName="/ppt/charts/chart3469.xml" ContentType="application/vnd.openxmlformats-officedocument.drawingml.chart+xml"/>
  <Override PartName="/ppt/charts/chart347.xml" ContentType="application/vnd.openxmlformats-officedocument.drawingml.chart+xml"/>
  <Override PartName="/ppt/charts/chart3470.xml" ContentType="application/vnd.openxmlformats-officedocument.drawingml.chart+xml"/>
  <Override PartName="/ppt/charts/chart3471.xml" ContentType="application/vnd.openxmlformats-officedocument.drawingml.chart+xml"/>
  <Override PartName="/ppt/charts/chart3472.xml" ContentType="application/vnd.openxmlformats-officedocument.drawingml.chart+xml"/>
  <Override PartName="/ppt/charts/chart3473.xml" ContentType="application/vnd.openxmlformats-officedocument.drawingml.chart+xml"/>
  <Override PartName="/ppt/charts/chart3474.xml" ContentType="application/vnd.openxmlformats-officedocument.drawingml.chart+xml"/>
  <Override PartName="/ppt/charts/chart3475.xml" ContentType="application/vnd.openxmlformats-officedocument.drawingml.chart+xml"/>
  <Override PartName="/ppt/charts/chart3476.xml" ContentType="application/vnd.openxmlformats-officedocument.drawingml.chart+xml"/>
  <Override PartName="/ppt/charts/chart3477.xml" ContentType="application/vnd.openxmlformats-officedocument.drawingml.chart+xml"/>
  <Override PartName="/ppt/charts/chart3478.xml" ContentType="application/vnd.openxmlformats-officedocument.drawingml.chart+xml"/>
  <Override PartName="/ppt/charts/chart3479.xml" ContentType="application/vnd.openxmlformats-officedocument.drawingml.chart+xml"/>
  <Override PartName="/ppt/charts/chart348.xml" ContentType="application/vnd.openxmlformats-officedocument.drawingml.chart+xml"/>
  <Override PartName="/ppt/charts/chart3480.xml" ContentType="application/vnd.openxmlformats-officedocument.drawingml.chart+xml"/>
  <Override PartName="/ppt/charts/chart3481.xml" ContentType="application/vnd.openxmlformats-officedocument.drawingml.chart+xml"/>
  <Override PartName="/ppt/charts/chart3482.xml" ContentType="application/vnd.openxmlformats-officedocument.drawingml.chart+xml"/>
  <Override PartName="/ppt/charts/chart3483.xml" ContentType="application/vnd.openxmlformats-officedocument.drawingml.chart+xml"/>
  <Override PartName="/ppt/charts/chart3484.xml" ContentType="application/vnd.openxmlformats-officedocument.drawingml.chart+xml"/>
  <Override PartName="/ppt/charts/chart3485.xml" ContentType="application/vnd.openxmlformats-officedocument.drawingml.chart+xml"/>
  <Override PartName="/ppt/charts/chart3486.xml" ContentType="application/vnd.openxmlformats-officedocument.drawingml.chart+xml"/>
  <Override PartName="/ppt/charts/chart3487.xml" ContentType="application/vnd.openxmlformats-officedocument.drawingml.chart+xml"/>
  <Override PartName="/ppt/charts/chart3488.xml" ContentType="application/vnd.openxmlformats-officedocument.drawingml.chart+xml"/>
  <Override PartName="/ppt/charts/chart3489.xml" ContentType="application/vnd.openxmlformats-officedocument.drawingml.chart+xml"/>
  <Override PartName="/ppt/charts/chart349.xml" ContentType="application/vnd.openxmlformats-officedocument.drawingml.chart+xml"/>
  <Override PartName="/ppt/charts/chart3490.xml" ContentType="application/vnd.openxmlformats-officedocument.drawingml.chart+xml"/>
  <Override PartName="/ppt/charts/chart3491.xml" ContentType="application/vnd.openxmlformats-officedocument.drawingml.chart+xml"/>
  <Override PartName="/ppt/charts/chart3492.xml" ContentType="application/vnd.openxmlformats-officedocument.drawingml.chart+xml"/>
  <Override PartName="/ppt/charts/chart3493.xml" ContentType="application/vnd.openxmlformats-officedocument.drawingml.chart+xml"/>
  <Override PartName="/ppt/charts/chart3494.xml" ContentType="application/vnd.openxmlformats-officedocument.drawingml.chart+xml"/>
  <Override PartName="/ppt/charts/chart3495.xml" ContentType="application/vnd.openxmlformats-officedocument.drawingml.chart+xml"/>
  <Override PartName="/ppt/charts/chart3496.xml" ContentType="application/vnd.openxmlformats-officedocument.drawingml.chart+xml"/>
  <Override PartName="/ppt/charts/chart3497.xml" ContentType="application/vnd.openxmlformats-officedocument.drawingml.chart+xml"/>
  <Override PartName="/ppt/charts/chart3498.xml" ContentType="application/vnd.openxmlformats-officedocument.drawingml.chart+xml"/>
  <Override PartName="/ppt/charts/chart349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00.xml" ContentType="application/vnd.openxmlformats-officedocument.drawingml.chart+xml"/>
  <Override PartName="/ppt/charts/chart3501.xml" ContentType="application/vnd.openxmlformats-officedocument.drawingml.chart+xml"/>
  <Override PartName="/ppt/charts/chart3502.xml" ContentType="application/vnd.openxmlformats-officedocument.drawingml.chart+xml"/>
  <Override PartName="/ppt/charts/chart3503.xml" ContentType="application/vnd.openxmlformats-officedocument.drawingml.chart+xml"/>
  <Override PartName="/ppt/charts/chart3504.xml" ContentType="application/vnd.openxmlformats-officedocument.drawingml.chart+xml"/>
  <Override PartName="/ppt/charts/chart3505.xml" ContentType="application/vnd.openxmlformats-officedocument.drawingml.chart+xml"/>
  <Override PartName="/ppt/charts/chart3506.xml" ContentType="application/vnd.openxmlformats-officedocument.drawingml.chart+xml"/>
  <Override PartName="/ppt/charts/chart3507.xml" ContentType="application/vnd.openxmlformats-officedocument.drawingml.chart+xml"/>
  <Override PartName="/ppt/charts/chart3508.xml" ContentType="application/vnd.openxmlformats-officedocument.drawingml.chart+xml"/>
  <Override PartName="/ppt/charts/chart3509.xml" ContentType="application/vnd.openxmlformats-officedocument.drawingml.chart+xml"/>
  <Override PartName="/ppt/charts/chart351.xml" ContentType="application/vnd.openxmlformats-officedocument.drawingml.chart+xml"/>
  <Override PartName="/ppt/charts/chart3510.xml" ContentType="application/vnd.openxmlformats-officedocument.drawingml.chart+xml"/>
  <Override PartName="/ppt/charts/chart3511.xml" ContentType="application/vnd.openxmlformats-officedocument.drawingml.chart+xml"/>
  <Override PartName="/ppt/charts/chart3512.xml" ContentType="application/vnd.openxmlformats-officedocument.drawingml.chart+xml"/>
  <Override PartName="/ppt/charts/chart3513.xml" ContentType="application/vnd.openxmlformats-officedocument.drawingml.chart+xml"/>
  <Override PartName="/ppt/charts/chart3514.xml" ContentType="application/vnd.openxmlformats-officedocument.drawingml.chart+xml"/>
  <Override PartName="/ppt/charts/chart3515.xml" ContentType="application/vnd.openxmlformats-officedocument.drawingml.chart+xml"/>
  <Override PartName="/ppt/charts/chart3516.xml" ContentType="application/vnd.openxmlformats-officedocument.drawingml.chart+xml"/>
  <Override PartName="/ppt/charts/chart3517.xml" ContentType="application/vnd.openxmlformats-officedocument.drawingml.chart+xml"/>
  <Override PartName="/ppt/charts/chart3518.xml" ContentType="application/vnd.openxmlformats-officedocument.drawingml.chart+xml"/>
  <Override PartName="/ppt/charts/chart3519.xml" ContentType="application/vnd.openxmlformats-officedocument.drawingml.chart+xml"/>
  <Override PartName="/ppt/charts/chart352.xml" ContentType="application/vnd.openxmlformats-officedocument.drawingml.chart+xml"/>
  <Override PartName="/ppt/charts/chart3520.xml" ContentType="application/vnd.openxmlformats-officedocument.drawingml.chart+xml"/>
  <Override PartName="/ppt/charts/chart3521.xml" ContentType="application/vnd.openxmlformats-officedocument.drawingml.chart+xml"/>
  <Override PartName="/ppt/charts/chart3522.xml" ContentType="application/vnd.openxmlformats-officedocument.drawingml.chart+xml"/>
  <Override PartName="/ppt/charts/chart3523.xml" ContentType="application/vnd.openxmlformats-officedocument.drawingml.chart+xml"/>
  <Override PartName="/ppt/charts/chart3524.xml" ContentType="application/vnd.openxmlformats-officedocument.drawingml.chart+xml"/>
  <Override PartName="/ppt/charts/chart3525.xml" ContentType="application/vnd.openxmlformats-officedocument.drawingml.chart+xml"/>
  <Override PartName="/ppt/charts/chart3526.xml" ContentType="application/vnd.openxmlformats-officedocument.drawingml.chart+xml"/>
  <Override PartName="/ppt/charts/chart3527.xml" ContentType="application/vnd.openxmlformats-officedocument.drawingml.chart+xml"/>
  <Override PartName="/ppt/charts/chart3528.xml" ContentType="application/vnd.openxmlformats-officedocument.drawingml.chart+xml"/>
  <Override PartName="/ppt/charts/chart3529.xml" ContentType="application/vnd.openxmlformats-officedocument.drawingml.chart+xml"/>
  <Override PartName="/ppt/charts/chart353.xml" ContentType="application/vnd.openxmlformats-officedocument.drawingml.chart+xml"/>
  <Override PartName="/ppt/charts/chart3530.xml" ContentType="application/vnd.openxmlformats-officedocument.drawingml.chart+xml"/>
  <Override PartName="/ppt/charts/chart3531.xml" ContentType="application/vnd.openxmlformats-officedocument.drawingml.chart+xml"/>
  <Override PartName="/ppt/charts/chart3532.xml" ContentType="application/vnd.openxmlformats-officedocument.drawingml.chart+xml"/>
  <Override PartName="/ppt/charts/chart3533.xml" ContentType="application/vnd.openxmlformats-officedocument.drawingml.chart+xml"/>
  <Override PartName="/ppt/charts/chart3534.xml" ContentType="application/vnd.openxmlformats-officedocument.drawingml.chart+xml"/>
  <Override PartName="/ppt/charts/chart3535.xml" ContentType="application/vnd.openxmlformats-officedocument.drawingml.chart+xml"/>
  <Override PartName="/ppt/charts/chart3536.xml" ContentType="application/vnd.openxmlformats-officedocument.drawingml.chart+xml"/>
  <Override PartName="/ppt/charts/chart3537.xml" ContentType="application/vnd.openxmlformats-officedocument.drawingml.chart+xml"/>
  <Override PartName="/ppt/charts/chart3538.xml" ContentType="application/vnd.openxmlformats-officedocument.drawingml.chart+xml"/>
  <Override PartName="/ppt/charts/chart3539.xml" ContentType="application/vnd.openxmlformats-officedocument.drawingml.chart+xml"/>
  <Override PartName="/ppt/charts/chart354.xml" ContentType="application/vnd.openxmlformats-officedocument.drawingml.chart+xml"/>
  <Override PartName="/ppt/charts/chart3540.xml" ContentType="application/vnd.openxmlformats-officedocument.drawingml.chart+xml"/>
  <Override PartName="/ppt/charts/chart3541.xml" ContentType="application/vnd.openxmlformats-officedocument.drawingml.chart+xml"/>
  <Override PartName="/ppt/charts/chart3542.xml" ContentType="application/vnd.openxmlformats-officedocument.drawingml.chart+xml"/>
  <Override PartName="/ppt/charts/chart3543.xml" ContentType="application/vnd.openxmlformats-officedocument.drawingml.chart+xml"/>
  <Override PartName="/ppt/charts/chart3544.xml" ContentType="application/vnd.openxmlformats-officedocument.drawingml.chart+xml"/>
  <Override PartName="/ppt/charts/chart3545.xml" ContentType="application/vnd.openxmlformats-officedocument.drawingml.chart+xml"/>
  <Override PartName="/ppt/charts/chart3546.xml" ContentType="application/vnd.openxmlformats-officedocument.drawingml.chart+xml"/>
  <Override PartName="/ppt/charts/chart3547.xml" ContentType="application/vnd.openxmlformats-officedocument.drawingml.chart+xml"/>
  <Override PartName="/ppt/charts/chart3548.xml" ContentType="application/vnd.openxmlformats-officedocument.drawingml.chart+xml"/>
  <Override PartName="/ppt/charts/chart3549.xml" ContentType="application/vnd.openxmlformats-officedocument.drawingml.chart+xml"/>
  <Override PartName="/ppt/charts/chart355.xml" ContentType="application/vnd.openxmlformats-officedocument.drawingml.chart+xml"/>
  <Override PartName="/ppt/charts/chart3550.xml" ContentType="application/vnd.openxmlformats-officedocument.drawingml.chart+xml"/>
  <Override PartName="/ppt/charts/chart3551.xml" ContentType="application/vnd.openxmlformats-officedocument.drawingml.chart+xml"/>
  <Override PartName="/ppt/charts/chart3552.xml" ContentType="application/vnd.openxmlformats-officedocument.drawingml.chart+xml"/>
  <Override PartName="/ppt/charts/chart3553.xml" ContentType="application/vnd.openxmlformats-officedocument.drawingml.chart+xml"/>
  <Override PartName="/ppt/charts/chart3554.xml" ContentType="application/vnd.openxmlformats-officedocument.drawingml.chart+xml"/>
  <Override PartName="/ppt/charts/chart3555.xml" ContentType="application/vnd.openxmlformats-officedocument.drawingml.chart+xml"/>
  <Override PartName="/ppt/charts/chart3556.xml" ContentType="application/vnd.openxmlformats-officedocument.drawingml.chart+xml"/>
  <Override PartName="/ppt/charts/chart3557.xml" ContentType="application/vnd.openxmlformats-officedocument.drawingml.chart+xml"/>
  <Override PartName="/ppt/charts/chart3558.xml" ContentType="application/vnd.openxmlformats-officedocument.drawingml.chart+xml"/>
  <Override PartName="/ppt/charts/chart3559.xml" ContentType="application/vnd.openxmlformats-officedocument.drawingml.chart+xml"/>
  <Override PartName="/ppt/charts/chart356.xml" ContentType="application/vnd.openxmlformats-officedocument.drawingml.chart+xml"/>
  <Override PartName="/ppt/charts/chart3560.xml" ContentType="application/vnd.openxmlformats-officedocument.drawingml.chart+xml"/>
  <Override PartName="/ppt/charts/chart3561.xml" ContentType="application/vnd.openxmlformats-officedocument.drawingml.chart+xml"/>
  <Override PartName="/ppt/charts/chart3562.xml" ContentType="application/vnd.openxmlformats-officedocument.drawingml.chart+xml"/>
  <Override PartName="/ppt/charts/chart3563.xml" ContentType="application/vnd.openxmlformats-officedocument.drawingml.chart+xml"/>
  <Override PartName="/ppt/charts/chart3564.xml" ContentType="application/vnd.openxmlformats-officedocument.drawingml.chart+xml"/>
  <Override PartName="/ppt/charts/chart3565.xml" ContentType="application/vnd.openxmlformats-officedocument.drawingml.chart+xml"/>
  <Override PartName="/ppt/charts/chart3566.xml" ContentType="application/vnd.openxmlformats-officedocument.drawingml.chart+xml"/>
  <Override PartName="/ppt/charts/chart3567.xml" ContentType="application/vnd.openxmlformats-officedocument.drawingml.chart+xml"/>
  <Override PartName="/ppt/charts/chart3568.xml" ContentType="application/vnd.openxmlformats-officedocument.drawingml.chart+xml"/>
  <Override PartName="/ppt/charts/chart3569.xml" ContentType="application/vnd.openxmlformats-officedocument.drawingml.chart+xml"/>
  <Override PartName="/ppt/charts/chart357.xml" ContentType="application/vnd.openxmlformats-officedocument.drawingml.chart+xml"/>
  <Override PartName="/ppt/charts/chart3570.xml" ContentType="application/vnd.openxmlformats-officedocument.drawingml.chart+xml"/>
  <Override PartName="/ppt/charts/chart3571.xml" ContentType="application/vnd.openxmlformats-officedocument.drawingml.chart+xml"/>
  <Override PartName="/ppt/charts/chart3572.xml" ContentType="application/vnd.openxmlformats-officedocument.drawingml.chart+xml"/>
  <Override PartName="/ppt/charts/chart3573.xml" ContentType="application/vnd.openxmlformats-officedocument.drawingml.chart+xml"/>
  <Override PartName="/ppt/charts/chart3574.xml" ContentType="application/vnd.openxmlformats-officedocument.drawingml.chart+xml"/>
  <Override PartName="/ppt/charts/chart3575.xml" ContentType="application/vnd.openxmlformats-officedocument.drawingml.chart+xml"/>
  <Override PartName="/ppt/charts/chart3576.xml" ContentType="application/vnd.openxmlformats-officedocument.drawingml.chart+xml"/>
  <Override PartName="/ppt/charts/chart3577.xml" ContentType="application/vnd.openxmlformats-officedocument.drawingml.chart+xml"/>
  <Override PartName="/ppt/charts/chart3578.xml" ContentType="application/vnd.openxmlformats-officedocument.drawingml.chart+xml"/>
  <Override PartName="/ppt/charts/chart3579.xml" ContentType="application/vnd.openxmlformats-officedocument.drawingml.chart+xml"/>
  <Override PartName="/ppt/charts/chart358.xml" ContentType="application/vnd.openxmlformats-officedocument.drawingml.chart+xml"/>
  <Override PartName="/ppt/charts/chart3580.xml" ContentType="application/vnd.openxmlformats-officedocument.drawingml.chart+xml"/>
  <Override PartName="/ppt/charts/chart3581.xml" ContentType="application/vnd.openxmlformats-officedocument.drawingml.chart+xml"/>
  <Override PartName="/ppt/charts/chart3582.xml" ContentType="application/vnd.openxmlformats-officedocument.drawingml.chart+xml"/>
  <Override PartName="/ppt/charts/chart3583.xml" ContentType="application/vnd.openxmlformats-officedocument.drawingml.chart+xml"/>
  <Override PartName="/ppt/charts/chart3584.xml" ContentType="application/vnd.openxmlformats-officedocument.drawingml.chart+xml"/>
  <Override PartName="/ppt/charts/chart3585.xml" ContentType="application/vnd.openxmlformats-officedocument.drawingml.chart+xml"/>
  <Override PartName="/ppt/charts/chart3586.xml" ContentType="application/vnd.openxmlformats-officedocument.drawingml.chart+xml"/>
  <Override PartName="/ppt/charts/chart3587.xml" ContentType="application/vnd.openxmlformats-officedocument.drawingml.chart+xml"/>
  <Override PartName="/ppt/charts/chart3588.xml" ContentType="application/vnd.openxmlformats-officedocument.drawingml.chart+xml"/>
  <Override PartName="/ppt/charts/chart3589.xml" ContentType="application/vnd.openxmlformats-officedocument.drawingml.chart+xml"/>
  <Override PartName="/ppt/charts/chart359.xml" ContentType="application/vnd.openxmlformats-officedocument.drawingml.chart+xml"/>
  <Override PartName="/ppt/charts/chart3590.xml" ContentType="application/vnd.openxmlformats-officedocument.drawingml.chart+xml"/>
  <Override PartName="/ppt/charts/chart3591.xml" ContentType="application/vnd.openxmlformats-officedocument.drawingml.chart+xml"/>
  <Override PartName="/ppt/charts/chart3592.xml" ContentType="application/vnd.openxmlformats-officedocument.drawingml.chart+xml"/>
  <Override PartName="/ppt/charts/chart3593.xml" ContentType="application/vnd.openxmlformats-officedocument.drawingml.chart+xml"/>
  <Override PartName="/ppt/charts/chart3594.xml" ContentType="application/vnd.openxmlformats-officedocument.drawingml.chart+xml"/>
  <Override PartName="/ppt/charts/chart3595.xml" ContentType="application/vnd.openxmlformats-officedocument.drawingml.chart+xml"/>
  <Override PartName="/ppt/charts/chart3596.xml" ContentType="application/vnd.openxmlformats-officedocument.drawingml.chart+xml"/>
  <Override PartName="/ppt/charts/chart3597.xml" ContentType="application/vnd.openxmlformats-officedocument.drawingml.chart+xml"/>
  <Override PartName="/ppt/charts/chart3598.xml" ContentType="application/vnd.openxmlformats-officedocument.drawingml.chart+xml"/>
  <Override PartName="/ppt/charts/chart359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00.xml" ContentType="application/vnd.openxmlformats-officedocument.drawingml.chart+xml"/>
  <Override PartName="/ppt/charts/chart3601.xml" ContentType="application/vnd.openxmlformats-officedocument.drawingml.chart+xml"/>
  <Override PartName="/ppt/charts/chart3602.xml" ContentType="application/vnd.openxmlformats-officedocument.drawingml.chart+xml"/>
  <Override PartName="/ppt/charts/chart3603.xml" ContentType="application/vnd.openxmlformats-officedocument.drawingml.chart+xml"/>
  <Override PartName="/ppt/charts/chart3604.xml" ContentType="application/vnd.openxmlformats-officedocument.drawingml.chart+xml"/>
  <Override PartName="/ppt/charts/chart3605.xml" ContentType="application/vnd.openxmlformats-officedocument.drawingml.chart+xml"/>
  <Override PartName="/ppt/charts/chart3606.xml" ContentType="application/vnd.openxmlformats-officedocument.drawingml.chart+xml"/>
  <Override PartName="/ppt/charts/chart3607.xml" ContentType="application/vnd.openxmlformats-officedocument.drawingml.chart+xml"/>
  <Override PartName="/ppt/charts/chart3608.xml" ContentType="application/vnd.openxmlformats-officedocument.drawingml.chart+xml"/>
  <Override PartName="/ppt/charts/chart3609.xml" ContentType="application/vnd.openxmlformats-officedocument.drawingml.chart+xml"/>
  <Override PartName="/ppt/charts/chart361.xml" ContentType="application/vnd.openxmlformats-officedocument.drawingml.chart+xml"/>
  <Override PartName="/ppt/charts/chart3610.xml" ContentType="application/vnd.openxmlformats-officedocument.drawingml.chart+xml"/>
  <Override PartName="/ppt/charts/chart3611.xml" ContentType="application/vnd.openxmlformats-officedocument.drawingml.chart+xml"/>
  <Override PartName="/ppt/charts/chart3612.xml" ContentType="application/vnd.openxmlformats-officedocument.drawingml.chart+xml"/>
  <Override PartName="/ppt/charts/chart3613.xml" ContentType="application/vnd.openxmlformats-officedocument.drawingml.chart+xml"/>
  <Override PartName="/ppt/charts/chart3614.xml" ContentType="application/vnd.openxmlformats-officedocument.drawingml.chart+xml"/>
  <Override PartName="/ppt/charts/chart3615.xml" ContentType="application/vnd.openxmlformats-officedocument.drawingml.chart+xml"/>
  <Override PartName="/ppt/charts/chart3616.xml" ContentType="application/vnd.openxmlformats-officedocument.drawingml.chart+xml"/>
  <Override PartName="/ppt/charts/chart3617.xml" ContentType="application/vnd.openxmlformats-officedocument.drawingml.chart+xml"/>
  <Override PartName="/ppt/charts/chart3618.xml" ContentType="application/vnd.openxmlformats-officedocument.drawingml.chart+xml"/>
  <Override PartName="/ppt/charts/chart3619.xml" ContentType="application/vnd.openxmlformats-officedocument.drawingml.chart+xml"/>
  <Override PartName="/ppt/charts/chart362.xml" ContentType="application/vnd.openxmlformats-officedocument.drawingml.chart+xml"/>
  <Override PartName="/ppt/charts/chart3620.xml" ContentType="application/vnd.openxmlformats-officedocument.drawingml.chart+xml"/>
  <Override PartName="/ppt/charts/chart3621.xml" ContentType="application/vnd.openxmlformats-officedocument.drawingml.chart+xml"/>
  <Override PartName="/ppt/charts/chart3622.xml" ContentType="application/vnd.openxmlformats-officedocument.drawingml.chart+xml"/>
  <Override PartName="/ppt/charts/chart3623.xml" ContentType="application/vnd.openxmlformats-officedocument.drawingml.chart+xml"/>
  <Override PartName="/ppt/charts/chart3624.xml" ContentType="application/vnd.openxmlformats-officedocument.drawingml.chart+xml"/>
  <Override PartName="/ppt/charts/chart3625.xml" ContentType="application/vnd.openxmlformats-officedocument.drawingml.chart+xml"/>
  <Override PartName="/ppt/charts/chart3626.xml" ContentType="application/vnd.openxmlformats-officedocument.drawingml.chart+xml"/>
  <Override PartName="/ppt/charts/chart3627.xml" ContentType="application/vnd.openxmlformats-officedocument.drawingml.chart+xml"/>
  <Override PartName="/ppt/charts/chart3628.xml" ContentType="application/vnd.openxmlformats-officedocument.drawingml.chart+xml"/>
  <Override PartName="/ppt/charts/chart3629.xml" ContentType="application/vnd.openxmlformats-officedocument.drawingml.chart+xml"/>
  <Override PartName="/ppt/charts/chart363.xml" ContentType="application/vnd.openxmlformats-officedocument.drawingml.chart+xml"/>
  <Override PartName="/ppt/charts/chart3630.xml" ContentType="application/vnd.openxmlformats-officedocument.drawingml.chart+xml"/>
  <Override PartName="/ppt/charts/chart3631.xml" ContentType="application/vnd.openxmlformats-officedocument.drawingml.chart+xml"/>
  <Override PartName="/ppt/charts/chart3632.xml" ContentType="application/vnd.openxmlformats-officedocument.drawingml.chart+xml"/>
  <Override PartName="/ppt/charts/chart3633.xml" ContentType="application/vnd.openxmlformats-officedocument.drawingml.chart+xml"/>
  <Override PartName="/ppt/charts/chart3634.xml" ContentType="application/vnd.openxmlformats-officedocument.drawingml.chart+xml"/>
  <Override PartName="/ppt/charts/chart3635.xml" ContentType="application/vnd.openxmlformats-officedocument.drawingml.chart+xml"/>
  <Override PartName="/ppt/charts/chart3636.xml" ContentType="application/vnd.openxmlformats-officedocument.drawingml.chart+xml"/>
  <Override PartName="/ppt/charts/chart3637.xml" ContentType="application/vnd.openxmlformats-officedocument.drawingml.chart+xml"/>
  <Override PartName="/ppt/charts/chart3638.xml" ContentType="application/vnd.openxmlformats-officedocument.drawingml.chart+xml"/>
  <Override PartName="/ppt/charts/chart3639.xml" ContentType="application/vnd.openxmlformats-officedocument.drawingml.chart+xml"/>
  <Override PartName="/ppt/charts/chart364.xml" ContentType="application/vnd.openxmlformats-officedocument.drawingml.chart+xml"/>
  <Override PartName="/ppt/charts/chart3640.xml" ContentType="application/vnd.openxmlformats-officedocument.drawingml.chart+xml"/>
  <Override PartName="/ppt/charts/chart3641.xml" ContentType="application/vnd.openxmlformats-officedocument.drawingml.chart+xml"/>
  <Override PartName="/ppt/charts/chart3642.xml" ContentType="application/vnd.openxmlformats-officedocument.drawingml.chart+xml"/>
  <Override PartName="/ppt/charts/chart3643.xml" ContentType="application/vnd.openxmlformats-officedocument.drawingml.chart+xml"/>
  <Override PartName="/ppt/charts/chart3644.xml" ContentType="application/vnd.openxmlformats-officedocument.drawingml.chart+xml"/>
  <Override PartName="/ppt/charts/chart3645.xml" ContentType="application/vnd.openxmlformats-officedocument.drawingml.chart+xml"/>
  <Override PartName="/ppt/charts/chart3646.xml" ContentType="application/vnd.openxmlformats-officedocument.drawingml.chart+xml"/>
  <Override PartName="/ppt/charts/chart3647.xml" ContentType="application/vnd.openxmlformats-officedocument.drawingml.chart+xml"/>
  <Override PartName="/ppt/charts/chart3648.xml" ContentType="application/vnd.openxmlformats-officedocument.drawingml.chart+xml"/>
  <Override PartName="/ppt/charts/chart3649.xml" ContentType="application/vnd.openxmlformats-officedocument.drawingml.chart+xml"/>
  <Override PartName="/ppt/charts/chart365.xml" ContentType="application/vnd.openxmlformats-officedocument.drawingml.chart+xml"/>
  <Override PartName="/ppt/charts/chart3650.xml" ContentType="application/vnd.openxmlformats-officedocument.drawingml.chart+xml"/>
  <Override PartName="/ppt/charts/chart3651.xml" ContentType="application/vnd.openxmlformats-officedocument.drawingml.chart+xml"/>
  <Override PartName="/ppt/charts/chart3652.xml" ContentType="application/vnd.openxmlformats-officedocument.drawingml.chart+xml"/>
  <Override PartName="/ppt/charts/chart3653.xml" ContentType="application/vnd.openxmlformats-officedocument.drawingml.chart+xml"/>
  <Override PartName="/ppt/charts/chart3654.xml" ContentType="application/vnd.openxmlformats-officedocument.drawingml.chart+xml"/>
  <Override PartName="/ppt/charts/chart3655.xml" ContentType="application/vnd.openxmlformats-officedocument.drawingml.chart+xml"/>
  <Override PartName="/ppt/charts/chart3656.xml" ContentType="application/vnd.openxmlformats-officedocument.drawingml.chart+xml"/>
  <Override PartName="/ppt/charts/chart3657.xml" ContentType="application/vnd.openxmlformats-officedocument.drawingml.chart+xml"/>
  <Override PartName="/ppt/charts/chart3658.xml" ContentType="application/vnd.openxmlformats-officedocument.drawingml.chart+xml"/>
  <Override PartName="/ppt/charts/chart3659.xml" ContentType="application/vnd.openxmlformats-officedocument.drawingml.chart+xml"/>
  <Override PartName="/ppt/charts/chart366.xml" ContentType="application/vnd.openxmlformats-officedocument.drawingml.chart+xml"/>
  <Override PartName="/ppt/charts/chart3660.xml" ContentType="application/vnd.openxmlformats-officedocument.drawingml.chart+xml"/>
  <Override PartName="/ppt/charts/chart3661.xml" ContentType="application/vnd.openxmlformats-officedocument.drawingml.chart+xml"/>
  <Override PartName="/ppt/charts/chart3662.xml" ContentType="application/vnd.openxmlformats-officedocument.drawingml.chart+xml"/>
  <Override PartName="/ppt/charts/chart3663.xml" ContentType="application/vnd.openxmlformats-officedocument.drawingml.chart+xml"/>
  <Override PartName="/ppt/charts/chart3664.xml" ContentType="application/vnd.openxmlformats-officedocument.drawingml.chart+xml"/>
  <Override PartName="/ppt/charts/chart3665.xml" ContentType="application/vnd.openxmlformats-officedocument.drawingml.chart+xml"/>
  <Override PartName="/ppt/charts/chart3666.xml" ContentType="application/vnd.openxmlformats-officedocument.drawingml.chart+xml"/>
  <Override PartName="/ppt/charts/chart3667.xml" ContentType="application/vnd.openxmlformats-officedocument.drawingml.chart+xml"/>
  <Override PartName="/ppt/charts/chart3668.xml" ContentType="application/vnd.openxmlformats-officedocument.drawingml.chart+xml"/>
  <Override PartName="/ppt/charts/chart3669.xml" ContentType="application/vnd.openxmlformats-officedocument.drawingml.chart+xml"/>
  <Override PartName="/ppt/charts/chart367.xml" ContentType="application/vnd.openxmlformats-officedocument.drawingml.chart+xml"/>
  <Override PartName="/ppt/charts/chart3670.xml" ContentType="application/vnd.openxmlformats-officedocument.drawingml.chart+xml"/>
  <Override PartName="/ppt/charts/chart3671.xml" ContentType="application/vnd.openxmlformats-officedocument.drawingml.chart+xml"/>
  <Override PartName="/ppt/charts/chart3672.xml" ContentType="application/vnd.openxmlformats-officedocument.drawingml.chart+xml"/>
  <Override PartName="/ppt/charts/chart3673.xml" ContentType="application/vnd.openxmlformats-officedocument.drawingml.chart+xml"/>
  <Override PartName="/ppt/charts/chart3674.xml" ContentType="application/vnd.openxmlformats-officedocument.drawingml.chart+xml"/>
  <Override PartName="/ppt/charts/chart3675.xml" ContentType="application/vnd.openxmlformats-officedocument.drawingml.chart+xml"/>
  <Override PartName="/ppt/charts/chart3676.xml" ContentType="application/vnd.openxmlformats-officedocument.drawingml.chart+xml"/>
  <Override PartName="/ppt/charts/chart3677.xml" ContentType="application/vnd.openxmlformats-officedocument.drawingml.chart+xml"/>
  <Override PartName="/ppt/charts/chart3678.xml" ContentType="application/vnd.openxmlformats-officedocument.drawingml.chart+xml"/>
  <Override PartName="/ppt/charts/chart3679.xml" ContentType="application/vnd.openxmlformats-officedocument.drawingml.chart+xml"/>
  <Override PartName="/ppt/charts/chart368.xml" ContentType="application/vnd.openxmlformats-officedocument.drawingml.chart+xml"/>
  <Override PartName="/ppt/charts/chart3680.xml" ContentType="application/vnd.openxmlformats-officedocument.drawingml.chart+xml"/>
  <Override PartName="/ppt/charts/chart3681.xml" ContentType="application/vnd.openxmlformats-officedocument.drawingml.chart+xml"/>
  <Override PartName="/ppt/charts/chart3682.xml" ContentType="application/vnd.openxmlformats-officedocument.drawingml.chart+xml"/>
  <Override PartName="/ppt/charts/chart3683.xml" ContentType="application/vnd.openxmlformats-officedocument.drawingml.chart+xml"/>
  <Override PartName="/ppt/charts/chart3684.xml" ContentType="application/vnd.openxmlformats-officedocument.drawingml.chart+xml"/>
  <Override PartName="/ppt/charts/chart3685.xml" ContentType="application/vnd.openxmlformats-officedocument.drawingml.chart+xml"/>
  <Override PartName="/ppt/charts/chart3686.xml" ContentType="application/vnd.openxmlformats-officedocument.drawingml.chart+xml"/>
  <Override PartName="/ppt/charts/chart3687.xml" ContentType="application/vnd.openxmlformats-officedocument.drawingml.chart+xml"/>
  <Override PartName="/ppt/charts/chart3688.xml" ContentType="application/vnd.openxmlformats-officedocument.drawingml.chart+xml"/>
  <Override PartName="/ppt/charts/chart3689.xml" ContentType="application/vnd.openxmlformats-officedocument.drawingml.chart+xml"/>
  <Override PartName="/ppt/charts/chart369.xml" ContentType="application/vnd.openxmlformats-officedocument.drawingml.chart+xml"/>
  <Override PartName="/ppt/charts/chart3690.xml" ContentType="application/vnd.openxmlformats-officedocument.drawingml.chart+xml"/>
  <Override PartName="/ppt/charts/chart3691.xml" ContentType="application/vnd.openxmlformats-officedocument.drawingml.chart+xml"/>
  <Override PartName="/ppt/charts/chart3692.xml" ContentType="application/vnd.openxmlformats-officedocument.drawingml.chart+xml"/>
  <Override PartName="/ppt/charts/chart3693.xml" ContentType="application/vnd.openxmlformats-officedocument.drawingml.chart+xml"/>
  <Override PartName="/ppt/charts/chart3694.xml" ContentType="application/vnd.openxmlformats-officedocument.drawingml.chart+xml"/>
  <Override PartName="/ppt/charts/chart3695.xml" ContentType="application/vnd.openxmlformats-officedocument.drawingml.chart+xml"/>
  <Override PartName="/ppt/charts/chart3696.xml" ContentType="application/vnd.openxmlformats-officedocument.drawingml.chart+xml"/>
  <Override PartName="/ppt/charts/chart3697.xml" ContentType="application/vnd.openxmlformats-officedocument.drawingml.chart+xml"/>
  <Override PartName="/ppt/charts/chart3698.xml" ContentType="application/vnd.openxmlformats-officedocument.drawingml.chart+xml"/>
  <Override PartName="/ppt/charts/chart369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00.xml" ContentType="application/vnd.openxmlformats-officedocument.drawingml.chart+xml"/>
  <Override PartName="/ppt/charts/chart3701.xml" ContentType="application/vnd.openxmlformats-officedocument.drawingml.chart+xml"/>
  <Override PartName="/ppt/charts/chart3702.xml" ContentType="application/vnd.openxmlformats-officedocument.drawingml.chart+xml"/>
  <Override PartName="/ppt/charts/chart3703.xml" ContentType="application/vnd.openxmlformats-officedocument.drawingml.chart+xml"/>
  <Override PartName="/ppt/charts/chart3704.xml" ContentType="application/vnd.openxmlformats-officedocument.drawingml.chart+xml"/>
  <Override PartName="/ppt/charts/chart3705.xml" ContentType="application/vnd.openxmlformats-officedocument.drawingml.chart+xml"/>
  <Override PartName="/ppt/charts/chart3706.xml" ContentType="application/vnd.openxmlformats-officedocument.drawingml.chart+xml"/>
  <Override PartName="/ppt/charts/chart3707.xml" ContentType="application/vnd.openxmlformats-officedocument.drawingml.chart+xml"/>
  <Override PartName="/ppt/charts/chart3708.xml" ContentType="application/vnd.openxmlformats-officedocument.drawingml.chart+xml"/>
  <Override PartName="/ppt/charts/chart3709.xml" ContentType="application/vnd.openxmlformats-officedocument.drawingml.chart+xml"/>
  <Override PartName="/ppt/charts/chart371.xml" ContentType="application/vnd.openxmlformats-officedocument.drawingml.chart+xml"/>
  <Override PartName="/ppt/charts/chart3710.xml" ContentType="application/vnd.openxmlformats-officedocument.drawingml.chart+xml"/>
  <Override PartName="/ppt/charts/chart3711.xml" ContentType="application/vnd.openxmlformats-officedocument.drawingml.chart+xml"/>
  <Override PartName="/ppt/charts/chart3712.xml" ContentType="application/vnd.openxmlformats-officedocument.drawingml.chart+xml"/>
  <Override PartName="/ppt/charts/chart3713.xml" ContentType="application/vnd.openxmlformats-officedocument.drawingml.chart+xml"/>
  <Override PartName="/ppt/charts/chart3714.xml" ContentType="application/vnd.openxmlformats-officedocument.drawingml.chart+xml"/>
  <Override PartName="/ppt/charts/chart3715.xml" ContentType="application/vnd.openxmlformats-officedocument.drawingml.chart+xml"/>
  <Override PartName="/ppt/charts/chart3716.xml" ContentType="application/vnd.openxmlformats-officedocument.drawingml.chart+xml"/>
  <Override PartName="/ppt/charts/chart3717.xml" ContentType="application/vnd.openxmlformats-officedocument.drawingml.chart+xml"/>
  <Override PartName="/ppt/charts/chart3718.xml" ContentType="application/vnd.openxmlformats-officedocument.drawingml.chart+xml"/>
  <Override PartName="/ppt/charts/chart3719.xml" ContentType="application/vnd.openxmlformats-officedocument.drawingml.chart+xml"/>
  <Override PartName="/ppt/charts/chart372.xml" ContentType="application/vnd.openxmlformats-officedocument.drawingml.chart+xml"/>
  <Override PartName="/ppt/charts/chart3720.xml" ContentType="application/vnd.openxmlformats-officedocument.drawingml.chart+xml"/>
  <Override PartName="/ppt/charts/chart3721.xml" ContentType="application/vnd.openxmlformats-officedocument.drawingml.chart+xml"/>
  <Override PartName="/ppt/charts/chart3722.xml" ContentType="application/vnd.openxmlformats-officedocument.drawingml.chart+xml"/>
  <Override PartName="/ppt/charts/chart3723.xml" ContentType="application/vnd.openxmlformats-officedocument.drawingml.chart+xml"/>
  <Override PartName="/ppt/charts/chart3724.xml" ContentType="application/vnd.openxmlformats-officedocument.drawingml.chart+xml"/>
  <Override PartName="/ppt/charts/chart3725.xml" ContentType="application/vnd.openxmlformats-officedocument.drawingml.chart+xml"/>
  <Override PartName="/ppt/charts/chart3726.xml" ContentType="application/vnd.openxmlformats-officedocument.drawingml.chart+xml"/>
  <Override PartName="/ppt/charts/chart3727.xml" ContentType="application/vnd.openxmlformats-officedocument.drawingml.chart+xml"/>
  <Override PartName="/ppt/charts/chart3728.xml" ContentType="application/vnd.openxmlformats-officedocument.drawingml.chart+xml"/>
  <Override PartName="/ppt/charts/chart3729.xml" ContentType="application/vnd.openxmlformats-officedocument.drawingml.chart+xml"/>
  <Override PartName="/ppt/charts/chart373.xml" ContentType="application/vnd.openxmlformats-officedocument.drawingml.chart+xml"/>
  <Override PartName="/ppt/charts/chart3730.xml" ContentType="application/vnd.openxmlformats-officedocument.drawingml.chart+xml"/>
  <Override PartName="/ppt/charts/chart3731.xml" ContentType="application/vnd.openxmlformats-officedocument.drawingml.chart+xml"/>
  <Override PartName="/ppt/charts/chart3732.xml" ContentType="application/vnd.openxmlformats-officedocument.drawingml.chart+xml"/>
  <Override PartName="/ppt/charts/chart3733.xml" ContentType="application/vnd.openxmlformats-officedocument.drawingml.chart+xml"/>
  <Override PartName="/ppt/charts/chart3734.xml" ContentType="application/vnd.openxmlformats-officedocument.drawingml.chart+xml"/>
  <Override PartName="/ppt/charts/chart3735.xml" ContentType="application/vnd.openxmlformats-officedocument.drawingml.chart+xml"/>
  <Override PartName="/ppt/charts/chart3736.xml" ContentType="application/vnd.openxmlformats-officedocument.drawingml.chart+xml"/>
  <Override PartName="/ppt/charts/chart3737.xml" ContentType="application/vnd.openxmlformats-officedocument.drawingml.chart+xml"/>
  <Override PartName="/ppt/charts/chart3738.xml" ContentType="application/vnd.openxmlformats-officedocument.drawingml.chart+xml"/>
  <Override PartName="/ppt/charts/chart3739.xml" ContentType="application/vnd.openxmlformats-officedocument.drawingml.chart+xml"/>
  <Override PartName="/ppt/charts/chart374.xml" ContentType="application/vnd.openxmlformats-officedocument.drawingml.chart+xml"/>
  <Override PartName="/ppt/charts/chart3740.xml" ContentType="application/vnd.openxmlformats-officedocument.drawingml.chart+xml"/>
  <Override PartName="/ppt/charts/chart3741.xml" ContentType="application/vnd.openxmlformats-officedocument.drawingml.chart+xml"/>
  <Override PartName="/ppt/charts/chart3742.xml" ContentType="application/vnd.openxmlformats-officedocument.drawingml.chart+xml"/>
  <Override PartName="/ppt/charts/chart3743.xml" ContentType="application/vnd.openxmlformats-officedocument.drawingml.chart+xml"/>
  <Override PartName="/ppt/charts/chart3744.xml" ContentType="application/vnd.openxmlformats-officedocument.drawingml.chart+xml"/>
  <Override PartName="/ppt/charts/chart3745.xml" ContentType="application/vnd.openxmlformats-officedocument.drawingml.chart+xml"/>
  <Override PartName="/ppt/charts/chart3746.xml" ContentType="application/vnd.openxmlformats-officedocument.drawingml.chart+xml"/>
  <Override PartName="/ppt/charts/chart3747.xml" ContentType="application/vnd.openxmlformats-officedocument.drawingml.chart+xml"/>
  <Override PartName="/ppt/charts/chart3748.xml" ContentType="application/vnd.openxmlformats-officedocument.drawingml.chart+xml"/>
  <Override PartName="/ppt/charts/chart3749.xml" ContentType="application/vnd.openxmlformats-officedocument.drawingml.chart+xml"/>
  <Override PartName="/ppt/charts/chart375.xml" ContentType="application/vnd.openxmlformats-officedocument.drawingml.chart+xml"/>
  <Override PartName="/ppt/charts/chart3750.xml" ContentType="application/vnd.openxmlformats-officedocument.drawingml.chart+xml"/>
  <Override PartName="/ppt/charts/chart3751.xml" ContentType="application/vnd.openxmlformats-officedocument.drawingml.chart+xml"/>
  <Override PartName="/ppt/charts/chart3752.xml" ContentType="application/vnd.openxmlformats-officedocument.drawingml.chart+xml"/>
  <Override PartName="/ppt/charts/chart3753.xml" ContentType="application/vnd.openxmlformats-officedocument.drawingml.chart+xml"/>
  <Override PartName="/ppt/charts/chart3754.xml" ContentType="application/vnd.openxmlformats-officedocument.drawingml.chart+xml"/>
  <Override PartName="/ppt/charts/chart3755.xml" ContentType="application/vnd.openxmlformats-officedocument.drawingml.chart+xml"/>
  <Override PartName="/ppt/charts/chart3756.xml" ContentType="application/vnd.openxmlformats-officedocument.drawingml.chart+xml"/>
  <Override PartName="/ppt/charts/chart3757.xml" ContentType="application/vnd.openxmlformats-officedocument.drawingml.chart+xml"/>
  <Override PartName="/ppt/charts/chart3758.xml" ContentType="application/vnd.openxmlformats-officedocument.drawingml.chart+xml"/>
  <Override PartName="/ppt/charts/chart3759.xml" ContentType="application/vnd.openxmlformats-officedocument.drawingml.chart+xml"/>
  <Override PartName="/ppt/charts/chart376.xml" ContentType="application/vnd.openxmlformats-officedocument.drawingml.chart+xml"/>
  <Override PartName="/ppt/charts/chart3760.xml" ContentType="application/vnd.openxmlformats-officedocument.drawingml.chart+xml"/>
  <Override PartName="/ppt/charts/chart3761.xml" ContentType="application/vnd.openxmlformats-officedocument.drawingml.chart+xml"/>
  <Override PartName="/ppt/charts/chart3762.xml" ContentType="application/vnd.openxmlformats-officedocument.drawingml.chart+xml"/>
  <Override PartName="/ppt/charts/chart3763.xml" ContentType="application/vnd.openxmlformats-officedocument.drawingml.chart+xml"/>
  <Override PartName="/ppt/charts/chart3764.xml" ContentType="application/vnd.openxmlformats-officedocument.drawingml.chart+xml"/>
  <Override PartName="/ppt/charts/chart3765.xml" ContentType="application/vnd.openxmlformats-officedocument.drawingml.chart+xml"/>
  <Override PartName="/ppt/charts/chart3766.xml" ContentType="application/vnd.openxmlformats-officedocument.drawingml.chart+xml"/>
  <Override PartName="/ppt/charts/chart3767.xml" ContentType="application/vnd.openxmlformats-officedocument.drawingml.chart+xml"/>
  <Override PartName="/ppt/charts/chart3768.xml" ContentType="application/vnd.openxmlformats-officedocument.drawingml.chart+xml"/>
  <Override PartName="/ppt/charts/chart3769.xml" ContentType="application/vnd.openxmlformats-officedocument.drawingml.chart+xml"/>
  <Override PartName="/ppt/charts/chart377.xml" ContentType="application/vnd.openxmlformats-officedocument.drawingml.chart+xml"/>
  <Override PartName="/ppt/charts/chart3770.xml" ContentType="application/vnd.openxmlformats-officedocument.drawingml.chart+xml"/>
  <Override PartName="/ppt/charts/chart3771.xml" ContentType="application/vnd.openxmlformats-officedocument.drawingml.chart+xml"/>
  <Override PartName="/ppt/charts/chart3772.xml" ContentType="application/vnd.openxmlformats-officedocument.drawingml.chart+xml"/>
  <Override PartName="/ppt/charts/chart3773.xml" ContentType="application/vnd.openxmlformats-officedocument.drawingml.chart+xml"/>
  <Override PartName="/ppt/charts/chart3774.xml" ContentType="application/vnd.openxmlformats-officedocument.drawingml.chart+xml"/>
  <Override PartName="/ppt/charts/chart3775.xml" ContentType="application/vnd.openxmlformats-officedocument.drawingml.chart+xml"/>
  <Override PartName="/ppt/charts/chart3776.xml" ContentType="application/vnd.openxmlformats-officedocument.drawingml.chart+xml"/>
  <Override PartName="/ppt/charts/chart3777.xml" ContentType="application/vnd.openxmlformats-officedocument.drawingml.chart+xml"/>
  <Override PartName="/ppt/charts/chart3778.xml" ContentType="application/vnd.openxmlformats-officedocument.drawingml.chart+xml"/>
  <Override PartName="/ppt/charts/chart3779.xml" ContentType="application/vnd.openxmlformats-officedocument.drawingml.chart+xml"/>
  <Override PartName="/ppt/charts/chart378.xml" ContentType="application/vnd.openxmlformats-officedocument.drawingml.chart+xml"/>
  <Override PartName="/ppt/charts/chart3780.xml" ContentType="application/vnd.openxmlformats-officedocument.drawingml.chart+xml"/>
  <Override PartName="/ppt/charts/chart3781.xml" ContentType="application/vnd.openxmlformats-officedocument.drawingml.chart+xml"/>
  <Override PartName="/ppt/charts/chart3782.xml" ContentType="application/vnd.openxmlformats-officedocument.drawingml.chart+xml"/>
  <Override PartName="/ppt/charts/chart3783.xml" ContentType="application/vnd.openxmlformats-officedocument.drawingml.chart+xml"/>
  <Override PartName="/ppt/charts/chart3784.xml" ContentType="application/vnd.openxmlformats-officedocument.drawingml.chart+xml"/>
  <Override PartName="/ppt/charts/chart3785.xml" ContentType="application/vnd.openxmlformats-officedocument.drawingml.chart+xml"/>
  <Override PartName="/ppt/charts/chart3786.xml" ContentType="application/vnd.openxmlformats-officedocument.drawingml.chart+xml"/>
  <Override PartName="/ppt/charts/chart3787.xml" ContentType="application/vnd.openxmlformats-officedocument.drawingml.chart+xml"/>
  <Override PartName="/ppt/charts/chart3788.xml" ContentType="application/vnd.openxmlformats-officedocument.drawingml.chart+xml"/>
  <Override PartName="/ppt/charts/chart3789.xml" ContentType="application/vnd.openxmlformats-officedocument.drawingml.chart+xml"/>
  <Override PartName="/ppt/charts/chart379.xml" ContentType="application/vnd.openxmlformats-officedocument.drawingml.chart+xml"/>
  <Override PartName="/ppt/charts/chart3790.xml" ContentType="application/vnd.openxmlformats-officedocument.drawingml.chart+xml"/>
  <Override PartName="/ppt/charts/chart3791.xml" ContentType="application/vnd.openxmlformats-officedocument.drawingml.chart+xml"/>
  <Override PartName="/ppt/charts/chart3792.xml" ContentType="application/vnd.openxmlformats-officedocument.drawingml.chart+xml"/>
  <Override PartName="/ppt/charts/chart3793.xml" ContentType="application/vnd.openxmlformats-officedocument.drawingml.chart+xml"/>
  <Override PartName="/ppt/charts/chart3794.xml" ContentType="application/vnd.openxmlformats-officedocument.drawingml.chart+xml"/>
  <Override PartName="/ppt/charts/chart3795.xml" ContentType="application/vnd.openxmlformats-officedocument.drawingml.chart+xml"/>
  <Override PartName="/ppt/charts/chart3796.xml" ContentType="application/vnd.openxmlformats-officedocument.drawingml.chart+xml"/>
  <Override PartName="/ppt/charts/chart3797.xml" ContentType="application/vnd.openxmlformats-officedocument.drawingml.chart+xml"/>
  <Override PartName="/ppt/charts/chart3798.xml" ContentType="application/vnd.openxmlformats-officedocument.drawingml.chart+xml"/>
  <Override PartName="/ppt/charts/chart379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00.xml" ContentType="application/vnd.openxmlformats-officedocument.drawingml.chart+xml"/>
  <Override PartName="/ppt/charts/chart3801.xml" ContentType="application/vnd.openxmlformats-officedocument.drawingml.chart+xml"/>
  <Override PartName="/ppt/charts/chart3802.xml" ContentType="application/vnd.openxmlformats-officedocument.drawingml.chart+xml"/>
  <Override PartName="/ppt/charts/chart3803.xml" ContentType="application/vnd.openxmlformats-officedocument.drawingml.chart+xml"/>
  <Override PartName="/ppt/charts/chart3804.xml" ContentType="application/vnd.openxmlformats-officedocument.drawingml.chart+xml"/>
  <Override PartName="/ppt/charts/chart3805.xml" ContentType="application/vnd.openxmlformats-officedocument.drawingml.chart+xml"/>
  <Override PartName="/ppt/charts/chart3806.xml" ContentType="application/vnd.openxmlformats-officedocument.drawingml.chart+xml"/>
  <Override PartName="/ppt/charts/chart3807.xml" ContentType="application/vnd.openxmlformats-officedocument.drawingml.chart+xml"/>
  <Override PartName="/ppt/charts/chart3808.xml" ContentType="application/vnd.openxmlformats-officedocument.drawingml.chart+xml"/>
  <Override PartName="/ppt/charts/chart3809.xml" ContentType="application/vnd.openxmlformats-officedocument.drawingml.chart+xml"/>
  <Override PartName="/ppt/charts/chart381.xml" ContentType="application/vnd.openxmlformats-officedocument.drawingml.chart+xml"/>
  <Override PartName="/ppt/charts/chart3810.xml" ContentType="application/vnd.openxmlformats-officedocument.drawingml.chart+xml"/>
  <Override PartName="/ppt/charts/chart3811.xml" ContentType="application/vnd.openxmlformats-officedocument.drawingml.chart+xml"/>
  <Override PartName="/ppt/charts/chart3812.xml" ContentType="application/vnd.openxmlformats-officedocument.drawingml.chart+xml"/>
  <Override PartName="/ppt/charts/chart3813.xml" ContentType="application/vnd.openxmlformats-officedocument.drawingml.chart+xml"/>
  <Override PartName="/ppt/charts/chart3814.xml" ContentType="application/vnd.openxmlformats-officedocument.drawingml.chart+xml"/>
  <Override PartName="/ppt/charts/chart3815.xml" ContentType="application/vnd.openxmlformats-officedocument.drawingml.chart+xml"/>
  <Override PartName="/ppt/charts/chart3816.xml" ContentType="application/vnd.openxmlformats-officedocument.drawingml.chart+xml"/>
  <Override PartName="/ppt/charts/chart3817.xml" ContentType="application/vnd.openxmlformats-officedocument.drawingml.chart+xml"/>
  <Override PartName="/ppt/charts/chart3818.xml" ContentType="application/vnd.openxmlformats-officedocument.drawingml.chart+xml"/>
  <Override PartName="/ppt/charts/chart3819.xml" ContentType="application/vnd.openxmlformats-officedocument.drawingml.chart+xml"/>
  <Override PartName="/ppt/charts/chart382.xml" ContentType="application/vnd.openxmlformats-officedocument.drawingml.chart+xml"/>
  <Override PartName="/ppt/charts/chart3820.xml" ContentType="application/vnd.openxmlformats-officedocument.drawingml.chart+xml"/>
  <Override PartName="/ppt/charts/chart3821.xml" ContentType="application/vnd.openxmlformats-officedocument.drawingml.chart+xml"/>
  <Override PartName="/ppt/charts/chart3822.xml" ContentType="application/vnd.openxmlformats-officedocument.drawingml.chart+xml"/>
  <Override PartName="/ppt/charts/chart3823.xml" ContentType="application/vnd.openxmlformats-officedocument.drawingml.chart+xml"/>
  <Override PartName="/ppt/charts/chart3824.xml" ContentType="application/vnd.openxmlformats-officedocument.drawingml.chart+xml"/>
  <Override PartName="/ppt/charts/chart3825.xml" ContentType="application/vnd.openxmlformats-officedocument.drawingml.chart+xml"/>
  <Override PartName="/ppt/charts/chart3826.xml" ContentType="application/vnd.openxmlformats-officedocument.drawingml.chart+xml"/>
  <Override PartName="/ppt/charts/chart3827.xml" ContentType="application/vnd.openxmlformats-officedocument.drawingml.chart+xml"/>
  <Override PartName="/ppt/charts/chart3828.xml" ContentType="application/vnd.openxmlformats-officedocument.drawingml.chart+xml"/>
  <Override PartName="/ppt/charts/chart3829.xml" ContentType="application/vnd.openxmlformats-officedocument.drawingml.chart+xml"/>
  <Override PartName="/ppt/charts/chart383.xml" ContentType="application/vnd.openxmlformats-officedocument.drawingml.chart+xml"/>
  <Override PartName="/ppt/charts/chart3830.xml" ContentType="application/vnd.openxmlformats-officedocument.drawingml.chart+xml"/>
  <Override PartName="/ppt/charts/chart3831.xml" ContentType="application/vnd.openxmlformats-officedocument.drawingml.chart+xml"/>
  <Override PartName="/ppt/charts/chart3832.xml" ContentType="application/vnd.openxmlformats-officedocument.drawingml.chart+xml"/>
  <Override PartName="/ppt/charts/chart3833.xml" ContentType="application/vnd.openxmlformats-officedocument.drawingml.chart+xml"/>
  <Override PartName="/ppt/charts/chart3834.xml" ContentType="application/vnd.openxmlformats-officedocument.drawingml.chart+xml"/>
  <Override PartName="/ppt/charts/chart3835.xml" ContentType="application/vnd.openxmlformats-officedocument.drawingml.chart+xml"/>
  <Override PartName="/ppt/charts/chart3836.xml" ContentType="application/vnd.openxmlformats-officedocument.drawingml.chart+xml"/>
  <Override PartName="/ppt/charts/chart3837.xml" ContentType="application/vnd.openxmlformats-officedocument.drawingml.chart+xml"/>
  <Override PartName="/ppt/charts/chart3838.xml" ContentType="application/vnd.openxmlformats-officedocument.drawingml.chart+xml"/>
  <Override PartName="/ppt/charts/chart3839.xml" ContentType="application/vnd.openxmlformats-officedocument.drawingml.chart+xml"/>
  <Override PartName="/ppt/charts/chart384.xml" ContentType="application/vnd.openxmlformats-officedocument.drawingml.chart+xml"/>
  <Override PartName="/ppt/charts/chart3840.xml" ContentType="application/vnd.openxmlformats-officedocument.drawingml.chart+xml"/>
  <Override PartName="/ppt/charts/chart3841.xml" ContentType="application/vnd.openxmlformats-officedocument.drawingml.chart+xml"/>
  <Override PartName="/ppt/charts/chart3842.xml" ContentType="application/vnd.openxmlformats-officedocument.drawingml.chart+xml"/>
  <Override PartName="/ppt/charts/chart3843.xml" ContentType="application/vnd.openxmlformats-officedocument.drawingml.chart+xml"/>
  <Override PartName="/ppt/charts/chart3844.xml" ContentType="application/vnd.openxmlformats-officedocument.drawingml.chart+xml"/>
  <Override PartName="/ppt/charts/chart3845.xml" ContentType="application/vnd.openxmlformats-officedocument.drawingml.chart+xml"/>
  <Override PartName="/ppt/charts/chart3846.xml" ContentType="application/vnd.openxmlformats-officedocument.drawingml.chart+xml"/>
  <Override PartName="/ppt/charts/chart3847.xml" ContentType="application/vnd.openxmlformats-officedocument.drawingml.chart+xml"/>
  <Override PartName="/ppt/charts/chart3848.xml" ContentType="application/vnd.openxmlformats-officedocument.drawingml.chart+xml"/>
  <Override PartName="/ppt/charts/chart3849.xml" ContentType="application/vnd.openxmlformats-officedocument.drawingml.chart+xml"/>
  <Override PartName="/ppt/charts/chart385.xml" ContentType="application/vnd.openxmlformats-officedocument.drawingml.chart+xml"/>
  <Override PartName="/ppt/charts/chart3850.xml" ContentType="application/vnd.openxmlformats-officedocument.drawingml.chart+xml"/>
  <Override PartName="/ppt/charts/chart3851.xml" ContentType="application/vnd.openxmlformats-officedocument.drawingml.chart+xml"/>
  <Override PartName="/ppt/charts/chart3852.xml" ContentType="application/vnd.openxmlformats-officedocument.drawingml.chart+xml"/>
  <Override PartName="/ppt/charts/chart3853.xml" ContentType="application/vnd.openxmlformats-officedocument.drawingml.chart+xml"/>
  <Override PartName="/ppt/charts/chart3854.xml" ContentType="application/vnd.openxmlformats-officedocument.drawingml.chart+xml"/>
  <Override PartName="/ppt/charts/chart3855.xml" ContentType="application/vnd.openxmlformats-officedocument.drawingml.chart+xml"/>
  <Override PartName="/ppt/charts/chart3856.xml" ContentType="application/vnd.openxmlformats-officedocument.drawingml.chart+xml"/>
  <Override PartName="/ppt/charts/chart3857.xml" ContentType="application/vnd.openxmlformats-officedocument.drawingml.chart+xml"/>
  <Override PartName="/ppt/charts/chart3858.xml" ContentType="application/vnd.openxmlformats-officedocument.drawingml.chart+xml"/>
  <Override PartName="/ppt/charts/chart3859.xml" ContentType="application/vnd.openxmlformats-officedocument.drawingml.chart+xml"/>
  <Override PartName="/ppt/charts/chart386.xml" ContentType="application/vnd.openxmlformats-officedocument.drawingml.chart+xml"/>
  <Override PartName="/ppt/charts/chart3860.xml" ContentType="application/vnd.openxmlformats-officedocument.drawingml.chart+xml"/>
  <Override PartName="/ppt/charts/chart3861.xml" ContentType="application/vnd.openxmlformats-officedocument.drawingml.chart+xml"/>
  <Override PartName="/ppt/charts/chart3862.xml" ContentType="application/vnd.openxmlformats-officedocument.drawingml.chart+xml"/>
  <Override PartName="/ppt/charts/chart3863.xml" ContentType="application/vnd.openxmlformats-officedocument.drawingml.chart+xml"/>
  <Override PartName="/ppt/charts/chart3864.xml" ContentType="application/vnd.openxmlformats-officedocument.drawingml.chart+xml"/>
  <Override PartName="/ppt/charts/chart3865.xml" ContentType="application/vnd.openxmlformats-officedocument.drawingml.chart+xml"/>
  <Override PartName="/ppt/charts/chart3866.xml" ContentType="application/vnd.openxmlformats-officedocument.drawingml.chart+xml"/>
  <Override PartName="/ppt/charts/chart3867.xml" ContentType="application/vnd.openxmlformats-officedocument.drawingml.chart+xml"/>
  <Override PartName="/ppt/charts/chart3868.xml" ContentType="application/vnd.openxmlformats-officedocument.drawingml.chart+xml"/>
  <Override PartName="/ppt/charts/chart3869.xml" ContentType="application/vnd.openxmlformats-officedocument.drawingml.chart+xml"/>
  <Override PartName="/ppt/charts/chart387.xml" ContentType="application/vnd.openxmlformats-officedocument.drawingml.chart+xml"/>
  <Override PartName="/ppt/charts/chart3870.xml" ContentType="application/vnd.openxmlformats-officedocument.drawingml.chart+xml"/>
  <Override PartName="/ppt/charts/chart3871.xml" ContentType="application/vnd.openxmlformats-officedocument.drawingml.chart+xml"/>
  <Override PartName="/ppt/charts/chart3872.xml" ContentType="application/vnd.openxmlformats-officedocument.drawingml.chart+xml"/>
  <Override PartName="/ppt/charts/chart3873.xml" ContentType="application/vnd.openxmlformats-officedocument.drawingml.chart+xml"/>
  <Override PartName="/ppt/charts/chart3874.xml" ContentType="application/vnd.openxmlformats-officedocument.drawingml.chart+xml"/>
  <Override PartName="/ppt/charts/chart3875.xml" ContentType="application/vnd.openxmlformats-officedocument.drawingml.chart+xml"/>
  <Override PartName="/ppt/charts/chart3876.xml" ContentType="application/vnd.openxmlformats-officedocument.drawingml.chart+xml"/>
  <Override PartName="/ppt/charts/chart3877.xml" ContentType="application/vnd.openxmlformats-officedocument.drawingml.chart+xml"/>
  <Override PartName="/ppt/charts/chart3878.xml" ContentType="application/vnd.openxmlformats-officedocument.drawingml.chart+xml"/>
  <Override PartName="/ppt/charts/chart3879.xml" ContentType="application/vnd.openxmlformats-officedocument.drawingml.chart+xml"/>
  <Override PartName="/ppt/charts/chart388.xml" ContentType="application/vnd.openxmlformats-officedocument.drawingml.chart+xml"/>
  <Override PartName="/ppt/charts/chart3880.xml" ContentType="application/vnd.openxmlformats-officedocument.drawingml.chart+xml"/>
  <Override PartName="/ppt/charts/chart3881.xml" ContentType="application/vnd.openxmlformats-officedocument.drawingml.chart+xml"/>
  <Override PartName="/ppt/charts/chart3882.xml" ContentType="application/vnd.openxmlformats-officedocument.drawingml.chart+xml"/>
  <Override PartName="/ppt/charts/chart3883.xml" ContentType="application/vnd.openxmlformats-officedocument.drawingml.chart+xml"/>
  <Override PartName="/ppt/charts/chart3884.xml" ContentType="application/vnd.openxmlformats-officedocument.drawingml.chart+xml"/>
  <Override PartName="/ppt/charts/chart3885.xml" ContentType="application/vnd.openxmlformats-officedocument.drawingml.chart+xml"/>
  <Override PartName="/ppt/charts/chart3886.xml" ContentType="application/vnd.openxmlformats-officedocument.drawingml.chart+xml"/>
  <Override PartName="/ppt/charts/chart3887.xml" ContentType="application/vnd.openxmlformats-officedocument.drawingml.chart+xml"/>
  <Override PartName="/ppt/charts/chart3888.xml" ContentType="application/vnd.openxmlformats-officedocument.drawingml.chart+xml"/>
  <Override PartName="/ppt/charts/chart3889.xml" ContentType="application/vnd.openxmlformats-officedocument.drawingml.chart+xml"/>
  <Override PartName="/ppt/charts/chart389.xml" ContentType="application/vnd.openxmlformats-officedocument.drawingml.chart+xml"/>
  <Override PartName="/ppt/charts/chart3890.xml" ContentType="application/vnd.openxmlformats-officedocument.drawingml.chart+xml"/>
  <Override PartName="/ppt/charts/chart3891.xml" ContentType="application/vnd.openxmlformats-officedocument.drawingml.chart+xml"/>
  <Override PartName="/ppt/charts/chart3892.xml" ContentType="application/vnd.openxmlformats-officedocument.drawingml.chart+xml"/>
  <Override PartName="/ppt/charts/chart3893.xml" ContentType="application/vnd.openxmlformats-officedocument.drawingml.chart+xml"/>
  <Override PartName="/ppt/charts/chart3894.xml" ContentType="application/vnd.openxmlformats-officedocument.drawingml.chart+xml"/>
  <Override PartName="/ppt/charts/chart3895.xml" ContentType="application/vnd.openxmlformats-officedocument.drawingml.chart+xml"/>
  <Override PartName="/ppt/charts/chart3896.xml" ContentType="application/vnd.openxmlformats-officedocument.drawingml.chart+xml"/>
  <Override PartName="/ppt/charts/chart3897.xml" ContentType="application/vnd.openxmlformats-officedocument.drawingml.chart+xml"/>
  <Override PartName="/ppt/charts/chart3898.xml" ContentType="application/vnd.openxmlformats-officedocument.drawingml.chart+xml"/>
  <Override PartName="/ppt/charts/chart389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00.xml" ContentType="application/vnd.openxmlformats-officedocument.drawingml.chart+xml"/>
  <Override PartName="/ppt/charts/chart3901.xml" ContentType="application/vnd.openxmlformats-officedocument.drawingml.chart+xml"/>
  <Override PartName="/ppt/charts/chart3902.xml" ContentType="application/vnd.openxmlformats-officedocument.drawingml.chart+xml"/>
  <Override PartName="/ppt/charts/chart3903.xml" ContentType="application/vnd.openxmlformats-officedocument.drawingml.chart+xml"/>
  <Override PartName="/ppt/charts/chart3904.xml" ContentType="application/vnd.openxmlformats-officedocument.drawingml.chart+xml"/>
  <Override PartName="/ppt/charts/chart3905.xml" ContentType="application/vnd.openxmlformats-officedocument.drawingml.chart+xml"/>
  <Override PartName="/ppt/charts/chart3906.xml" ContentType="application/vnd.openxmlformats-officedocument.drawingml.chart+xml"/>
  <Override PartName="/ppt/charts/chart3907.xml" ContentType="application/vnd.openxmlformats-officedocument.drawingml.chart+xml"/>
  <Override PartName="/ppt/charts/chart3908.xml" ContentType="application/vnd.openxmlformats-officedocument.drawingml.chart+xml"/>
  <Override PartName="/ppt/charts/chart3909.xml" ContentType="application/vnd.openxmlformats-officedocument.drawingml.chart+xml"/>
  <Override PartName="/ppt/charts/chart391.xml" ContentType="application/vnd.openxmlformats-officedocument.drawingml.chart+xml"/>
  <Override PartName="/ppt/charts/chart3910.xml" ContentType="application/vnd.openxmlformats-officedocument.drawingml.chart+xml"/>
  <Override PartName="/ppt/charts/chart3911.xml" ContentType="application/vnd.openxmlformats-officedocument.drawingml.chart+xml"/>
  <Override PartName="/ppt/charts/chart3912.xml" ContentType="application/vnd.openxmlformats-officedocument.drawingml.chart+xml"/>
  <Override PartName="/ppt/charts/chart3913.xml" ContentType="application/vnd.openxmlformats-officedocument.drawingml.chart+xml"/>
  <Override PartName="/ppt/charts/chart3914.xml" ContentType="application/vnd.openxmlformats-officedocument.drawingml.chart+xml"/>
  <Override PartName="/ppt/charts/chart3915.xml" ContentType="application/vnd.openxmlformats-officedocument.drawingml.chart+xml"/>
  <Override PartName="/ppt/charts/chart3916.xml" ContentType="application/vnd.openxmlformats-officedocument.drawingml.chart+xml"/>
  <Override PartName="/ppt/charts/chart3917.xml" ContentType="application/vnd.openxmlformats-officedocument.drawingml.chart+xml"/>
  <Override PartName="/ppt/charts/chart3918.xml" ContentType="application/vnd.openxmlformats-officedocument.drawingml.chart+xml"/>
  <Override PartName="/ppt/charts/chart3919.xml" ContentType="application/vnd.openxmlformats-officedocument.drawingml.chart+xml"/>
  <Override PartName="/ppt/charts/chart392.xml" ContentType="application/vnd.openxmlformats-officedocument.drawingml.chart+xml"/>
  <Override PartName="/ppt/charts/chart3920.xml" ContentType="application/vnd.openxmlformats-officedocument.drawingml.chart+xml"/>
  <Override PartName="/ppt/charts/chart3921.xml" ContentType="application/vnd.openxmlformats-officedocument.drawingml.chart+xml"/>
  <Override PartName="/ppt/charts/chart3922.xml" ContentType="application/vnd.openxmlformats-officedocument.drawingml.chart+xml"/>
  <Override PartName="/ppt/charts/chart3923.xml" ContentType="application/vnd.openxmlformats-officedocument.drawingml.chart+xml"/>
  <Override PartName="/ppt/charts/chart3924.xml" ContentType="application/vnd.openxmlformats-officedocument.drawingml.chart+xml"/>
  <Override PartName="/ppt/charts/chart3925.xml" ContentType="application/vnd.openxmlformats-officedocument.drawingml.chart+xml"/>
  <Override PartName="/ppt/charts/chart3926.xml" ContentType="application/vnd.openxmlformats-officedocument.drawingml.chart+xml"/>
  <Override PartName="/ppt/charts/chart3927.xml" ContentType="application/vnd.openxmlformats-officedocument.drawingml.chart+xml"/>
  <Override PartName="/ppt/charts/chart3928.xml" ContentType="application/vnd.openxmlformats-officedocument.drawingml.chart+xml"/>
  <Override PartName="/ppt/charts/chart3929.xml" ContentType="application/vnd.openxmlformats-officedocument.drawingml.chart+xml"/>
  <Override PartName="/ppt/charts/chart393.xml" ContentType="application/vnd.openxmlformats-officedocument.drawingml.chart+xml"/>
  <Override PartName="/ppt/charts/chart3930.xml" ContentType="application/vnd.openxmlformats-officedocument.drawingml.chart+xml"/>
  <Override PartName="/ppt/charts/chart3931.xml" ContentType="application/vnd.openxmlformats-officedocument.drawingml.chart+xml"/>
  <Override PartName="/ppt/charts/chart3932.xml" ContentType="application/vnd.openxmlformats-officedocument.drawingml.chart+xml"/>
  <Override PartName="/ppt/charts/chart3933.xml" ContentType="application/vnd.openxmlformats-officedocument.drawingml.chart+xml"/>
  <Override PartName="/ppt/charts/chart3934.xml" ContentType="application/vnd.openxmlformats-officedocument.drawingml.chart+xml"/>
  <Override PartName="/ppt/charts/chart3935.xml" ContentType="application/vnd.openxmlformats-officedocument.drawingml.chart+xml"/>
  <Override PartName="/ppt/charts/chart3936.xml" ContentType="application/vnd.openxmlformats-officedocument.drawingml.chart+xml"/>
  <Override PartName="/ppt/charts/chart3937.xml" ContentType="application/vnd.openxmlformats-officedocument.drawingml.chart+xml"/>
  <Override PartName="/ppt/charts/chart3938.xml" ContentType="application/vnd.openxmlformats-officedocument.drawingml.chart+xml"/>
  <Override PartName="/ppt/charts/chart3939.xml" ContentType="application/vnd.openxmlformats-officedocument.drawingml.chart+xml"/>
  <Override PartName="/ppt/charts/chart394.xml" ContentType="application/vnd.openxmlformats-officedocument.drawingml.chart+xml"/>
  <Override PartName="/ppt/charts/chart3940.xml" ContentType="application/vnd.openxmlformats-officedocument.drawingml.chart+xml"/>
  <Override PartName="/ppt/charts/chart3941.xml" ContentType="application/vnd.openxmlformats-officedocument.drawingml.chart+xml"/>
  <Override PartName="/ppt/charts/chart3942.xml" ContentType="application/vnd.openxmlformats-officedocument.drawingml.chart+xml"/>
  <Override PartName="/ppt/charts/chart3943.xml" ContentType="application/vnd.openxmlformats-officedocument.drawingml.chart+xml"/>
  <Override PartName="/ppt/charts/chart3944.xml" ContentType="application/vnd.openxmlformats-officedocument.drawingml.chart+xml"/>
  <Override PartName="/ppt/charts/chart3945.xml" ContentType="application/vnd.openxmlformats-officedocument.drawingml.chart+xml"/>
  <Override PartName="/ppt/charts/chart3946.xml" ContentType="application/vnd.openxmlformats-officedocument.drawingml.chart+xml"/>
  <Override PartName="/ppt/charts/chart3947.xml" ContentType="application/vnd.openxmlformats-officedocument.drawingml.chart+xml"/>
  <Override PartName="/ppt/charts/chart3948.xml" ContentType="application/vnd.openxmlformats-officedocument.drawingml.chart+xml"/>
  <Override PartName="/ppt/charts/chart3949.xml" ContentType="application/vnd.openxmlformats-officedocument.drawingml.chart+xml"/>
  <Override PartName="/ppt/charts/chart395.xml" ContentType="application/vnd.openxmlformats-officedocument.drawingml.chart+xml"/>
  <Override PartName="/ppt/charts/chart3950.xml" ContentType="application/vnd.openxmlformats-officedocument.drawingml.chart+xml"/>
  <Override PartName="/ppt/charts/chart3951.xml" ContentType="application/vnd.openxmlformats-officedocument.drawingml.chart+xml"/>
  <Override PartName="/ppt/charts/chart3952.xml" ContentType="application/vnd.openxmlformats-officedocument.drawingml.chart+xml"/>
  <Override PartName="/ppt/charts/chart3953.xml" ContentType="application/vnd.openxmlformats-officedocument.drawingml.chart+xml"/>
  <Override PartName="/ppt/charts/chart3954.xml" ContentType="application/vnd.openxmlformats-officedocument.drawingml.chart+xml"/>
  <Override PartName="/ppt/charts/chart3955.xml" ContentType="application/vnd.openxmlformats-officedocument.drawingml.chart+xml"/>
  <Override PartName="/ppt/charts/chart3956.xml" ContentType="application/vnd.openxmlformats-officedocument.drawingml.chart+xml"/>
  <Override PartName="/ppt/charts/chart3957.xml" ContentType="application/vnd.openxmlformats-officedocument.drawingml.chart+xml"/>
  <Override PartName="/ppt/charts/chart3958.xml" ContentType="application/vnd.openxmlformats-officedocument.drawingml.chart+xml"/>
  <Override PartName="/ppt/charts/chart3959.xml" ContentType="application/vnd.openxmlformats-officedocument.drawingml.chart+xml"/>
  <Override PartName="/ppt/charts/chart396.xml" ContentType="application/vnd.openxmlformats-officedocument.drawingml.chart+xml"/>
  <Override PartName="/ppt/charts/chart3960.xml" ContentType="application/vnd.openxmlformats-officedocument.drawingml.chart+xml"/>
  <Override PartName="/ppt/charts/chart3961.xml" ContentType="application/vnd.openxmlformats-officedocument.drawingml.chart+xml"/>
  <Override PartName="/ppt/charts/chart3962.xml" ContentType="application/vnd.openxmlformats-officedocument.drawingml.chart+xml"/>
  <Override PartName="/ppt/charts/chart3963.xml" ContentType="application/vnd.openxmlformats-officedocument.drawingml.chart+xml"/>
  <Override PartName="/ppt/charts/chart3964.xml" ContentType="application/vnd.openxmlformats-officedocument.drawingml.chart+xml"/>
  <Override PartName="/ppt/charts/chart3965.xml" ContentType="application/vnd.openxmlformats-officedocument.drawingml.chart+xml"/>
  <Override PartName="/ppt/charts/chart3966.xml" ContentType="application/vnd.openxmlformats-officedocument.drawingml.chart+xml"/>
  <Override PartName="/ppt/charts/chart3967.xml" ContentType="application/vnd.openxmlformats-officedocument.drawingml.chart+xml"/>
  <Override PartName="/ppt/charts/chart3968.xml" ContentType="application/vnd.openxmlformats-officedocument.drawingml.chart+xml"/>
  <Override PartName="/ppt/charts/chart3969.xml" ContentType="application/vnd.openxmlformats-officedocument.drawingml.chart+xml"/>
  <Override PartName="/ppt/charts/chart397.xml" ContentType="application/vnd.openxmlformats-officedocument.drawingml.chart+xml"/>
  <Override PartName="/ppt/charts/chart3970.xml" ContentType="application/vnd.openxmlformats-officedocument.drawingml.chart+xml"/>
  <Override PartName="/ppt/charts/chart3971.xml" ContentType="application/vnd.openxmlformats-officedocument.drawingml.chart+xml"/>
  <Override PartName="/ppt/charts/chart3972.xml" ContentType="application/vnd.openxmlformats-officedocument.drawingml.chart+xml"/>
  <Override PartName="/ppt/charts/chart3973.xml" ContentType="application/vnd.openxmlformats-officedocument.drawingml.chart+xml"/>
  <Override PartName="/ppt/charts/chart3974.xml" ContentType="application/vnd.openxmlformats-officedocument.drawingml.chart+xml"/>
  <Override PartName="/ppt/charts/chart3975.xml" ContentType="application/vnd.openxmlformats-officedocument.drawingml.chart+xml"/>
  <Override PartName="/ppt/charts/chart3976.xml" ContentType="application/vnd.openxmlformats-officedocument.drawingml.chart+xml"/>
  <Override PartName="/ppt/charts/chart3977.xml" ContentType="application/vnd.openxmlformats-officedocument.drawingml.chart+xml"/>
  <Override PartName="/ppt/charts/chart3978.xml" ContentType="application/vnd.openxmlformats-officedocument.drawingml.chart+xml"/>
  <Override PartName="/ppt/charts/chart3979.xml" ContentType="application/vnd.openxmlformats-officedocument.drawingml.chart+xml"/>
  <Override PartName="/ppt/charts/chart398.xml" ContentType="application/vnd.openxmlformats-officedocument.drawingml.chart+xml"/>
  <Override PartName="/ppt/charts/chart3980.xml" ContentType="application/vnd.openxmlformats-officedocument.drawingml.chart+xml"/>
  <Override PartName="/ppt/charts/chart3981.xml" ContentType="application/vnd.openxmlformats-officedocument.drawingml.chart+xml"/>
  <Override PartName="/ppt/charts/chart3982.xml" ContentType="application/vnd.openxmlformats-officedocument.drawingml.chart+xml"/>
  <Override PartName="/ppt/charts/chart3983.xml" ContentType="application/vnd.openxmlformats-officedocument.drawingml.chart+xml"/>
  <Override PartName="/ppt/charts/chart3984.xml" ContentType="application/vnd.openxmlformats-officedocument.drawingml.chart+xml"/>
  <Override PartName="/ppt/charts/chart3985.xml" ContentType="application/vnd.openxmlformats-officedocument.drawingml.chart+xml"/>
  <Override PartName="/ppt/charts/chart3986.xml" ContentType="application/vnd.openxmlformats-officedocument.drawingml.chart+xml"/>
  <Override PartName="/ppt/charts/chart3987.xml" ContentType="application/vnd.openxmlformats-officedocument.drawingml.chart+xml"/>
  <Override PartName="/ppt/charts/chart3988.xml" ContentType="application/vnd.openxmlformats-officedocument.drawingml.chart+xml"/>
  <Override PartName="/ppt/charts/chart3989.xml" ContentType="application/vnd.openxmlformats-officedocument.drawingml.chart+xml"/>
  <Override PartName="/ppt/charts/chart399.xml" ContentType="application/vnd.openxmlformats-officedocument.drawingml.chart+xml"/>
  <Override PartName="/ppt/charts/chart3990.xml" ContentType="application/vnd.openxmlformats-officedocument.drawingml.chart+xml"/>
  <Override PartName="/ppt/charts/chart3991.xml" ContentType="application/vnd.openxmlformats-officedocument.drawingml.chart+xml"/>
  <Override PartName="/ppt/charts/chart3992.xml" ContentType="application/vnd.openxmlformats-officedocument.drawingml.chart+xml"/>
  <Override PartName="/ppt/charts/chart3993.xml" ContentType="application/vnd.openxmlformats-officedocument.drawingml.chart+xml"/>
  <Override PartName="/ppt/charts/chart3994.xml" ContentType="application/vnd.openxmlformats-officedocument.drawingml.chart+xml"/>
  <Override PartName="/ppt/charts/chart3995.xml" ContentType="application/vnd.openxmlformats-officedocument.drawingml.chart+xml"/>
  <Override PartName="/ppt/charts/chart3996.xml" ContentType="application/vnd.openxmlformats-officedocument.drawingml.chart+xml"/>
  <Override PartName="/ppt/charts/chart3997.xml" ContentType="application/vnd.openxmlformats-officedocument.drawingml.chart+xml"/>
  <Override PartName="/ppt/charts/chart3998.xml" ContentType="application/vnd.openxmlformats-officedocument.drawingml.chart+xml"/>
  <Override PartName="/ppt/charts/chart39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00.xml" ContentType="application/vnd.openxmlformats-officedocument.drawingml.chart+xml"/>
  <Override PartName="/ppt/charts/chart4001.xml" ContentType="application/vnd.openxmlformats-officedocument.drawingml.chart+xml"/>
  <Override PartName="/ppt/charts/chart4002.xml" ContentType="application/vnd.openxmlformats-officedocument.drawingml.chart+xml"/>
  <Override PartName="/ppt/charts/chart4003.xml" ContentType="application/vnd.openxmlformats-officedocument.drawingml.chart+xml"/>
  <Override PartName="/ppt/charts/chart4004.xml" ContentType="application/vnd.openxmlformats-officedocument.drawingml.chart+xml"/>
  <Override PartName="/ppt/charts/chart4005.xml" ContentType="application/vnd.openxmlformats-officedocument.drawingml.chart+xml"/>
  <Override PartName="/ppt/charts/chart4006.xml" ContentType="application/vnd.openxmlformats-officedocument.drawingml.chart+xml"/>
  <Override PartName="/ppt/charts/chart4007.xml" ContentType="application/vnd.openxmlformats-officedocument.drawingml.chart+xml"/>
  <Override PartName="/ppt/charts/chart4008.xml" ContentType="application/vnd.openxmlformats-officedocument.drawingml.chart+xml"/>
  <Override PartName="/ppt/charts/chart4009.xml" ContentType="application/vnd.openxmlformats-officedocument.drawingml.chart+xml"/>
  <Override PartName="/ppt/charts/chart401.xml" ContentType="application/vnd.openxmlformats-officedocument.drawingml.chart+xml"/>
  <Override PartName="/ppt/charts/chart4010.xml" ContentType="application/vnd.openxmlformats-officedocument.drawingml.chart+xml"/>
  <Override PartName="/ppt/charts/chart4011.xml" ContentType="application/vnd.openxmlformats-officedocument.drawingml.chart+xml"/>
  <Override PartName="/ppt/charts/chart4012.xml" ContentType="application/vnd.openxmlformats-officedocument.drawingml.chart+xml"/>
  <Override PartName="/ppt/charts/chart4013.xml" ContentType="application/vnd.openxmlformats-officedocument.drawingml.chart+xml"/>
  <Override PartName="/ppt/charts/chart4014.xml" ContentType="application/vnd.openxmlformats-officedocument.drawingml.chart+xml"/>
  <Override PartName="/ppt/charts/chart4015.xml" ContentType="application/vnd.openxmlformats-officedocument.drawingml.chart+xml"/>
  <Override PartName="/ppt/charts/chart4016.xml" ContentType="application/vnd.openxmlformats-officedocument.drawingml.chart+xml"/>
  <Override PartName="/ppt/charts/chart4017.xml" ContentType="application/vnd.openxmlformats-officedocument.drawingml.chart+xml"/>
  <Override PartName="/ppt/charts/chart4018.xml" ContentType="application/vnd.openxmlformats-officedocument.drawingml.chart+xml"/>
  <Override PartName="/ppt/charts/chart4019.xml" ContentType="application/vnd.openxmlformats-officedocument.drawingml.chart+xml"/>
  <Override PartName="/ppt/charts/chart402.xml" ContentType="application/vnd.openxmlformats-officedocument.drawingml.chart+xml"/>
  <Override PartName="/ppt/charts/chart4020.xml" ContentType="application/vnd.openxmlformats-officedocument.drawingml.chart+xml"/>
  <Override PartName="/ppt/charts/chart4021.xml" ContentType="application/vnd.openxmlformats-officedocument.drawingml.chart+xml"/>
  <Override PartName="/ppt/charts/chart4022.xml" ContentType="application/vnd.openxmlformats-officedocument.drawingml.chart+xml"/>
  <Override PartName="/ppt/charts/chart4023.xml" ContentType="application/vnd.openxmlformats-officedocument.drawingml.chart+xml"/>
  <Override PartName="/ppt/charts/chart4024.xml" ContentType="application/vnd.openxmlformats-officedocument.drawingml.chart+xml"/>
  <Override PartName="/ppt/charts/chart4025.xml" ContentType="application/vnd.openxmlformats-officedocument.drawingml.chart+xml"/>
  <Override PartName="/ppt/charts/chart4026.xml" ContentType="application/vnd.openxmlformats-officedocument.drawingml.chart+xml"/>
  <Override PartName="/ppt/charts/chart4027.xml" ContentType="application/vnd.openxmlformats-officedocument.drawingml.chart+xml"/>
  <Override PartName="/ppt/charts/chart4028.xml" ContentType="application/vnd.openxmlformats-officedocument.drawingml.chart+xml"/>
  <Override PartName="/ppt/charts/chart4029.xml" ContentType="application/vnd.openxmlformats-officedocument.drawingml.chart+xml"/>
  <Override PartName="/ppt/charts/chart403.xml" ContentType="application/vnd.openxmlformats-officedocument.drawingml.chart+xml"/>
  <Override PartName="/ppt/charts/chart4030.xml" ContentType="application/vnd.openxmlformats-officedocument.drawingml.chart+xml"/>
  <Override PartName="/ppt/charts/chart4031.xml" ContentType="application/vnd.openxmlformats-officedocument.drawingml.chart+xml"/>
  <Override PartName="/ppt/charts/chart4032.xml" ContentType="application/vnd.openxmlformats-officedocument.drawingml.chart+xml"/>
  <Override PartName="/ppt/charts/chart4033.xml" ContentType="application/vnd.openxmlformats-officedocument.drawingml.chart+xml"/>
  <Override PartName="/ppt/charts/chart4034.xml" ContentType="application/vnd.openxmlformats-officedocument.drawingml.chart+xml"/>
  <Override PartName="/ppt/charts/chart4035.xml" ContentType="application/vnd.openxmlformats-officedocument.drawingml.chart+xml"/>
  <Override PartName="/ppt/charts/chart4036.xml" ContentType="application/vnd.openxmlformats-officedocument.drawingml.chart+xml"/>
  <Override PartName="/ppt/charts/chart4037.xml" ContentType="application/vnd.openxmlformats-officedocument.drawingml.chart+xml"/>
  <Override PartName="/ppt/charts/chart4038.xml" ContentType="application/vnd.openxmlformats-officedocument.drawingml.chart+xml"/>
  <Override PartName="/ppt/charts/chart4039.xml" ContentType="application/vnd.openxmlformats-officedocument.drawingml.chart+xml"/>
  <Override PartName="/ppt/charts/chart404.xml" ContentType="application/vnd.openxmlformats-officedocument.drawingml.chart+xml"/>
  <Override PartName="/ppt/charts/chart4040.xml" ContentType="application/vnd.openxmlformats-officedocument.drawingml.chart+xml"/>
  <Override PartName="/ppt/charts/chart4041.xml" ContentType="application/vnd.openxmlformats-officedocument.drawingml.chart+xml"/>
  <Override PartName="/ppt/charts/chart4042.xml" ContentType="application/vnd.openxmlformats-officedocument.drawingml.chart+xml"/>
  <Override PartName="/ppt/charts/chart4043.xml" ContentType="application/vnd.openxmlformats-officedocument.drawingml.chart+xml"/>
  <Override PartName="/ppt/charts/chart4044.xml" ContentType="application/vnd.openxmlformats-officedocument.drawingml.chart+xml"/>
  <Override PartName="/ppt/charts/chart4045.xml" ContentType="application/vnd.openxmlformats-officedocument.drawingml.chart+xml"/>
  <Override PartName="/ppt/charts/chart4046.xml" ContentType="application/vnd.openxmlformats-officedocument.drawingml.chart+xml"/>
  <Override PartName="/ppt/charts/chart4047.xml" ContentType="application/vnd.openxmlformats-officedocument.drawingml.chart+xml"/>
  <Override PartName="/ppt/charts/chart4048.xml" ContentType="application/vnd.openxmlformats-officedocument.drawingml.chart+xml"/>
  <Override PartName="/ppt/charts/chart4049.xml" ContentType="application/vnd.openxmlformats-officedocument.drawingml.chart+xml"/>
  <Override PartName="/ppt/charts/chart405.xml" ContentType="application/vnd.openxmlformats-officedocument.drawingml.chart+xml"/>
  <Override PartName="/ppt/charts/chart4050.xml" ContentType="application/vnd.openxmlformats-officedocument.drawingml.chart+xml"/>
  <Override PartName="/ppt/charts/chart4051.xml" ContentType="application/vnd.openxmlformats-officedocument.drawingml.chart+xml"/>
  <Override PartName="/ppt/charts/chart4052.xml" ContentType="application/vnd.openxmlformats-officedocument.drawingml.chart+xml"/>
  <Override PartName="/ppt/charts/chart4053.xml" ContentType="application/vnd.openxmlformats-officedocument.drawingml.chart+xml"/>
  <Override PartName="/ppt/charts/chart4054.xml" ContentType="application/vnd.openxmlformats-officedocument.drawingml.chart+xml"/>
  <Override PartName="/ppt/charts/chart4055.xml" ContentType="application/vnd.openxmlformats-officedocument.drawingml.chart+xml"/>
  <Override PartName="/ppt/charts/chart4056.xml" ContentType="application/vnd.openxmlformats-officedocument.drawingml.chart+xml"/>
  <Override PartName="/ppt/charts/chart4057.xml" ContentType="application/vnd.openxmlformats-officedocument.drawingml.chart+xml"/>
  <Override PartName="/ppt/charts/chart4058.xml" ContentType="application/vnd.openxmlformats-officedocument.drawingml.chart+xml"/>
  <Override PartName="/ppt/charts/chart4059.xml" ContentType="application/vnd.openxmlformats-officedocument.drawingml.chart+xml"/>
  <Override PartName="/ppt/charts/chart406.xml" ContentType="application/vnd.openxmlformats-officedocument.drawingml.chart+xml"/>
  <Override PartName="/ppt/charts/chart4060.xml" ContentType="application/vnd.openxmlformats-officedocument.drawingml.chart+xml"/>
  <Override PartName="/ppt/charts/chart4061.xml" ContentType="application/vnd.openxmlformats-officedocument.drawingml.chart+xml"/>
  <Override PartName="/ppt/charts/chart4062.xml" ContentType="application/vnd.openxmlformats-officedocument.drawingml.chart+xml"/>
  <Override PartName="/ppt/charts/chart4063.xml" ContentType="application/vnd.openxmlformats-officedocument.drawingml.chart+xml"/>
  <Override PartName="/ppt/charts/chart4064.xml" ContentType="application/vnd.openxmlformats-officedocument.drawingml.chart+xml"/>
  <Override PartName="/ppt/charts/chart4065.xml" ContentType="application/vnd.openxmlformats-officedocument.drawingml.chart+xml"/>
  <Override PartName="/ppt/charts/chart4066.xml" ContentType="application/vnd.openxmlformats-officedocument.drawingml.chart+xml"/>
  <Override PartName="/ppt/charts/chart4067.xml" ContentType="application/vnd.openxmlformats-officedocument.drawingml.chart+xml"/>
  <Override PartName="/ppt/charts/chart4068.xml" ContentType="application/vnd.openxmlformats-officedocument.drawingml.chart+xml"/>
  <Override PartName="/ppt/charts/chart4069.xml" ContentType="application/vnd.openxmlformats-officedocument.drawingml.chart+xml"/>
  <Override PartName="/ppt/charts/chart407.xml" ContentType="application/vnd.openxmlformats-officedocument.drawingml.chart+xml"/>
  <Override PartName="/ppt/charts/chart4070.xml" ContentType="application/vnd.openxmlformats-officedocument.drawingml.chart+xml"/>
  <Override PartName="/ppt/charts/chart4071.xml" ContentType="application/vnd.openxmlformats-officedocument.drawingml.chart+xml"/>
  <Override PartName="/ppt/charts/chart4072.xml" ContentType="application/vnd.openxmlformats-officedocument.drawingml.chart+xml"/>
  <Override PartName="/ppt/charts/chart4073.xml" ContentType="application/vnd.openxmlformats-officedocument.drawingml.chart+xml"/>
  <Override PartName="/ppt/charts/chart4074.xml" ContentType="application/vnd.openxmlformats-officedocument.drawingml.chart+xml"/>
  <Override PartName="/ppt/charts/chart4075.xml" ContentType="application/vnd.openxmlformats-officedocument.drawingml.chart+xml"/>
  <Override PartName="/ppt/charts/chart4076.xml" ContentType="application/vnd.openxmlformats-officedocument.drawingml.chart+xml"/>
  <Override PartName="/ppt/charts/chart4077.xml" ContentType="application/vnd.openxmlformats-officedocument.drawingml.chart+xml"/>
  <Override PartName="/ppt/charts/chart4078.xml" ContentType="application/vnd.openxmlformats-officedocument.drawingml.chart+xml"/>
  <Override PartName="/ppt/charts/chart4079.xml" ContentType="application/vnd.openxmlformats-officedocument.drawingml.chart+xml"/>
  <Override PartName="/ppt/charts/chart408.xml" ContentType="application/vnd.openxmlformats-officedocument.drawingml.chart+xml"/>
  <Override PartName="/ppt/charts/chart4080.xml" ContentType="application/vnd.openxmlformats-officedocument.drawingml.chart+xml"/>
  <Override PartName="/ppt/charts/chart4081.xml" ContentType="application/vnd.openxmlformats-officedocument.drawingml.chart+xml"/>
  <Override PartName="/ppt/charts/chart4082.xml" ContentType="application/vnd.openxmlformats-officedocument.drawingml.chart+xml"/>
  <Override PartName="/ppt/charts/chart4083.xml" ContentType="application/vnd.openxmlformats-officedocument.drawingml.chart+xml"/>
  <Override PartName="/ppt/charts/chart4084.xml" ContentType="application/vnd.openxmlformats-officedocument.drawingml.chart+xml"/>
  <Override PartName="/ppt/charts/chart4085.xml" ContentType="application/vnd.openxmlformats-officedocument.drawingml.chart+xml"/>
  <Override PartName="/ppt/charts/chart4086.xml" ContentType="application/vnd.openxmlformats-officedocument.drawingml.chart+xml"/>
  <Override PartName="/ppt/charts/chart4087.xml" ContentType="application/vnd.openxmlformats-officedocument.drawingml.chart+xml"/>
  <Override PartName="/ppt/charts/chart4088.xml" ContentType="application/vnd.openxmlformats-officedocument.drawingml.chart+xml"/>
  <Override PartName="/ppt/charts/chart4089.xml" ContentType="application/vnd.openxmlformats-officedocument.drawingml.chart+xml"/>
  <Override PartName="/ppt/charts/chart409.xml" ContentType="application/vnd.openxmlformats-officedocument.drawingml.chart+xml"/>
  <Override PartName="/ppt/charts/chart4090.xml" ContentType="application/vnd.openxmlformats-officedocument.drawingml.chart+xml"/>
  <Override PartName="/ppt/charts/chart4091.xml" ContentType="application/vnd.openxmlformats-officedocument.drawingml.chart+xml"/>
  <Override PartName="/ppt/charts/chart4092.xml" ContentType="application/vnd.openxmlformats-officedocument.drawingml.chart+xml"/>
  <Override PartName="/ppt/charts/chart4093.xml" ContentType="application/vnd.openxmlformats-officedocument.drawingml.chart+xml"/>
  <Override PartName="/ppt/charts/chart4094.xml" ContentType="application/vnd.openxmlformats-officedocument.drawingml.chart+xml"/>
  <Override PartName="/ppt/charts/chart4095.xml" ContentType="application/vnd.openxmlformats-officedocument.drawingml.chart+xml"/>
  <Override PartName="/ppt/charts/chart4096.xml" ContentType="application/vnd.openxmlformats-officedocument.drawingml.chart+xml"/>
  <Override PartName="/ppt/charts/chart4097.xml" ContentType="application/vnd.openxmlformats-officedocument.drawingml.chart+xml"/>
  <Override PartName="/ppt/charts/chart4098.xml" ContentType="application/vnd.openxmlformats-officedocument.drawingml.chart+xml"/>
  <Override PartName="/ppt/charts/chart409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00.xml" ContentType="application/vnd.openxmlformats-officedocument.drawingml.chart+xml"/>
  <Override PartName="/ppt/charts/chart4101.xml" ContentType="application/vnd.openxmlformats-officedocument.drawingml.chart+xml"/>
  <Override PartName="/ppt/charts/chart4102.xml" ContentType="application/vnd.openxmlformats-officedocument.drawingml.chart+xml"/>
  <Override PartName="/ppt/charts/chart4103.xml" ContentType="application/vnd.openxmlformats-officedocument.drawingml.chart+xml"/>
  <Override PartName="/ppt/charts/chart4104.xml" ContentType="application/vnd.openxmlformats-officedocument.drawingml.chart+xml"/>
  <Override PartName="/ppt/charts/chart4105.xml" ContentType="application/vnd.openxmlformats-officedocument.drawingml.chart+xml"/>
  <Override PartName="/ppt/charts/chart4106.xml" ContentType="application/vnd.openxmlformats-officedocument.drawingml.chart+xml"/>
  <Override PartName="/ppt/charts/chart4107.xml" ContentType="application/vnd.openxmlformats-officedocument.drawingml.chart+xml"/>
  <Override PartName="/ppt/charts/chart4108.xml" ContentType="application/vnd.openxmlformats-officedocument.drawingml.chart+xml"/>
  <Override PartName="/ppt/charts/chart4109.xml" ContentType="application/vnd.openxmlformats-officedocument.drawingml.chart+xml"/>
  <Override PartName="/ppt/charts/chart411.xml" ContentType="application/vnd.openxmlformats-officedocument.drawingml.chart+xml"/>
  <Override PartName="/ppt/charts/chart4110.xml" ContentType="application/vnd.openxmlformats-officedocument.drawingml.chart+xml"/>
  <Override PartName="/ppt/charts/chart4111.xml" ContentType="application/vnd.openxmlformats-officedocument.drawingml.chart+xml"/>
  <Override PartName="/ppt/charts/chart4112.xml" ContentType="application/vnd.openxmlformats-officedocument.drawingml.chart+xml"/>
  <Override PartName="/ppt/charts/chart4113.xml" ContentType="application/vnd.openxmlformats-officedocument.drawingml.chart+xml"/>
  <Override PartName="/ppt/charts/chart4114.xml" ContentType="application/vnd.openxmlformats-officedocument.drawingml.chart+xml"/>
  <Override PartName="/ppt/charts/chart4115.xml" ContentType="application/vnd.openxmlformats-officedocument.drawingml.chart+xml"/>
  <Override PartName="/ppt/charts/chart4116.xml" ContentType="application/vnd.openxmlformats-officedocument.drawingml.chart+xml"/>
  <Override PartName="/ppt/charts/chart4117.xml" ContentType="application/vnd.openxmlformats-officedocument.drawingml.chart+xml"/>
  <Override PartName="/ppt/charts/chart4118.xml" ContentType="application/vnd.openxmlformats-officedocument.drawingml.chart+xml"/>
  <Override PartName="/ppt/charts/chart4119.xml" ContentType="application/vnd.openxmlformats-officedocument.drawingml.chart+xml"/>
  <Override PartName="/ppt/charts/chart412.xml" ContentType="application/vnd.openxmlformats-officedocument.drawingml.chart+xml"/>
  <Override PartName="/ppt/charts/chart4120.xml" ContentType="application/vnd.openxmlformats-officedocument.drawingml.chart+xml"/>
  <Override PartName="/ppt/charts/chart4121.xml" ContentType="application/vnd.openxmlformats-officedocument.drawingml.chart+xml"/>
  <Override PartName="/ppt/charts/chart4122.xml" ContentType="application/vnd.openxmlformats-officedocument.drawingml.chart+xml"/>
  <Override PartName="/ppt/charts/chart4123.xml" ContentType="application/vnd.openxmlformats-officedocument.drawingml.chart+xml"/>
  <Override PartName="/ppt/charts/chart4124.xml" ContentType="application/vnd.openxmlformats-officedocument.drawingml.chart+xml"/>
  <Override PartName="/ppt/charts/chart4125.xml" ContentType="application/vnd.openxmlformats-officedocument.drawingml.chart+xml"/>
  <Override PartName="/ppt/charts/chart4126.xml" ContentType="application/vnd.openxmlformats-officedocument.drawingml.chart+xml"/>
  <Override PartName="/ppt/charts/chart4127.xml" ContentType="application/vnd.openxmlformats-officedocument.drawingml.chart+xml"/>
  <Override PartName="/ppt/charts/chart4128.xml" ContentType="application/vnd.openxmlformats-officedocument.drawingml.chart+xml"/>
  <Override PartName="/ppt/charts/chart4129.xml" ContentType="application/vnd.openxmlformats-officedocument.drawingml.chart+xml"/>
  <Override PartName="/ppt/charts/chart413.xml" ContentType="application/vnd.openxmlformats-officedocument.drawingml.chart+xml"/>
  <Override PartName="/ppt/charts/chart4130.xml" ContentType="application/vnd.openxmlformats-officedocument.drawingml.chart+xml"/>
  <Override PartName="/ppt/charts/chart4131.xml" ContentType="application/vnd.openxmlformats-officedocument.drawingml.chart+xml"/>
  <Override PartName="/ppt/charts/chart4132.xml" ContentType="application/vnd.openxmlformats-officedocument.drawingml.chart+xml"/>
  <Override PartName="/ppt/charts/chart4133.xml" ContentType="application/vnd.openxmlformats-officedocument.drawingml.chart+xml"/>
  <Override PartName="/ppt/charts/chart4134.xml" ContentType="application/vnd.openxmlformats-officedocument.drawingml.chart+xml"/>
  <Override PartName="/ppt/charts/chart4135.xml" ContentType="application/vnd.openxmlformats-officedocument.drawingml.chart+xml"/>
  <Override PartName="/ppt/charts/chart4136.xml" ContentType="application/vnd.openxmlformats-officedocument.drawingml.chart+xml"/>
  <Override PartName="/ppt/charts/chart4137.xml" ContentType="application/vnd.openxmlformats-officedocument.drawingml.chart+xml"/>
  <Override PartName="/ppt/charts/chart4138.xml" ContentType="application/vnd.openxmlformats-officedocument.drawingml.chart+xml"/>
  <Override PartName="/ppt/charts/chart4139.xml" ContentType="application/vnd.openxmlformats-officedocument.drawingml.chart+xml"/>
  <Override PartName="/ppt/charts/chart414.xml" ContentType="application/vnd.openxmlformats-officedocument.drawingml.chart+xml"/>
  <Override PartName="/ppt/charts/chart4140.xml" ContentType="application/vnd.openxmlformats-officedocument.drawingml.chart+xml"/>
  <Override PartName="/ppt/charts/chart4141.xml" ContentType="application/vnd.openxmlformats-officedocument.drawingml.chart+xml"/>
  <Override PartName="/ppt/charts/chart4142.xml" ContentType="application/vnd.openxmlformats-officedocument.drawingml.chart+xml"/>
  <Override PartName="/ppt/charts/chart4143.xml" ContentType="application/vnd.openxmlformats-officedocument.drawingml.chart+xml"/>
  <Override PartName="/ppt/charts/chart4144.xml" ContentType="application/vnd.openxmlformats-officedocument.drawingml.chart+xml"/>
  <Override PartName="/ppt/charts/chart4145.xml" ContentType="application/vnd.openxmlformats-officedocument.drawingml.chart+xml"/>
  <Override PartName="/ppt/charts/chart4146.xml" ContentType="application/vnd.openxmlformats-officedocument.drawingml.chart+xml"/>
  <Override PartName="/ppt/charts/chart4147.xml" ContentType="application/vnd.openxmlformats-officedocument.drawingml.chart+xml"/>
  <Override PartName="/ppt/charts/chart4148.xml" ContentType="application/vnd.openxmlformats-officedocument.drawingml.chart+xml"/>
  <Override PartName="/ppt/charts/chart4149.xml" ContentType="application/vnd.openxmlformats-officedocument.drawingml.chart+xml"/>
  <Override PartName="/ppt/charts/chart415.xml" ContentType="application/vnd.openxmlformats-officedocument.drawingml.chart+xml"/>
  <Override PartName="/ppt/charts/chart4150.xml" ContentType="application/vnd.openxmlformats-officedocument.drawingml.chart+xml"/>
  <Override PartName="/ppt/charts/chart4151.xml" ContentType="application/vnd.openxmlformats-officedocument.drawingml.chart+xml"/>
  <Override PartName="/ppt/charts/chart4152.xml" ContentType="application/vnd.openxmlformats-officedocument.drawingml.chart+xml"/>
  <Override PartName="/ppt/charts/chart4153.xml" ContentType="application/vnd.openxmlformats-officedocument.drawingml.chart+xml"/>
  <Override PartName="/ppt/charts/chart4154.xml" ContentType="application/vnd.openxmlformats-officedocument.drawingml.chart+xml"/>
  <Override PartName="/ppt/charts/chart4155.xml" ContentType="application/vnd.openxmlformats-officedocument.drawingml.chart+xml"/>
  <Override PartName="/ppt/charts/chart4156.xml" ContentType="application/vnd.openxmlformats-officedocument.drawingml.chart+xml"/>
  <Override PartName="/ppt/charts/chart4157.xml" ContentType="application/vnd.openxmlformats-officedocument.drawingml.chart+xml"/>
  <Override PartName="/ppt/charts/chart4158.xml" ContentType="application/vnd.openxmlformats-officedocument.drawingml.chart+xml"/>
  <Override PartName="/ppt/charts/chart4159.xml" ContentType="application/vnd.openxmlformats-officedocument.drawingml.chart+xml"/>
  <Override PartName="/ppt/charts/chart416.xml" ContentType="application/vnd.openxmlformats-officedocument.drawingml.chart+xml"/>
  <Override PartName="/ppt/charts/chart4160.xml" ContentType="application/vnd.openxmlformats-officedocument.drawingml.chart+xml"/>
  <Override PartName="/ppt/charts/chart4161.xml" ContentType="application/vnd.openxmlformats-officedocument.drawingml.chart+xml"/>
  <Override PartName="/ppt/charts/chart4162.xml" ContentType="application/vnd.openxmlformats-officedocument.drawingml.chart+xml"/>
  <Override PartName="/ppt/charts/chart4163.xml" ContentType="application/vnd.openxmlformats-officedocument.drawingml.chart+xml"/>
  <Override PartName="/ppt/charts/chart4164.xml" ContentType="application/vnd.openxmlformats-officedocument.drawingml.chart+xml"/>
  <Override PartName="/ppt/charts/chart4165.xml" ContentType="application/vnd.openxmlformats-officedocument.drawingml.chart+xml"/>
  <Override PartName="/ppt/charts/chart4166.xml" ContentType="application/vnd.openxmlformats-officedocument.drawingml.chart+xml"/>
  <Override PartName="/ppt/charts/chart4167.xml" ContentType="application/vnd.openxmlformats-officedocument.drawingml.chart+xml"/>
  <Override PartName="/ppt/charts/chart4168.xml" ContentType="application/vnd.openxmlformats-officedocument.drawingml.chart+xml"/>
  <Override PartName="/ppt/charts/chart4169.xml" ContentType="application/vnd.openxmlformats-officedocument.drawingml.chart+xml"/>
  <Override PartName="/ppt/charts/chart417.xml" ContentType="application/vnd.openxmlformats-officedocument.drawingml.chart+xml"/>
  <Override PartName="/ppt/charts/chart4170.xml" ContentType="application/vnd.openxmlformats-officedocument.drawingml.chart+xml"/>
  <Override PartName="/ppt/charts/chart4171.xml" ContentType="application/vnd.openxmlformats-officedocument.drawingml.chart+xml"/>
  <Override PartName="/ppt/charts/chart4172.xml" ContentType="application/vnd.openxmlformats-officedocument.drawingml.chart+xml"/>
  <Override PartName="/ppt/charts/chart4173.xml" ContentType="application/vnd.openxmlformats-officedocument.drawingml.chart+xml"/>
  <Override PartName="/ppt/charts/chart4174.xml" ContentType="application/vnd.openxmlformats-officedocument.drawingml.chart+xml"/>
  <Override PartName="/ppt/charts/chart4175.xml" ContentType="application/vnd.openxmlformats-officedocument.drawingml.chart+xml"/>
  <Override PartName="/ppt/charts/chart4176.xml" ContentType="application/vnd.openxmlformats-officedocument.drawingml.chart+xml"/>
  <Override PartName="/ppt/charts/chart4177.xml" ContentType="application/vnd.openxmlformats-officedocument.drawingml.chart+xml"/>
  <Override PartName="/ppt/charts/chart4178.xml" ContentType="application/vnd.openxmlformats-officedocument.drawingml.chart+xml"/>
  <Override PartName="/ppt/charts/chart4179.xml" ContentType="application/vnd.openxmlformats-officedocument.drawingml.chart+xml"/>
  <Override PartName="/ppt/charts/chart418.xml" ContentType="application/vnd.openxmlformats-officedocument.drawingml.chart+xml"/>
  <Override PartName="/ppt/charts/chart4180.xml" ContentType="application/vnd.openxmlformats-officedocument.drawingml.chart+xml"/>
  <Override PartName="/ppt/charts/chart4181.xml" ContentType="application/vnd.openxmlformats-officedocument.drawingml.chart+xml"/>
  <Override PartName="/ppt/charts/chart4182.xml" ContentType="application/vnd.openxmlformats-officedocument.drawingml.chart+xml"/>
  <Override PartName="/ppt/charts/chart4183.xml" ContentType="application/vnd.openxmlformats-officedocument.drawingml.chart+xml"/>
  <Override PartName="/ppt/charts/chart4184.xml" ContentType="application/vnd.openxmlformats-officedocument.drawingml.chart+xml"/>
  <Override PartName="/ppt/charts/chart4185.xml" ContentType="application/vnd.openxmlformats-officedocument.drawingml.chart+xml"/>
  <Override PartName="/ppt/charts/chart4186.xml" ContentType="application/vnd.openxmlformats-officedocument.drawingml.chart+xml"/>
  <Override PartName="/ppt/charts/chart4187.xml" ContentType="application/vnd.openxmlformats-officedocument.drawingml.chart+xml"/>
  <Override PartName="/ppt/charts/chart4188.xml" ContentType="application/vnd.openxmlformats-officedocument.drawingml.chart+xml"/>
  <Override PartName="/ppt/charts/chart4189.xml" ContentType="application/vnd.openxmlformats-officedocument.drawingml.chart+xml"/>
  <Override PartName="/ppt/charts/chart419.xml" ContentType="application/vnd.openxmlformats-officedocument.drawingml.chart+xml"/>
  <Override PartName="/ppt/charts/chart4190.xml" ContentType="application/vnd.openxmlformats-officedocument.drawingml.chart+xml"/>
  <Override PartName="/ppt/charts/chart4191.xml" ContentType="application/vnd.openxmlformats-officedocument.drawingml.chart+xml"/>
  <Override PartName="/ppt/charts/chart4192.xml" ContentType="application/vnd.openxmlformats-officedocument.drawingml.chart+xml"/>
  <Override PartName="/ppt/charts/chart4193.xml" ContentType="application/vnd.openxmlformats-officedocument.drawingml.chart+xml"/>
  <Override PartName="/ppt/charts/chart4194.xml" ContentType="application/vnd.openxmlformats-officedocument.drawingml.chart+xml"/>
  <Override PartName="/ppt/charts/chart4195.xml" ContentType="application/vnd.openxmlformats-officedocument.drawingml.chart+xml"/>
  <Override PartName="/ppt/charts/chart4196.xml" ContentType="application/vnd.openxmlformats-officedocument.drawingml.chart+xml"/>
  <Override PartName="/ppt/charts/chart4197.xml" ContentType="application/vnd.openxmlformats-officedocument.drawingml.chart+xml"/>
  <Override PartName="/ppt/charts/chart4198.xml" ContentType="application/vnd.openxmlformats-officedocument.drawingml.chart+xml"/>
  <Override PartName="/ppt/charts/chart419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00.xml" ContentType="application/vnd.openxmlformats-officedocument.drawingml.chart+xml"/>
  <Override PartName="/ppt/charts/chart4201.xml" ContentType="application/vnd.openxmlformats-officedocument.drawingml.chart+xml"/>
  <Override PartName="/ppt/charts/chart4202.xml" ContentType="application/vnd.openxmlformats-officedocument.drawingml.chart+xml"/>
  <Override PartName="/ppt/charts/chart4203.xml" ContentType="application/vnd.openxmlformats-officedocument.drawingml.chart+xml"/>
  <Override PartName="/ppt/charts/chart4204.xml" ContentType="application/vnd.openxmlformats-officedocument.drawingml.chart+xml"/>
  <Override PartName="/ppt/charts/chart4205.xml" ContentType="application/vnd.openxmlformats-officedocument.drawingml.chart+xml"/>
  <Override PartName="/ppt/charts/chart4206.xml" ContentType="application/vnd.openxmlformats-officedocument.drawingml.chart+xml"/>
  <Override PartName="/ppt/charts/chart4207.xml" ContentType="application/vnd.openxmlformats-officedocument.drawingml.chart+xml"/>
  <Override PartName="/ppt/charts/chart4208.xml" ContentType="application/vnd.openxmlformats-officedocument.drawingml.chart+xml"/>
  <Override PartName="/ppt/charts/chart4209.xml" ContentType="application/vnd.openxmlformats-officedocument.drawingml.chart+xml"/>
  <Override PartName="/ppt/charts/chart421.xml" ContentType="application/vnd.openxmlformats-officedocument.drawingml.chart+xml"/>
  <Override PartName="/ppt/charts/chart4210.xml" ContentType="application/vnd.openxmlformats-officedocument.drawingml.chart+xml"/>
  <Override PartName="/ppt/charts/chart4211.xml" ContentType="application/vnd.openxmlformats-officedocument.drawingml.chart+xml"/>
  <Override PartName="/ppt/charts/chart4212.xml" ContentType="application/vnd.openxmlformats-officedocument.drawingml.chart+xml"/>
  <Override PartName="/ppt/charts/chart4213.xml" ContentType="application/vnd.openxmlformats-officedocument.drawingml.chart+xml"/>
  <Override PartName="/ppt/charts/chart4214.xml" ContentType="application/vnd.openxmlformats-officedocument.drawingml.chart+xml"/>
  <Override PartName="/ppt/charts/chart4215.xml" ContentType="application/vnd.openxmlformats-officedocument.drawingml.chart+xml"/>
  <Override PartName="/ppt/charts/chart4216.xml" ContentType="application/vnd.openxmlformats-officedocument.drawingml.chart+xml"/>
  <Override PartName="/ppt/charts/chart4217.xml" ContentType="application/vnd.openxmlformats-officedocument.drawingml.chart+xml"/>
  <Override PartName="/ppt/charts/chart4218.xml" ContentType="application/vnd.openxmlformats-officedocument.drawingml.chart+xml"/>
  <Override PartName="/ppt/charts/chart4219.xml" ContentType="application/vnd.openxmlformats-officedocument.drawingml.chart+xml"/>
  <Override PartName="/ppt/charts/chart422.xml" ContentType="application/vnd.openxmlformats-officedocument.drawingml.chart+xml"/>
  <Override PartName="/ppt/charts/chart4220.xml" ContentType="application/vnd.openxmlformats-officedocument.drawingml.chart+xml"/>
  <Override PartName="/ppt/charts/chart4221.xml" ContentType="application/vnd.openxmlformats-officedocument.drawingml.chart+xml"/>
  <Override PartName="/ppt/charts/chart4222.xml" ContentType="application/vnd.openxmlformats-officedocument.drawingml.chart+xml"/>
  <Override PartName="/ppt/charts/chart4223.xml" ContentType="application/vnd.openxmlformats-officedocument.drawingml.chart+xml"/>
  <Override PartName="/ppt/charts/chart4224.xml" ContentType="application/vnd.openxmlformats-officedocument.drawingml.chart+xml"/>
  <Override PartName="/ppt/charts/chart4225.xml" ContentType="application/vnd.openxmlformats-officedocument.drawingml.chart+xml"/>
  <Override PartName="/ppt/charts/chart4226.xml" ContentType="application/vnd.openxmlformats-officedocument.drawingml.chart+xml"/>
  <Override PartName="/ppt/charts/chart4227.xml" ContentType="application/vnd.openxmlformats-officedocument.drawingml.chart+xml"/>
  <Override PartName="/ppt/charts/chart4228.xml" ContentType="application/vnd.openxmlformats-officedocument.drawingml.chart+xml"/>
  <Override PartName="/ppt/charts/chart4229.xml" ContentType="application/vnd.openxmlformats-officedocument.drawingml.chart+xml"/>
  <Override PartName="/ppt/charts/chart423.xml" ContentType="application/vnd.openxmlformats-officedocument.drawingml.chart+xml"/>
  <Override PartName="/ppt/charts/chart4230.xml" ContentType="application/vnd.openxmlformats-officedocument.drawingml.chart+xml"/>
  <Override PartName="/ppt/charts/chart4231.xml" ContentType="application/vnd.openxmlformats-officedocument.drawingml.chart+xml"/>
  <Override PartName="/ppt/charts/chart4232.xml" ContentType="application/vnd.openxmlformats-officedocument.drawingml.chart+xml"/>
  <Override PartName="/ppt/charts/chart4233.xml" ContentType="application/vnd.openxmlformats-officedocument.drawingml.chart+xml"/>
  <Override PartName="/ppt/charts/chart4234.xml" ContentType="application/vnd.openxmlformats-officedocument.drawingml.chart+xml"/>
  <Override PartName="/ppt/charts/chart4235.xml" ContentType="application/vnd.openxmlformats-officedocument.drawingml.chart+xml"/>
  <Override PartName="/ppt/charts/chart4236.xml" ContentType="application/vnd.openxmlformats-officedocument.drawingml.chart+xml"/>
  <Override PartName="/ppt/charts/chart4237.xml" ContentType="application/vnd.openxmlformats-officedocument.drawingml.chart+xml"/>
  <Override PartName="/ppt/charts/chart4238.xml" ContentType="application/vnd.openxmlformats-officedocument.drawingml.chart+xml"/>
  <Override PartName="/ppt/charts/chart4239.xml" ContentType="application/vnd.openxmlformats-officedocument.drawingml.chart+xml"/>
  <Override PartName="/ppt/charts/chart424.xml" ContentType="application/vnd.openxmlformats-officedocument.drawingml.chart+xml"/>
  <Override PartName="/ppt/charts/chart4240.xml" ContentType="application/vnd.openxmlformats-officedocument.drawingml.chart+xml"/>
  <Override PartName="/ppt/charts/chart4241.xml" ContentType="application/vnd.openxmlformats-officedocument.drawingml.chart+xml"/>
  <Override PartName="/ppt/charts/chart4242.xml" ContentType="application/vnd.openxmlformats-officedocument.drawingml.chart+xml"/>
  <Override PartName="/ppt/charts/chart4243.xml" ContentType="application/vnd.openxmlformats-officedocument.drawingml.chart+xml"/>
  <Override PartName="/ppt/charts/chart4244.xml" ContentType="application/vnd.openxmlformats-officedocument.drawingml.chart+xml"/>
  <Override PartName="/ppt/charts/chart4245.xml" ContentType="application/vnd.openxmlformats-officedocument.drawingml.chart+xml"/>
  <Override PartName="/ppt/charts/chart4246.xml" ContentType="application/vnd.openxmlformats-officedocument.drawingml.chart+xml"/>
  <Override PartName="/ppt/charts/chart4247.xml" ContentType="application/vnd.openxmlformats-officedocument.drawingml.chart+xml"/>
  <Override PartName="/ppt/charts/chart4248.xml" ContentType="application/vnd.openxmlformats-officedocument.drawingml.chart+xml"/>
  <Override PartName="/ppt/charts/chart4249.xml" ContentType="application/vnd.openxmlformats-officedocument.drawingml.chart+xml"/>
  <Override PartName="/ppt/charts/chart425.xml" ContentType="application/vnd.openxmlformats-officedocument.drawingml.chart+xml"/>
  <Override PartName="/ppt/charts/chart4250.xml" ContentType="application/vnd.openxmlformats-officedocument.drawingml.chart+xml"/>
  <Override PartName="/ppt/charts/chart4251.xml" ContentType="application/vnd.openxmlformats-officedocument.drawingml.chart+xml"/>
  <Override PartName="/ppt/charts/chart4252.xml" ContentType="application/vnd.openxmlformats-officedocument.drawingml.chart+xml"/>
  <Override PartName="/ppt/charts/chart4253.xml" ContentType="application/vnd.openxmlformats-officedocument.drawingml.chart+xml"/>
  <Override PartName="/ppt/charts/chart4254.xml" ContentType="application/vnd.openxmlformats-officedocument.drawingml.chart+xml"/>
  <Override PartName="/ppt/charts/chart4255.xml" ContentType="application/vnd.openxmlformats-officedocument.drawingml.chart+xml"/>
  <Override PartName="/ppt/charts/chart4256.xml" ContentType="application/vnd.openxmlformats-officedocument.drawingml.chart+xml"/>
  <Override PartName="/ppt/charts/chart4257.xml" ContentType="application/vnd.openxmlformats-officedocument.drawingml.chart+xml"/>
  <Override PartName="/ppt/charts/chart4258.xml" ContentType="application/vnd.openxmlformats-officedocument.drawingml.chart+xml"/>
  <Override PartName="/ppt/charts/chart4259.xml" ContentType="application/vnd.openxmlformats-officedocument.drawingml.chart+xml"/>
  <Override PartName="/ppt/charts/chart426.xml" ContentType="application/vnd.openxmlformats-officedocument.drawingml.chart+xml"/>
  <Override PartName="/ppt/charts/chart4260.xml" ContentType="application/vnd.openxmlformats-officedocument.drawingml.chart+xml"/>
  <Override PartName="/ppt/charts/chart4261.xml" ContentType="application/vnd.openxmlformats-officedocument.drawingml.chart+xml"/>
  <Override PartName="/ppt/charts/chart4262.xml" ContentType="application/vnd.openxmlformats-officedocument.drawingml.chart+xml"/>
  <Override PartName="/ppt/charts/chart4263.xml" ContentType="application/vnd.openxmlformats-officedocument.drawingml.chart+xml"/>
  <Override PartName="/ppt/charts/chart4264.xml" ContentType="application/vnd.openxmlformats-officedocument.drawingml.chart+xml"/>
  <Override PartName="/ppt/charts/chart4265.xml" ContentType="application/vnd.openxmlformats-officedocument.drawingml.chart+xml"/>
  <Override PartName="/ppt/charts/chart4266.xml" ContentType="application/vnd.openxmlformats-officedocument.drawingml.chart+xml"/>
  <Override PartName="/ppt/charts/chart4267.xml" ContentType="application/vnd.openxmlformats-officedocument.drawingml.chart+xml"/>
  <Override PartName="/ppt/charts/chart4268.xml" ContentType="application/vnd.openxmlformats-officedocument.drawingml.chart+xml"/>
  <Override PartName="/ppt/charts/chart4269.xml" ContentType="application/vnd.openxmlformats-officedocument.drawingml.chart+xml"/>
  <Override PartName="/ppt/charts/chart427.xml" ContentType="application/vnd.openxmlformats-officedocument.drawingml.chart+xml"/>
  <Override PartName="/ppt/charts/chart4270.xml" ContentType="application/vnd.openxmlformats-officedocument.drawingml.chart+xml"/>
  <Override PartName="/ppt/charts/chart4271.xml" ContentType="application/vnd.openxmlformats-officedocument.drawingml.chart+xml"/>
  <Override PartName="/ppt/charts/chart4272.xml" ContentType="application/vnd.openxmlformats-officedocument.drawingml.chart+xml"/>
  <Override PartName="/ppt/charts/chart4273.xml" ContentType="application/vnd.openxmlformats-officedocument.drawingml.chart+xml"/>
  <Override PartName="/ppt/charts/chart4274.xml" ContentType="application/vnd.openxmlformats-officedocument.drawingml.chart+xml"/>
  <Override PartName="/ppt/charts/chart4275.xml" ContentType="application/vnd.openxmlformats-officedocument.drawingml.chart+xml"/>
  <Override PartName="/ppt/charts/chart4276.xml" ContentType="application/vnd.openxmlformats-officedocument.drawingml.chart+xml"/>
  <Override PartName="/ppt/charts/chart4277.xml" ContentType="application/vnd.openxmlformats-officedocument.drawingml.chart+xml"/>
  <Override PartName="/ppt/charts/chart4278.xml" ContentType="application/vnd.openxmlformats-officedocument.drawingml.chart+xml"/>
  <Override PartName="/ppt/charts/chart4279.xml" ContentType="application/vnd.openxmlformats-officedocument.drawingml.chart+xml"/>
  <Override PartName="/ppt/charts/chart428.xml" ContentType="application/vnd.openxmlformats-officedocument.drawingml.chart+xml"/>
  <Override PartName="/ppt/charts/chart4280.xml" ContentType="application/vnd.openxmlformats-officedocument.drawingml.chart+xml"/>
  <Override PartName="/ppt/charts/chart4281.xml" ContentType="application/vnd.openxmlformats-officedocument.drawingml.chart+xml"/>
  <Override PartName="/ppt/charts/chart4282.xml" ContentType="application/vnd.openxmlformats-officedocument.drawingml.chart+xml"/>
  <Override PartName="/ppt/charts/chart4283.xml" ContentType="application/vnd.openxmlformats-officedocument.drawingml.chart+xml"/>
  <Override PartName="/ppt/charts/chart4284.xml" ContentType="application/vnd.openxmlformats-officedocument.drawingml.chart+xml"/>
  <Override PartName="/ppt/charts/chart4285.xml" ContentType="application/vnd.openxmlformats-officedocument.drawingml.chart+xml"/>
  <Override PartName="/ppt/charts/chart4286.xml" ContentType="application/vnd.openxmlformats-officedocument.drawingml.chart+xml"/>
  <Override PartName="/ppt/charts/chart4287.xml" ContentType="application/vnd.openxmlformats-officedocument.drawingml.chart+xml"/>
  <Override PartName="/ppt/charts/chart4288.xml" ContentType="application/vnd.openxmlformats-officedocument.drawingml.chart+xml"/>
  <Override PartName="/ppt/charts/chart4289.xml" ContentType="application/vnd.openxmlformats-officedocument.drawingml.chart+xml"/>
  <Override PartName="/ppt/charts/chart429.xml" ContentType="application/vnd.openxmlformats-officedocument.drawingml.chart+xml"/>
  <Override PartName="/ppt/charts/chart4290.xml" ContentType="application/vnd.openxmlformats-officedocument.drawingml.chart+xml"/>
  <Override PartName="/ppt/charts/chart4291.xml" ContentType="application/vnd.openxmlformats-officedocument.drawingml.chart+xml"/>
  <Override PartName="/ppt/charts/chart4292.xml" ContentType="application/vnd.openxmlformats-officedocument.drawingml.chart+xml"/>
  <Override PartName="/ppt/charts/chart4293.xml" ContentType="application/vnd.openxmlformats-officedocument.drawingml.chart+xml"/>
  <Override PartName="/ppt/charts/chart4294.xml" ContentType="application/vnd.openxmlformats-officedocument.drawingml.chart+xml"/>
  <Override PartName="/ppt/charts/chart4295.xml" ContentType="application/vnd.openxmlformats-officedocument.drawingml.chart+xml"/>
  <Override PartName="/ppt/charts/chart4296.xml" ContentType="application/vnd.openxmlformats-officedocument.drawingml.chart+xml"/>
  <Override PartName="/ppt/charts/chart4297.xml" ContentType="application/vnd.openxmlformats-officedocument.drawingml.chart+xml"/>
  <Override PartName="/ppt/charts/chart4298.xml" ContentType="application/vnd.openxmlformats-officedocument.drawingml.chart+xml"/>
  <Override PartName="/ppt/charts/chart429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00.xml" ContentType="application/vnd.openxmlformats-officedocument.drawingml.chart+xml"/>
  <Override PartName="/ppt/charts/chart4301.xml" ContentType="application/vnd.openxmlformats-officedocument.drawingml.chart+xml"/>
  <Override PartName="/ppt/charts/chart4302.xml" ContentType="application/vnd.openxmlformats-officedocument.drawingml.chart+xml"/>
  <Override PartName="/ppt/charts/chart4303.xml" ContentType="application/vnd.openxmlformats-officedocument.drawingml.chart+xml"/>
  <Override PartName="/ppt/charts/chart4304.xml" ContentType="application/vnd.openxmlformats-officedocument.drawingml.chart+xml"/>
  <Override PartName="/ppt/charts/chart4305.xml" ContentType="application/vnd.openxmlformats-officedocument.drawingml.chart+xml"/>
  <Override PartName="/ppt/charts/chart4306.xml" ContentType="application/vnd.openxmlformats-officedocument.drawingml.chart+xml"/>
  <Override PartName="/ppt/charts/chart4307.xml" ContentType="application/vnd.openxmlformats-officedocument.drawingml.chart+xml"/>
  <Override PartName="/ppt/charts/chart4308.xml" ContentType="application/vnd.openxmlformats-officedocument.drawingml.chart+xml"/>
  <Override PartName="/ppt/charts/chart4309.xml" ContentType="application/vnd.openxmlformats-officedocument.drawingml.chart+xml"/>
  <Override PartName="/ppt/charts/chart431.xml" ContentType="application/vnd.openxmlformats-officedocument.drawingml.chart+xml"/>
  <Override PartName="/ppt/charts/chart4310.xml" ContentType="application/vnd.openxmlformats-officedocument.drawingml.chart+xml"/>
  <Override PartName="/ppt/charts/chart4311.xml" ContentType="application/vnd.openxmlformats-officedocument.drawingml.chart+xml"/>
  <Override PartName="/ppt/charts/chart4312.xml" ContentType="application/vnd.openxmlformats-officedocument.drawingml.chart+xml"/>
  <Override PartName="/ppt/charts/chart4313.xml" ContentType="application/vnd.openxmlformats-officedocument.drawingml.chart+xml"/>
  <Override PartName="/ppt/charts/chart4314.xml" ContentType="application/vnd.openxmlformats-officedocument.drawingml.chart+xml"/>
  <Override PartName="/ppt/charts/chart4315.xml" ContentType="application/vnd.openxmlformats-officedocument.drawingml.chart+xml"/>
  <Override PartName="/ppt/charts/chart4316.xml" ContentType="application/vnd.openxmlformats-officedocument.drawingml.chart+xml"/>
  <Override PartName="/ppt/charts/chart4317.xml" ContentType="application/vnd.openxmlformats-officedocument.drawingml.chart+xml"/>
  <Override PartName="/ppt/charts/chart4318.xml" ContentType="application/vnd.openxmlformats-officedocument.drawingml.chart+xml"/>
  <Override PartName="/ppt/charts/chart4319.xml" ContentType="application/vnd.openxmlformats-officedocument.drawingml.chart+xml"/>
  <Override PartName="/ppt/charts/chart432.xml" ContentType="application/vnd.openxmlformats-officedocument.drawingml.chart+xml"/>
  <Override PartName="/ppt/charts/chart4320.xml" ContentType="application/vnd.openxmlformats-officedocument.drawingml.chart+xml"/>
  <Override PartName="/ppt/charts/chart4321.xml" ContentType="application/vnd.openxmlformats-officedocument.drawingml.chart+xml"/>
  <Override PartName="/ppt/charts/chart4322.xml" ContentType="application/vnd.openxmlformats-officedocument.drawingml.chart+xml"/>
  <Override PartName="/ppt/charts/chart4323.xml" ContentType="application/vnd.openxmlformats-officedocument.drawingml.chart+xml"/>
  <Override PartName="/ppt/charts/chart4324.xml" ContentType="application/vnd.openxmlformats-officedocument.drawingml.chart+xml"/>
  <Override PartName="/ppt/charts/chart4325.xml" ContentType="application/vnd.openxmlformats-officedocument.drawingml.chart+xml"/>
  <Override PartName="/ppt/charts/chart4326.xml" ContentType="application/vnd.openxmlformats-officedocument.drawingml.chart+xml"/>
  <Override PartName="/ppt/charts/chart4327.xml" ContentType="application/vnd.openxmlformats-officedocument.drawingml.chart+xml"/>
  <Override PartName="/ppt/charts/chart4328.xml" ContentType="application/vnd.openxmlformats-officedocument.drawingml.chart+xml"/>
  <Override PartName="/ppt/charts/chart4329.xml" ContentType="application/vnd.openxmlformats-officedocument.drawingml.chart+xml"/>
  <Override PartName="/ppt/charts/chart433.xml" ContentType="application/vnd.openxmlformats-officedocument.drawingml.chart+xml"/>
  <Override PartName="/ppt/charts/chart4330.xml" ContentType="application/vnd.openxmlformats-officedocument.drawingml.chart+xml"/>
  <Override PartName="/ppt/charts/chart4331.xml" ContentType="application/vnd.openxmlformats-officedocument.drawingml.chart+xml"/>
  <Override PartName="/ppt/charts/chart4332.xml" ContentType="application/vnd.openxmlformats-officedocument.drawingml.chart+xml"/>
  <Override PartName="/ppt/charts/chart4333.xml" ContentType="application/vnd.openxmlformats-officedocument.drawingml.chart+xml"/>
  <Override PartName="/ppt/charts/chart4334.xml" ContentType="application/vnd.openxmlformats-officedocument.drawingml.chart+xml"/>
  <Override PartName="/ppt/charts/chart4335.xml" ContentType="application/vnd.openxmlformats-officedocument.drawingml.chart+xml"/>
  <Override PartName="/ppt/charts/chart4336.xml" ContentType="application/vnd.openxmlformats-officedocument.drawingml.chart+xml"/>
  <Override PartName="/ppt/charts/chart4337.xml" ContentType="application/vnd.openxmlformats-officedocument.drawingml.chart+xml"/>
  <Override PartName="/ppt/charts/chart4338.xml" ContentType="application/vnd.openxmlformats-officedocument.drawingml.chart+xml"/>
  <Override PartName="/ppt/charts/chart4339.xml" ContentType="application/vnd.openxmlformats-officedocument.drawingml.chart+xml"/>
  <Override PartName="/ppt/charts/chart434.xml" ContentType="application/vnd.openxmlformats-officedocument.drawingml.chart+xml"/>
  <Override PartName="/ppt/charts/chart4340.xml" ContentType="application/vnd.openxmlformats-officedocument.drawingml.chart+xml"/>
  <Override PartName="/ppt/charts/chart4341.xml" ContentType="application/vnd.openxmlformats-officedocument.drawingml.chart+xml"/>
  <Override PartName="/ppt/charts/chart4342.xml" ContentType="application/vnd.openxmlformats-officedocument.drawingml.chart+xml"/>
  <Override PartName="/ppt/charts/chart4343.xml" ContentType="application/vnd.openxmlformats-officedocument.drawingml.chart+xml"/>
  <Override PartName="/ppt/charts/chart4344.xml" ContentType="application/vnd.openxmlformats-officedocument.drawingml.chart+xml"/>
  <Override PartName="/ppt/charts/chart4345.xml" ContentType="application/vnd.openxmlformats-officedocument.drawingml.chart+xml"/>
  <Override PartName="/ppt/charts/chart4346.xml" ContentType="application/vnd.openxmlformats-officedocument.drawingml.chart+xml"/>
  <Override PartName="/ppt/charts/chart4347.xml" ContentType="application/vnd.openxmlformats-officedocument.drawingml.chart+xml"/>
  <Override PartName="/ppt/charts/chart4348.xml" ContentType="application/vnd.openxmlformats-officedocument.drawingml.chart+xml"/>
  <Override PartName="/ppt/charts/chart4349.xml" ContentType="application/vnd.openxmlformats-officedocument.drawingml.chart+xml"/>
  <Override PartName="/ppt/charts/chart435.xml" ContentType="application/vnd.openxmlformats-officedocument.drawingml.chart+xml"/>
  <Override PartName="/ppt/charts/chart4350.xml" ContentType="application/vnd.openxmlformats-officedocument.drawingml.chart+xml"/>
  <Override PartName="/ppt/charts/chart4351.xml" ContentType="application/vnd.openxmlformats-officedocument.drawingml.chart+xml"/>
  <Override PartName="/ppt/charts/chart4352.xml" ContentType="application/vnd.openxmlformats-officedocument.drawingml.chart+xml"/>
  <Override PartName="/ppt/charts/chart4353.xml" ContentType="application/vnd.openxmlformats-officedocument.drawingml.chart+xml"/>
  <Override PartName="/ppt/charts/chart4354.xml" ContentType="application/vnd.openxmlformats-officedocument.drawingml.chart+xml"/>
  <Override PartName="/ppt/charts/chart4355.xml" ContentType="application/vnd.openxmlformats-officedocument.drawingml.chart+xml"/>
  <Override PartName="/ppt/charts/chart4356.xml" ContentType="application/vnd.openxmlformats-officedocument.drawingml.chart+xml"/>
  <Override PartName="/ppt/charts/chart4357.xml" ContentType="application/vnd.openxmlformats-officedocument.drawingml.chart+xml"/>
  <Override PartName="/ppt/charts/chart4358.xml" ContentType="application/vnd.openxmlformats-officedocument.drawingml.chart+xml"/>
  <Override PartName="/ppt/charts/chart4359.xml" ContentType="application/vnd.openxmlformats-officedocument.drawingml.chart+xml"/>
  <Override PartName="/ppt/charts/chart436.xml" ContentType="application/vnd.openxmlformats-officedocument.drawingml.chart+xml"/>
  <Override PartName="/ppt/charts/chart4360.xml" ContentType="application/vnd.openxmlformats-officedocument.drawingml.chart+xml"/>
  <Override PartName="/ppt/charts/chart4361.xml" ContentType="application/vnd.openxmlformats-officedocument.drawingml.chart+xml"/>
  <Override PartName="/ppt/charts/chart4362.xml" ContentType="application/vnd.openxmlformats-officedocument.drawingml.chart+xml"/>
  <Override PartName="/ppt/charts/chart4363.xml" ContentType="application/vnd.openxmlformats-officedocument.drawingml.chart+xml"/>
  <Override PartName="/ppt/charts/chart4364.xml" ContentType="application/vnd.openxmlformats-officedocument.drawingml.chart+xml"/>
  <Override PartName="/ppt/charts/chart4365.xml" ContentType="application/vnd.openxmlformats-officedocument.drawingml.chart+xml"/>
  <Override PartName="/ppt/charts/chart4366.xml" ContentType="application/vnd.openxmlformats-officedocument.drawingml.chart+xml"/>
  <Override PartName="/ppt/charts/chart4367.xml" ContentType="application/vnd.openxmlformats-officedocument.drawingml.chart+xml"/>
  <Override PartName="/ppt/charts/chart4368.xml" ContentType="application/vnd.openxmlformats-officedocument.drawingml.chart+xml"/>
  <Override PartName="/ppt/charts/chart4369.xml" ContentType="application/vnd.openxmlformats-officedocument.drawingml.chart+xml"/>
  <Override PartName="/ppt/charts/chart437.xml" ContentType="application/vnd.openxmlformats-officedocument.drawingml.chart+xml"/>
  <Override PartName="/ppt/charts/chart4370.xml" ContentType="application/vnd.openxmlformats-officedocument.drawingml.chart+xml"/>
  <Override PartName="/ppt/charts/chart4371.xml" ContentType="application/vnd.openxmlformats-officedocument.drawingml.chart+xml"/>
  <Override PartName="/ppt/charts/chart4372.xml" ContentType="application/vnd.openxmlformats-officedocument.drawingml.chart+xml"/>
  <Override PartName="/ppt/charts/chart4373.xml" ContentType="application/vnd.openxmlformats-officedocument.drawingml.chart+xml"/>
  <Override PartName="/ppt/charts/chart4374.xml" ContentType="application/vnd.openxmlformats-officedocument.drawingml.chart+xml"/>
  <Override PartName="/ppt/charts/chart4375.xml" ContentType="application/vnd.openxmlformats-officedocument.drawingml.chart+xml"/>
  <Override PartName="/ppt/charts/chart4376.xml" ContentType="application/vnd.openxmlformats-officedocument.drawingml.chart+xml"/>
  <Override PartName="/ppt/charts/chart4377.xml" ContentType="application/vnd.openxmlformats-officedocument.drawingml.chart+xml"/>
  <Override PartName="/ppt/charts/chart4378.xml" ContentType="application/vnd.openxmlformats-officedocument.drawingml.chart+xml"/>
  <Override PartName="/ppt/charts/chart4379.xml" ContentType="application/vnd.openxmlformats-officedocument.drawingml.chart+xml"/>
  <Override PartName="/ppt/charts/chart438.xml" ContentType="application/vnd.openxmlformats-officedocument.drawingml.chart+xml"/>
  <Override PartName="/ppt/charts/chart4380.xml" ContentType="application/vnd.openxmlformats-officedocument.drawingml.chart+xml"/>
  <Override PartName="/ppt/charts/chart4381.xml" ContentType="application/vnd.openxmlformats-officedocument.drawingml.chart+xml"/>
  <Override PartName="/ppt/charts/chart4382.xml" ContentType="application/vnd.openxmlformats-officedocument.drawingml.chart+xml"/>
  <Override PartName="/ppt/charts/chart4383.xml" ContentType="application/vnd.openxmlformats-officedocument.drawingml.chart+xml"/>
  <Override PartName="/ppt/charts/chart4384.xml" ContentType="application/vnd.openxmlformats-officedocument.drawingml.chart+xml"/>
  <Override PartName="/ppt/charts/chart4385.xml" ContentType="application/vnd.openxmlformats-officedocument.drawingml.chart+xml"/>
  <Override PartName="/ppt/charts/chart4386.xml" ContentType="application/vnd.openxmlformats-officedocument.drawingml.chart+xml"/>
  <Override PartName="/ppt/charts/chart4387.xml" ContentType="application/vnd.openxmlformats-officedocument.drawingml.chart+xml"/>
  <Override PartName="/ppt/charts/chart4388.xml" ContentType="application/vnd.openxmlformats-officedocument.drawingml.chart+xml"/>
  <Override PartName="/ppt/charts/chart4389.xml" ContentType="application/vnd.openxmlformats-officedocument.drawingml.chart+xml"/>
  <Override PartName="/ppt/charts/chart439.xml" ContentType="application/vnd.openxmlformats-officedocument.drawingml.chart+xml"/>
  <Override PartName="/ppt/charts/chart4390.xml" ContentType="application/vnd.openxmlformats-officedocument.drawingml.chart+xml"/>
  <Override PartName="/ppt/charts/chart4391.xml" ContentType="application/vnd.openxmlformats-officedocument.drawingml.chart+xml"/>
  <Override PartName="/ppt/charts/chart4392.xml" ContentType="application/vnd.openxmlformats-officedocument.drawingml.chart+xml"/>
  <Override PartName="/ppt/charts/chart4393.xml" ContentType="application/vnd.openxmlformats-officedocument.drawingml.chart+xml"/>
  <Override PartName="/ppt/charts/chart4394.xml" ContentType="application/vnd.openxmlformats-officedocument.drawingml.chart+xml"/>
  <Override PartName="/ppt/charts/chart4395.xml" ContentType="application/vnd.openxmlformats-officedocument.drawingml.chart+xml"/>
  <Override PartName="/ppt/charts/chart4396.xml" ContentType="application/vnd.openxmlformats-officedocument.drawingml.chart+xml"/>
  <Override PartName="/ppt/charts/chart4397.xml" ContentType="application/vnd.openxmlformats-officedocument.drawingml.chart+xml"/>
  <Override PartName="/ppt/charts/chart4398.xml" ContentType="application/vnd.openxmlformats-officedocument.drawingml.chart+xml"/>
  <Override PartName="/ppt/charts/chart439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00.xml" ContentType="application/vnd.openxmlformats-officedocument.drawingml.chart+xml"/>
  <Override PartName="/ppt/charts/chart4401.xml" ContentType="application/vnd.openxmlformats-officedocument.drawingml.chart+xml"/>
  <Override PartName="/ppt/charts/chart4402.xml" ContentType="application/vnd.openxmlformats-officedocument.drawingml.chart+xml"/>
  <Override PartName="/ppt/charts/chart4403.xml" ContentType="application/vnd.openxmlformats-officedocument.drawingml.chart+xml"/>
  <Override PartName="/ppt/charts/chart4404.xml" ContentType="application/vnd.openxmlformats-officedocument.drawingml.chart+xml"/>
  <Override PartName="/ppt/charts/chart4405.xml" ContentType="application/vnd.openxmlformats-officedocument.drawingml.chart+xml"/>
  <Override PartName="/ppt/charts/chart4406.xml" ContentType="application/vnd.openxmlformats-officedocument.drawingml.chart+xml"/>
  <Override PartName="/ppt/charts/chart4407.xml" ContentType="application/vnd.openxmlformats-officedocument.drawingml.chart+xml"/>
  <Override PartName="/ppt/charts/chart4408.xml" ContentType="application/vnd.openxmlformats-officedocument.drawingml.chart+xml"/>
  <Override PartName="/ppt/charts/chart4409.xml" ContentType="application/vnd.openxmlformats-officedocument.drawingml.chart+xml"/>
  <Override PartName="/ppt/charts/chart441.xml" ContentType="application/vnd.openxmlformats-officedocument.drawingml.chart+xml"/>
  <Override PartName="/ppt/charts/chart4410.xml" ContentType="application/vnd.openxmlformats-officedocument.drawingml.chart+xml"/>
  <Override PartName="/ppt/charts/chart4411.xml" ContentType="application/vnd.openxmlformats-officedocument.drawingml.chart+xml"/>
  <Override PartName="/ppt/charts/chart4412.xml" ContentType="application/vnd.openxmlformats-officedocument.drawingml.chart+xml"/>
  <Override PartName="/ppt/charts/chart4413.xml" ContentType="application/vnd.openxmlformats-officedocument.drawingml.chart+xml"/>
  <Override PartName="/ppt/charts/chart4414.xml" ContentType="application/vnd.openxmlformats-officedocument.drawingml.chart+xml"/>
  <Override PartName="/ppt/charts/chart4415.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00.xml" ContentType="application/vnd.openxmlformats-officedocument.presentationml.notesSlide+xml"/>
  <Override PartName="/ppt/notesSlides/notesSlide1001.xml" ContentType="application/vnd.openxmlformats-officedocument.presentationml.notesSlide+xml"/>
  <Override PartName="/ppt/notesSlides/notesSlide1002.xml" ContentType="application/vnd.openxmlformats-officedocument.presentationml.notesSlide+xml"/>
  <Override PartName="/ppt/notesSlides/notesSlide1003.xml" ContentType="application/vnd.openxmlformats-officedocument.presentationml.notesSlide+xml"/>
  <Override PartName="/ppt/notesSlides/notesSlide1004.xml" ContentType="application/vnd.openxmlformats-officedocument.presentationml.notesSlide+xml"/>
  <Override PartName="/ppt/notesSlides/notesSlide1005.xml" ContentType="application/vnd.openxmlformats-officedocument.presentationml.notesSlide+xml"/>
  <Override PartName="/ppt/notesSlides/notesSlide1006.xml" ContentType="application/vnd.openxmlformats-officedocument.presentationml.notesSlide+xml"/>
  <Override PartName="/ppt/notesSlides/notesSlide1007.xml" ContentType="application/vnd.openxmlformats-officedocument.presentationml.notesSlide+xml"/>
  <Override PartName="/ppt/notesSlides/notesSlide1008.xml" ContentType="application/vnd.openxmlformats-officedocument.presentationml.notesSlide+xml"/>
  <Override PartName="/ppt/notesSlides/notesSlide1009.xml" ContentType="application/vnd.openxmlformats-officedocument.presentationml.notesSlide+xml"/>
  <Override PartName="/ppt/notesSlides/notesSlide101.xml" ContentType="application/vnd.openxmlformats-officedocument.presentationml.notesSlide+xml"/>
  <Override PartName="/ppt/notesSlides/notesSlide1010.xml" ContentType="application/vnd.openxmlformats-officedocument.presentationml.notesSlide+xml"/>
  <Override PartName="/ppt/notesSlides/notesSlide1011.xml" ContentType="application/vnd.openxmlformats-officedocument.presentationml.notesSlide+xml"/>
  <Override PartName="/ppt/notesSlides/notesSlide1012.xml" ContentType="application/vnd.openxmlformats-officedocument.presentationml.notesSlide+xml"/>
  <Override PartName="/ppt/notesSlides/notesSlide1013.xml" ContentType="application/vnd.openxmlformats-officedocument.presentationml.notesSlide+xml"/>
  <Override PartName="/ppt/notesSlides/notesSlide1014.xml" ContentType="application/vnd.openxmlformats-officedocument.presentationml.notesSlide+xml"/>
  <Override PartName="/ppt/notesSlides/notesSlide1015.xml" ContentType="application/vnd.openxmlformats-officedocument.presentationml.notesSlide+xml"/>
  <Override PartName="/ppt/notesSlides/notesSlide1016.xml" ContentType="application/vnd.openxmlformats-officedocument.presentationml.notesSlide+xml"/>
  <Override PartName="/ppt/notesSlides/notesSlide1017.xml" ContentType="application/vnd.openxmlformats-officedocument.presentationml.notesSlide+xml"/>
  <Override PartName="/ppt/notesSlides/notesSlide1018.xml" ContentType="application/vnd.openxmlformats-officedocument.presentationml.notesSlide+xml"/>
  <Override PartName="/ppt/notesSlides/notesSlide1019.xml" ContentType="application/vnd.openxmlformats-officedocument.presentationml.notesSlide+xml"/>
  <Override PartName="/ppt/notesSlides/notesSlide102.xml" ContentType="application/vnd.openxmlformats-officedocument.presentationml.notesSlide+xml"/>
  <Override PartName="/ppt/notesSlides/notesSlide1020.xml" ContentType="application/vnd.openxmlformats-officedocument.presentationml.notesSlide+xml"/>
  <Override PartName="/ppt/notesSlides/notesSlide1021.xml" ContentType="application/vnd.openxmlformats-officedocument.presentationml.notesSlide+xml"/>
  <Override PartName="/ppt/notesSlides/notesSlide1022.xml" ContentType="application/vnd.openxmlformats-officedocument.presentationml.notesSlide+xml"/>
  <Override PartName="/ppt/notesSlides/notesSlide1023.xml" ContentType="application/vnd.openxmlformats-officedocument.presentationml.notesSlide+xml"/>
  <Override PartName="/ppt/notesSlides/notesSlide1024.xml" ContentType="application/vnd.openxmlformats-officedocument.presentationml.notesSlide+xml"/>
  <Override PartName="/ppt/notesSlides/notesSlide1025.xml" ContentType="application/vnd.openxmlformats-officedocument.presentationml.notesSlide+xml"/>
  <Override PartName="/ppt/notesSlides/notesSlide1026.xml" ContentType="application/vnd.openxmlformats-officedocument.presentationml.notesSlide+xml"/>
  <Override PartName="/ppt/notesSlides/notesSlide1027.xml" ContentType="application/vnd.openxmlformats-officedocument.presentationml.notesSlide+xml"/>
  <Override PartName="/ppt/notesSlides/notesSlide1028.xml" ContentType="application/vnd.openxmlformats-officedocument.presentationml.notesSlide+xml"/>
  <Override PartName="/ppt/notesSlides/notesSlide1029.xml" ContentType="application/vnd.openxmlformats-officedocument.presentationml.notesSlide+xml"/>
  <Override PartName="/ppt/notesSlides/notesSlide103.xml" ContentType="application/vnd.openxmlformats-officedocument.presentationml.notesSlide+xml"/>
  <Override PartName="/ppt/notesSlides/notesSlide1030.xml" ContentType="application/vnd.openxmlformats-officedocument.presentationml.notesSlide+xml"/>
  <Override PartName="/ppt/notesSlides/notesSlide1031.xml" ContentType="application/vnd.openxmlformats-officedocument.presentationml.notesSlide+xml"/>
  <Override PartName="/ppt/notesSlides/notesSlide1032.xml" ContentType="application/vnd.openxmlformats-officedocument.presentationml.notesSlide+xml"/>
  <Override PartName="/ppt/notesSlides/notesSlide1033.xml" ContentType="application/vnd.openxmlformats-officedocument.presentationml.notesSlide+xml"/>
  <Override PartName="/ppt/notesSlides/notesSlide1034.xml" ContentType="application/vnd.openxmlformats-officedocument.presentationml.notesSlide+xml"/>
  <Override PartName="/ppt/notesSlides/notesSlide1035.xml" ContentType="application/vnd.openxmlformats-officedocument.presentationml.notesSlide+xml"/>
  <Override PartName="/ppt/notesSlides/notesSlide1036.xml" ContentType="application/vnd.openxmlformats-officedocument.presentationml.notesSlide+xml"/>
  <Override PartName="/ppt/notesSlides/notesSlide1037.xml" ContentType="application/vnd.openxmlformats-officedocument.presentationml.notesSlide+xml"/>
  <Override PartName="/ppt/notesSlides/notesSlide1038.xml" ContentType="application/vnd.openxmlformats-officedocument.presentationml.notesSlide+xml"/>
  <Override PartName="/ppt/notesSlides/notesSlide1039.xml" ContentType="application/vnd.openxmlformats-officedocument.presentationml.notesSlide+xml"/>
  <Override PartName="/ppt/notesSlides/notesSlide104.xml" ContentType="application/vnd.openxmlformats-officedocument.presentationml.notesSlide+xml"/>
  <Override PartName="/ppt/notesSlides/notesSlide1040.xml" ContentType="application/vnd.openxmlformats-officedocument.presentationml.notesSlide+xml"/>
  <Override PartName="/ppt/notesSlides/notesSlide1041.xml" ContentType="application/vnd.openxmlformats-officedocument.presentationml.notesSlide+xml"/>
  <Override PartName="/ppt/notesSlides/notesSlide1042.xml" ContentType="application/vnd.openxmlformats-officedocument.presentationml.notesSlide+xml"/>
  <Override PartName="/ppt/notesSlides/notesSlide1043.xml" ContentType="application/vnd.openxmlformats-officedocument.presentationml.notesSlide+xml"/>
  <Override PartName="/ppt/notesSlides/notesSlide1044.xml" ContentType="application/vnd.openxmlformats-officedocument.presentationml.notesSlide+xml"/>
  <Override PartName="/ppt/notesSlides/notesSlide1045.xml" ContentType="application/vnd.openxmlformats-officedocument.presentationml.notesSlide+xml"/>
  <Override PartName="/ppt/notesSlides/notesSlide1046.xml" ContentType="application/vnd.openxmlformats-officedocument.presentationml.notesSlide+xml"/>
  <Override PartName="/ppt/notesSlides/notesSlide1047.xml" ContentType="application/vnd.openxmlformats-officedocument.presentationml.notesSlide+xml"/>
  <Override PartName="/ppt/notesSlides/notesSlide1048.xml" ContentType="application/vnd.openxmlformats-officedocument.presentationml.notesSlide+xml"/>
  <Override PartName="/ppt/notesSlides/notesSlide1049.xml" ContentType="application/vnd.openxmlformats-officedocument.presentationml.notesSlide+xml"/>
  <Override PartName="/ppt/notesSlides/notesSlide105.xml" ContentType="application/vnd.openxmlformats-officedocument.presentationml.notesSlide+xml"/>
  <Override PartName="/ppt/notesSlides/notesSlide1050.xml" ContentType="application/vnd.openxmlformats-officedocument.presentationml.notesSlide+xml"/>
  <Override PartName="/ppt/notesSlides/notesSlide1051.xml" ContentType="application/vnd.openxmlformats-officedocument.presentationml.notesSlide+xml"/>
  <Override PartName="/ppt/notesSlides/notesSlide1052.xml" ContentType="application/vnd.openxmlformats-officedocument.presentationml.notesSlide+xml"/>
  <Override PartName="/ppt/notesSlides/notesSlide1053.xml" ContentType="application/vnd.openxmlformats-officedocument.presentationml.notesSlide+xml"/>
  <Override PartName="/ppt/notesSlides/notesSlide1054.xml" ContentType="application/vnd.openxmlformats-officedocument.presentationml.notesSlide+xml"/>
  <Override PartName="/ppt/notesSlides/notesSlide1055.xml" ContentType="application/vnd.openxmlformats-officedocument.presentationml.notesSlide+xml"/>
  <Override PartName="/ppt/notesSlides/notesSlide1056.xml" ContentType="application/vnd.openxmlformats-officedocument.presentationml.notesSlide+xml"/>
  <Override PartName="/ppt/notesSlides/notesSlide1057.xml" ContentType="application/vnd.openxmlformats-officedocument.presentationml.notesSlide+xml"/>
  <Override PartName="/ppt/notesSlides/notesSlide1058.xml" ContentType="application/vnd.openxmlformats-officedocument.presentationml.notesSlide+xml"/>
  <Override PartName="/ppt/notesSlides/notesSlide1059.xml" ContentType="application/vnd.openxmlformats-officedocument.presentationml.notesSlide+xml"/>
  <Override PartName="/ppt/notesSlides/notesSlide106.xml" ContentType="application/vnd.openxmlformats-officedocument.presentationml.notesSlide+xml"/>
  <Override PartName="/ppt/notesSlides/notesSlide1060.xml" ContentType="application/vnd.openxmlformats-officedocument.presentationml.notesSlide+xml"/>
  <Override PartName="/ppt/notesSlides/notesSlide1061.xml" ContentType="application/vnd.openxmlformats-officedocument.presentationml.notesSlide+xml"/>
  <Override PartName="/ppt/notesSlides/notesSlide1062.xml" ContentType="application/vnd.openxmlformats-officedocument.presentationml.notesSlide+xml"/>
  <Override PartName="/ppt/notesSlides/notesSlide1063.xml" ContentType="application/vnd.openxmlformats-officedocument.presentationml.notesSlide+xml"/>
  <Override PartName="/ppt/notesSlides/notesSlide1064.xml" ContentType="application/vnd.openxmlformats-officedocument.presentationml.notesSlide+xml"/>
  <Override PartName="/ppt/notesSlides/notesSlide1065.xml" ContentType="application/vnd.openxmlformats-officedocument.presentationml.notesSlide+xml"/>
  <Override PartName="/ppt/notesSlides/notesSlide1066.xml" ContentType="application/vnd.openxmlformats-officedocument.presentationml.notesSlide+xml"/>
  <Override PartName="/ppt/notesSlides/notesSlide1067.xml" ContentType="application/vnd.openxmlformats-officedocument.presentationml.notesSlide+xml"/>
  <Override PartName="/ppt/notesSlides/notesSlide1068.xml" ContentType="application/vnd.openxmlformats-officedocument.presentationml.notesSlide+xml"/>
  <Override PartName="/ppt/notesSlides/notesSlide1069.xml" ContentType="application/vnd.openxmlformats-officedocument.presentationml.notesSlide+xml"/>
  <Override PartName="/ppt/notesSlides/notesSlide107.xml" ContentType="application/vnd.openxmlformats-officedocument.presentationml.notesSlide+xml"/>
  <Override PartName="/ppt/notesSlides/notesSlide1070.xml" ContentType="application/vnd.openxmlformats-officedocument.presentationml.notesSlide+xml"/>
  <Override PartName="/ppt/notesSlides/notesSlide1071.xml" ContentType="application/vnd.openxmlformats-officedocument.presentationml.notesSlide+xml"/>
  <Override PartName="/ppt/notesSlides/notesSlide1072.xml" ContentType="application/vnd.openxmlformats-officedocument.presentationml.notesSlide+xml"/>
  <Override PartName="/ppt/notesSlides/notesSlide1073.xml" ContentType="application/vnd.openxmlformats-officedocument.presentationml.notesSlide+xml"/>
  <Override PartName="/ppt/notesSlides/notesSlide1074.xml" ContentType="application/vnd.openxmlformats-officedocument.presentationml.notesSlide+xml"/>
  <Override PartName="/ppt/notesSlides/notesSlide1075.xml" ContentType="application/vnd.openxmlformats-officedocument.presentationml.notesSlide+xml"/>
  <Override PartName="/ppt/notesSlides/notesSlide1076.xml" ContentType="application/vnd.openxmlformats-officedocument.presentationml.notesSlide+xml"/>
  <Override PartName="/ppt/notesSlides/notesSlide1077.xml" ContentType="application/vnd.openxmlformats-officedocument.presentationml.notesSlide+xml"/>
  <Override PartName="/ppt/notesSlides/notesSlide1078.xml" ContentType="application/vnd.openxmlformats-officedocument.presentationml.notesSlide+xml"/>
  <Override PartName="/ppt/notesSlides/notesSlide1079.xml" ContentType="application/vnd.openxmlformats-officedocument.presentationml.notesSlide+xml"/>
  <Override PartName="/ppt/notesSlides/notesSlide108.xml" ContentType="application/vnd.openxmlformats-officedocument.presentationml.notesSlide+xml"/>
  <Override PartName="/ppt/notesSlides/notesSlide1080.xml" ContentType="application/vnd.openxmlformats-officedocument.presentationml.notesSlide+xml"/>
  <Override PartName="/ppt/notesSlides/notesSlide1081.xml" ContentType="application/vnd.openxmlformats-officedocument.presentationml.notesSlide+xml"/>
  <Override PartName="/ppt/notesSlides/notesSlide1082.xml" ContentType="application/vnd.openxmlformats-officedocument.presentationml.notesSlide+xml"/>
  <Override PartName="/ppt/notesSlides/notesSlide1083.xml" ContentType="application/vnd.openxmlformats-officedocument.presentationml.notesSlide+xml"/>
  <Override PartName="/ppt/notesSlides/notesSlide1084.xml" ContentType="application/vnd.openxmlformats-officedocument.presentationml.notesSlide+xml"/>
  <Override PartName="/ppt/notesSlides/notesSlide1085.xml" ContentType="application/vnd.openxmlformats-officedocument.presentationml.notesSlide+xml"/>
  <Override PartName="/ppt/notesSlides/notesSlide1086.xml" ContentType="application/vnd.openxmlformats-officedocument.presentationml.notesSlide+xml"/>
  <Override PartName="/ppt/notesSlides/notesSlide1087.xml" ContentType="application/vnd.openxmlformats-officedocument.presentationml.notesSlide+xml"/>
  <Override PartName="/ppt/notesSlides/notesSlide1088.xml" ContentType="application/vnd.openxmlformats-officedocument.presentationml.notesSlide+xml"/>
  <Override PartName="/ppt/notesSlides/notesSlide1089.xml" ContentType="application/vnd.openxmlformats-officedocument.presentationml.notesSlide+xml"/>
  <Override PartName="/ppt/notesSlides/notesSlide109.xml" ContentType="application/vnd.openxmlformats-officedocument.presentationml.notesSlide+xml"/>
  <Override PartName="/ppt/notesSlides/notesSlide1090.xml" ContentType="application/vnd.openxmlformats-officedocument.presentationml.notesSlide+xml"/>
  <Override PartName="/ppt/notesSlides/notesSlide1091.xml" ContentType="application/vnd.openxmlformats-officedocument.presentationml.notesSlide+xml"/>
  <Override PartName="/ppt/notesSlides/notesSlide1092.xml" ContentType="application/vnd.openxmlformats-officedocument.presentationml.notesSlide+xml"/>
  <Override PartName="/ppt/notesSlides/notesSlide1093.xml" ContentType="application/vnd.openxmlformats-officedocument.presentationml.notesSlide+xml"/>
  <Override PartName="/ppt/notesSlides/notesSlide1094.xml" ContentType="application/vnd.openxmlformats-officedocument.presentationml.notesSlide+xml"/>
  <Override PartName="/ppt/notesSlides/notesSlide1095.xml" ContentType="application/vnd.openxmlformats-officedocument.presentationml.notesSlide+xml"/>
  <Override PartName="/ppt/notesSlides/notesSlide1096.xml" ContentType="application/vnd.openxmlformats-officedocument.presentationml.notesSlide+xml"/>
  <Override PartName="/ppt/notesSlides/notesSlide1097.xml" ContentType="application/vnd.openxmlformats-officedocument.presentationml.notesSlide+xml"/>
  <Override PartName="/ppt/notesSlides/notesSlide1098.xml" ContentType="application/vnd.openxmlformats-officedocument.presentationml.notesSlide+xml"/>
  <Override PartName="/ppt/notesSlides/notesSlide109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00.xml" ContentType="application/vnd.openxmlformats-officedocument.presentationml.notesSlide+xml"/>
  <Override PartName="/ppt/notesSlides/notesSlide1101.xml" ContentType="application/vnd.openxmlformats-officedocument.presentationml.notesSlide+xml"/>
  <Override PartName="/ppt/notesSlides/notesSlide1102.xml" ContentType="application/vnd.openxmlformats-officedocument.presentationml.notesSlide+xml"/>
  <Override PartName="/ppt/notesSlides/notesSlide1103.xml" ContentType="application/vnd.openxmlformats-officedocument.presentationml.notesSlide+xml"/>
  <Override PartName="/ppt/notesSlides/notesSlide1104.xml" ContentType="application/vnd.openxmlformats-officedocument.presentationml.notesSlide+xml"/>
  <Override PartName="/ppt/notesSlides/notesSlide1105.xml" ContentType="application/vnd.openxmlformats-officedocument.presentationml.notesSlide+xml"/>
  <Override PartName="/ppt/notesSlides/notesSlide1106.xml" ContentType="application/vnd.openxmlformats-officedocument.presentationml.notesSlide+xml"/>
  <Override PartName="/ppt/notesSlides/notesSlide1107.xml" ContentType="application/vnd.openxmlformats-officedocument.presentationml.notesSlide+xml"/>
  <Override PartName="/ppt/notesSlides/notesSlide1108.xml" ContentType="application/vnd.openxmlformats-officedocument.presentationml.notesSlide+xml"/>
  <Override PartName="/ppt/notesSlides/notesSlide1109.xml" ContentType="application/vnd.openxmlformats-officedocument.presentationml.notesSlide+xml"/>
  <Override PartName="/ppt/notesSlides/notesSlide111.xml" ContentType="application/vnd.openxmlformats-officedocument.presentationml.notesSlide+xml"/>
  <Override PartName="/ppt/notesSlides/notesSlide1110.xml" ContentType="application/vnd.openxmlformats-officedocument.presentationml.notesSlide+xml"/>
  <Override PartName="/ppt/notesSlides/notesSlide1111.xml" ContentType="application/vnd.openxmlformats-officedocument.presentationml.notesSlide+xml"/>
  <Override PartName="/ppt/notesSlides/notesSlide1112.xml" ContentType="application/vnd.openxmlformats-officedocument.presentationml.notesSlide+xml"/>
  <Override PartName="/ppt/notesSlides/notesSlide1113.xml" ContentType="application/vnd.openxmlformats-officedocument.presentationml.notesSlide+xml"/>
  <Override PartName="/ppt/notesSlides/notesSlide1114.xml" ContentType="application/vnd.openxmlformats-officedocument.presentationml.notesSlide+xml"/>
  <Override PartName="/ppt/notesSlides/notesSlide1115.xml" ContentType="application/vnd.openxmlformats-officedocument.presentationml.notesSlide+xml"/>
  <Override PartName="/ppt/notesSlides/notesSlide1116.xml" ContentType="application/vnd.openxmlformats-officedocument.presentationml.notesSlide+xml"/>
  <Override PartName="/ppt/notesSlides/notesSlide1117.xml" ContentType="application/vnd.openxmlformats-officedocument.presentationml.notesSlide+xml"/>
  <Override PartName="/ppt/notesSlides/notesSlide1118.xml" ContentType="application/vnd.openxmlformats-officedocument.presentationml.notesSlide+xml"/>
  <Override PartName="/ppt/notesSlides/notesSlide1119.xml" ContentType="application/vnd.openxmlformats-officedocument.presentationml.notesSlide+xml"/>
  <Override PartName="/ppt/notesSlides/notesSlide112.xml" ContentType="application/vnd.openxmlformats-officedocument.presentationml.notesSlide+xml"/>
  <Override PartName="/ppt/notesSlides/notesSlide1120.xml" ContentType="application/vnd.openxmlformats-officedocument.presentationml.notesSlide+xml"/>
  <Override PartName="/ppt/notesSlides/notesSlide1121.xml" ContentType="application/vnd.openxmlformats-officedocument.presentationml.notesSlide+xml"/>
  <Override PartName="/ppt/notesSlides/notesSlide1122.xml" ContentType="application/vnd.openxmlformats-officedocument.presentationml.notesSlide+xml"/>
  <Override PartName="/ppt/notesSlides/notesSlide1123.xml" ContentType="application/vnd.openxmlformats-officedocument.presentationml.notesSlide+xml"/>
  <Override PartName="/ppt/notesSlides/notesSlide1124.xml" ContentType="application/vnd.openxmlformats-officedocument.presentationml.notesSlide+xml"/>
  <Override PartName="/ppt/notesSlides/notesSlide1125.xml" ContentType="application/vnd.openxmlformats-officedocument.presentationml.notesSlide+xml"/>
  <Override PartName="/ppt/notesSlides/notesSlide1126.xml" ContentType="application/vnd.openxmlformats-officedocument.presentationml.notesSlide+xml"/>
  <Override PartName="/ppt/notesSlides/notesSlide1127.xml" ContentType="application/vnd.openxmlformats-officedocument.presentationml.notesSlide+xml"/>
  <Override PartName="/ppt/notesSlides/notesSlide1128.xml" ContentType="application/vnd.openxmlformats-officedocument.presentationml.notesSlide+xml"/>
  <Override PartName="/ppt/notesSlides/notesSlide1129.xml" ContentType="application/vnd.openxmlformats-officedocument.presentationml.notesSlide+xml"/>
  <Override PartName="/ppt/notesSlides/notesSlide113.xml" ContentType="application/vnd.openxmlformats-officedocument.presentationml.notesSlide+xml"/>
  <Override PartName="/ppt/notesSlides/notesSlide1130.xml" ContentType="application/vnd.openxmlformats-officedocument.presentationml.notesSlide+xml"/>
  <Override PartName="/ppt/notesSlides/notesSlide1131.xml" ContentType="application/vnd.openxmlformats-officedocument.presentationml.notesSlide+xml"/>
  <Override PartName="/ppt/notesSlides/notesSlide1132.xml" ContentType="application/vnd.openxmlformats-officedocument.presentationml.notesSlide+xml"/>
  <Override PartName="/ppt/notesSlides/notesSlide1133.xml" ContentType="application/vnd.openxmlformats-officedocument.presentationml.notesSlide+xml"/>
  <Override PartName="/ppt/notesSlides/notesSlide1134.xml" ContentType="application/vnd.openxmlformats-officedocument.presentationml.notesSlide+xml"/>
  <Override PartName="/ppt/notesSlides/notesSlide1135.xml" ContentType="application/vnd.openxmlformats-officedocument.presentationml.notesSlide+xml"/>
  <Override PartName="/ppt/notesSlides/notesSlide1136.xml" ContentType="application/vnd.openxmlformats-officedocument.presentationml.notesSlide+xml"/>
  <Override PartName="/ppt/notesSlides/notesSlide1137.xml" ContentType="application/vnd.openxmlformats-officedocument.presentationml.notesSlide+xml"/>
  <Override PartName="/ppt/notesSlides/notesSlide1138.xml" ContentType="application/vnd.openxmlformats-officedocument.presentationml.notesSlide+xml"/>
  <Override PartName="/ppt/notesSlides/notesSlide1139.xml" ContentType="application/vnd.openxmlformats-officedocument.presentationml.notesSlide+xml"/>
  <Override PartName="/ppt/notesSlides/notesSlide114.xml" ContentType="application/vnd.openxmlformats-officedocument.presentationml.notesSlide+xml"/>
  <Override PartName="/ppt/notesSlides/notesSlide1140.xml" ContentType="application/vnd.openxmlformats-officedocument.presentationml.notesSlide+xml"/>
  <Override PartName="/ppt/notesSlides/notesSlide1141.xml" ContentType="application/vnd.openxmlformats-officedocument.presentationml.notesSlide+xml"/>
  <Override PartName="/ppt/notesSlides/notesSlide1142.xml" ContentType="application/vnd.openxmlformats-officedocument.presentationml.notesSlide+xml"/>
  <Override PartName="/ppt/notesSlides/notesSlide1143.xml" ContentType="application/vnd.openxmlformats-officedocument.presentationml.notesSlide+xml"/>
  <Override PartName="/ppt/notesSlides/notesSlide1144.xml" ContentType="application/vnd.openxmlformats-officedocument.presentationml.notesSlide+xml"/>
  <Override PartName="/ppt/notesSlides/notesSlide1145.xml" ContentType="application/vnd.openxmlformats-officedocument.presentationml.notesSlide+xml"/>
  <Override PartName="/ppt/notesSlides/notesSlide1146.xml" ContentType="application/vnd.openxmlformats-officedocument.presentationml.notesSlide+xml"/>
  <Override PartName="/ppt/notesSlides/notesSlide1147.xml" ContentType="application/vnd.openxmlformats-officedocument.presentationml.notesSlide+xml"/>
  <Override PartName="/ppt/notesSlides/notesSlide1148.xml" ContentType="application/vnd.openxmlformats-officedocument.presentationml.notesSlide+xml"/>
  <Override PartName="/ppt/notesSlides/notesSlide1149.xml" ContentType="application/vnd.openxmlformats-officedocument.presentationml.notesSlide+xml"/>
  <Override PartName="/ppt/notesSlides/notesSlide115.xml" ContentType="application/vnd.openxmlformats-officedocument.presentationml.notesSlide+xml"/>
  <Override PartName="/ppt/notesSlides/notesSlide1150.xml" ContentType="application/vnd.openxmlformats-officedocument.presentationml.notesSlide+xml"/>
  <Override PartName="/ppt/notesSlides/notesSlide1151.xml" ContentType="application/vnd.openxmlformats-officedocument.presentationml.notesSlide+xml"/>
  <Override PartName="/ppt/notesSlides/notesSlide1152.xml" ContentType="application/vnd.openxmlformats-officedocument.presentationml.notesSlide+xml"/>
  <Override PartName="/ppt/notesSlides/notesSlide1153.xml" ContentType="application/vnd.openxmlformats-officedocument.presentationml.notesSlide+xml"/>
  <Override PartName="/ppt/notesSlides/notesSlide1154.xml" ContentType="application/vnd.openxmlformats-officedocument.presentationml.notesSlide+xml"/>
  <Override PartName="/ppt/notesSlides/notesSlide1155.xml" ContentType="application/vnd.openxmlformats-officedocument.presentationml.notesSlide+xml"/>
  <Override PartName="/ppt/notesSlides/notesSlide1156.xml" ContentType="application/vnd.openxmlformats-officedocument.presentationml.notesSlide+xml"/>
  <Override PartName="/ppt/notesSlides/notesSlide1157.xml" ContentType="application/vnd.openxmlformats-officedocument.presentationml.notesSlide+xml"/>
  <Override PartName="/ppt/notesSlides/notesSlide1158.xml" ContentType="application/vnd.openxmlformats-officedocument.presentationml.notesSlide+xml"/>
  <Override PartName="/ppt/notesSlides/notesSlide1159.xml" ContentType="application/vnd.openxmlformats-officedocument.presentationml.notesSlide+xml"/>
  <Override PartName="/ppt/notesSlides/notesSlide116.xml" ContentType="application/vnd.openxmlformats-officedocument.presentationml.notesSlide+xml"/>
  <Override PartName="/ppt/notesSlides/notesSlide1160.xml" ContentType="application/vnd.openxmlformats-officedocument.presentationml.notesSlide+xml"/>
  <Override PartName="/ppt/notesSlides/notesSlide1161.xml" ContentType="application/vnd.openxmlformats-officedocument.presentationml.notesSlide+xml"/>
  <Override PartName="/ppt/notesSlides/notesSlide1162.xml" ContentType="application/vnd.openxmlformats-officedocument.presentationml.notesSlide+xml"/>
  <Override PartName="/ppt/notesSlides/notesSlide1163.xml" ContentType="application/vnd.openxmlformats-officedocument.presentationml.notesSlide+xml"/>
  <Override PartName="/ppt/notesSlides/notesSlide1164.xml" ContentType="application/vnd.openxmlformats-officedocument.presentationml.notesSlide+xml"/>
  <Override PartName="/ppt/notesSlides/notesSlide1165.xml" ContentType="application/vnd.openxmlformats-officedocument.presentationml.notesSlide+xml"/>
  <Override PartName="/ppt/notesSlides/notesSlide1166.xml" ContentType="application/vnd.openxmlformats-officedocument.presentationml.notesSlide+xml"/>
  <Override PartName="/ppt/notesSlides/notesSlide1167.xml" ContentType="application/vnd.openxmlformats-officedocument.presentationml.notesSlide+xml"/>
  <Override PartName="/ppt/notesSlides/notesSlide1168.xml" ContentType="application/vnd.openxmlformats-officedocument.presentationml.notesSlide+xml"/>
  <Override PartName="/ppt/notesSlides/notesSlide1169.xml" ContentType="application/vnd.openxmlformats-officedocument.presentationml.notesSlide+xml"/>
  <Override PartName="/ppt/notesSlides/notesSlide117.xml" ContentType="application/vnd.openxmlformats-officedocument.presentationml.notesSlide+xml"/>
  <Override PartName="/ppt/notesSlides/notesSlide1170.xml" ContentType="application/vnd.openxmlformats-officedocument.presentationml.notesSlide+xml"/>
  <Override PartName="/ppt/notesSlides/notesSlide1171.xml" ContentType="application/vnd.openxmlformats-officedocument.presentationml.notesSlide+xml"/>
  <Override PartName="/ppt/notesSlides/notesSlide1172.xml" ContentType="application/vnd.openxmlformats-officedocument.presentationml.notesSlide+xml"/>
  <Override PartName="/ppt/notesSlides/notesSlide1173.xml" ContentType="application/vnd.openxmlformats-officedocument.presentationml.notesSlide+xml"/>
  <Override PartName="/ppt/notesSlides/notesSlide1174.xml" ContentType="application/vnd.openxmlformats-officedocument.presentationml.notesSlide+xml"/>
  <Override PartName="/ppt/notesSlides/notesSlide1175.xml" ContentType="application/vnd.openxmlformats-officedocument.presentationml.notesSlide+xml"/>
  <Override PartName="/ppt/notesSlides/notesSlide1176.xml" ContentType="application/vnd.openxmlformats-officedocument.presentationml.notesSlide+xml"/>
  <Override PartName="/ppt/notesSlides/notesSlide1177.xml" ContentType="application/vnd.openxmlformats-officedocument.presentationml.notesSlide+xml"/>
  <Override PartName="/ppt/notesSlides/notesSlide1178.xml" ContentType="application/vnd.openxmlformats-officedocument.presentationml.notesSlide+xml"/>
  <Override PartName="/ppt/notesSlides/notesSlide1179.xml" ContentType="application/vnd.openxmlformats-officedocument.presentationml.notesSlide+xml"/>
  <Override PartName="/ppt/notesSlides/notesSlide118.xml" ContentType="application/vnd.openxmlformats-officedocument.presentationml.notesSlide+xml"/>
  <Override PartName="/ppt/notesSlides/notesSlide1180.xml" ContentType="application/vnd.openxmlformats-officedocument.presentationml.notesSlide+xml"/>
  <Override PartName="/ppt/notesSlides/notesSlide1181.xml" ContentType="application/vnd.openxmlformats-officedocument.presentationml.notesSlide+xml"/>
  <Override PartName="/ppt/notesSlides/notesSlide1182.xml" ContentType="application/vnd.openxmlformats-officedocument.presentationml.notesSlide+xml"/>
  <Override PartName="/ppt/notesSlides/notesSlide1183.xml" ContentType="application/vnd.openxmlformats-officedocument.presentationml.notesSlide+xml"/>
  <Override PartName="/ppt/notesSlides/notesSlide1184.xml" ContentType="application/vnd.openxmlformats-officedocument.presentationml.notesSlide+xml"/>
  <Override PartName="/ppt/notesSlides/notesSlide1185.xml" ContentType="application/vnd.openxmlformats-officedocument.presentationml.notesSlide+xml"/>
  <Override PartName="/ppt/notesSlides/notesSlide1186.xml" ContentType="application/vnd.openxmlformats-officedocument.presentationml.notesSlide+xml"/>
  <Override PartName="/ppt/notesSlides/notesSlide1187.xml" ContentType="application/vnd.openxmlformats-officedocument.presentationml.notesSlide+xml"/>
  <Override PartName="/ppt/notesSlides/notesSlide1188.xml" ContentType="application/vnd.openxmlformats-officedocument.presentationml.notesSlide+xml"/>
  <Override PartName="/ppt/notesSlides/notesSlide1189.xml" ContentType="application/vnd.openxmlformats-officedocument.presentationml.notesSlide+xml"/>
  <Override PartName="/ppt/notesSlides/notesSlide119.xml" ContentType="application/vnd.openxmlformats-officedocument.presentationml.notesSlide+xml"/>
  <Override PartName="/ppt/notesSlides/notesSlide1190.xml" ContentType="application/vnd.openxmlformats-officedocument.presentationml.notesSlide+xml"/>
  <Override PartName="/ppt/notesSlides/notesSlide1191.xml" ContentType="application/vnd.openxmlformats-officedocument.presentationml.notesSlide+xml"/>
  <Override PartName="/ppt/notesSlides/notesSlide1192.xml" ContentType="application/vnd.openxmlformats-officedocument.presentationml.notesSlide+xml"/>
  <Override PartName="/ppt/notesSlides/notesSlide1193.xml" ContentType="application/vnd.openxmlformats-officedocument.presentationml.notesSlide+xml"/>
  <Override PartName="/ppt/notesSlides/notesSlide1194.xml" ContentType="application/vnd.openxmlformats-officedocument.presentationml.notesSlide+xml"/>
  <Override PartName="/ppt/notesSlides/notesSlide1195.xml" ContentType="application/vnd.openxmlformats-officedocument.presentationml.notesSlide+xml"/>
  <Override PartName="/ppt/notesSlides/notesSlide1196.xml" ContentType="application/vnd.openxmlformats-officedocument.presentationml.notesSlide+xml"/>
  <Override PartName="/ppt/notesSlides/notesSlide1197.xml" ContentType="application/vnd.openxmlformats-officedocument.presentationml.notesSlide+xml"/>
  <Override PartName="/ppt/notesSlides/notesSlide1198.xml" ContentType="application/vnd.openxmlformats-officedocument.presentationml.notesSlide+xml"/>
  <Override PartName="/ppt/notesSlides/notesSlide119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00.xml" ContentType="application/vnd.openxmlformats-officedocument.presentationml.notesSlide+xml"/>
  <Override PartName="/ppt/notesSlides/notesSlide1201.xml" ContentType="application/vnd.openxmlformats-officedocument.presentationml.notesSlide+xml"/>
  <Override PartName="/ppt/notesSlides/notesSlide1202.xml" ContentType="application/vnd.openxmlformats-officedocument.presentationml.notesSlide+xml"/>
  <Override PartName="/ppt/notesSlides/notesSlide1203.xml" ContentType="application/vnd.openxmlformats-officedocument.presentationml.notesSlide+xml"/>
  <Override PartName="/ppt/notesSlides/notesSlide1204.xml" ContentType="application/vnd.openxmlformats-officedocument.presentationml.notesSlide+xml"/>
  <Override PartName="/ppt/notesSlides/notesSlide1205.xml" ContentType="application/vnd.openxmlformats-officedocument.presentationml.notesSlide+xml"/>
  <Override PartName="/ppt/notesSlides/notesSlide1206.xml" ContentType="application/vnd.openxmlformats-officedocument.presentationml.notesSlide+xml"/>
  <Override PartName="/ppt/notesSlides/notesSlide1207.xml" ContentType="application/vnd.openxmlformats-officedocument.presentationml.notesSlide+xml"/>
  <Override PartName="/ppt/notesSlides/notesSlide1208.xml" ContentType="application/vnd.openxmlformats-officedocument.presentationml.notesSlide+xml"/>
  <Override PartName="/ppt/notesSlides/notesSlide1209.xml" ContentType="application/vnd.openxmlformats-officedocument.presentationml.notesSlide+xml"/>
  <Override PartName="/ppt/notesSlides/notesSlide121.xml" ContentType="application/vnd.openxmlformats-officedocument.presentationml.notesSlide+xml"/>
  <Override PartName="/ppt/notesSlides/notesSlide1210.xml" ContentType="application/vnd.openxmlformats-officedocument.presentationml.notesSlide+xml"/>
  <Override PartName="/ppt/notesSlides/notesSlide1211.xml" ContentType="application/vnd.openxmlformats-officedocument.presentationml.notesSlide+xml"/>
  <Override PartName="/ppt/notesSlides/notesSlide1212.xml" ContentType="application/vnd.openxmlformats-officedocument.presentationml.notesSlide+xml"/>
  <Override PartName="/ppt/notesSlides/notesSlide1213.xml" ContentType="application/vnd.openxmlformats-officedocument.presentationml.notesSlide+xml"/>
  <Override PartName="/ppt/notesSlides/notesSlide1214.xml" ContentType="application/vnd.openxmlformats-officedocument.presentationml.notesSlide+xml"/>
  <Override PartName="/ppt/notesSlides/notesSlide1215.xml" ContentType="application/vnd.openxmlformats-officedocument.presentationml.notesSlide+xml"/>
  <Override PartName="/ppt/notesSlides/notesSlide1216.xml" ContentType="application/vnd.openxmlformats-officedocument.presentationml.notesSlide+xml"/>
  <Override PartName="/ppt/notesSlides/notesSlide1217.xml" ContentType="application/vnd.openxmlformats-officedocument.presentationml.notesSlide+xml"/>
  <Override PartName="/ppt/notesSlides/notesSlide1218.xml" ContentType="application/vnd.openxmlformats-officedocument.presentationml.notesSlide+xml"/>
  <Override PartName="/ppt/notesSlides/notesSlide1219.xml" ContentType="application/vnd.openxmlformats-officedocument.presentationml.notesSlide+xml"/>
  <Override PartName="/ppt/notesSlides/notesSlide122.xml" ContentType="application/vnd.openxmlformats-officedocument.presentationml.notesSlide+xml"/>
  <Override PartName="/ppt/notesSlides/notesSlide1220.xml" ContentType="application/vnd.openxmlformats-officedocument.presentationml.notesSlide+xml"/>
  <Override PartName="/ppt/notesSlides/notesSlide1221.xml" ContentType="application/vnd.openxmlformats-officedocument.presentationml.notesSlide+xml"/>
  <Override PartName="/ppt/notesSlides/notesSlide1222.xml" ContentType="application/vnd.openxmlformats-officedocument.presentationml.notesSlide+xml"/>
  <Override PartName="/ppt/notesSlides/notesSlide1223.xml" ContentType="application/vnd.openxmlformats-officedocument.presentationml.notesSlide+xml"/>
  <Override PartName="/ppt/notesSlides/notesSlide1224.xml" ContentType="application/vnd.openxmlformats-officedocument.presentationml.notesSlide+xml"/>
  <Override PartName="/ppt/notesSlides/notesSlide1225.xml" ContentType="application/vnd.openxmlformats-officedocument.presentationml.notesSlide+xml"/>
  <Override PartName="/ppt/notesSlides/notesSlide1226.xml" ContentType="application/vnd.openxmlformats-officedocument.presentationml.notesSlide+xml"/>
  <Override PartName="/ppt/notesSlides/notesSlide1227.xml" ContentType="application/vnd.openxmlformats-officedocument.presentationml.notesSlide+xml"/>
  <Override PartName="/ppt/notesSlides/notesSlide1228.xml" ContentType="application/vnd.openxmlformats-officedocument.presentationml.notesSlide+xml"/>
  <Override PartName="/ppt/notesSlides/notesSlide1229.xml" ContentType="application/vnd.openxmlformats-officedocument.presentationml.notesSlide+xml"/>
  <Override PartName="/ppt/notesSlides/notesSlide123.xml" ContentType="application/vnd.openxmlformats-officedocument.presentationml.notesSlide+xml"/>
  <Override PartName="/ppt/notesSlides/notesSlide1230.xml" ContentType="application/vnd.openxmlformats-officedocument.presentationml.notesSlide+xml"/>
  <Override PartName="/ppt/notesSlides/notesSlide1231.xml" ContentType="application/vnd.openxmlformats-officedocument.presentationml.notesSlide+xml"/>
  <Override PartName="/ppt/notesSlides/notesSlide1232.xml" ContentType="application/vnd.openxmlformats-officedocument.presentationml.notesSlide+xml"/>
  <Override PartName="/ppt/notesSlides/notesSlide1233.xml" ContentType="application/vnd.openxmlformats-officedocument.presentationml.notesSlide+xml"/>
  <Override PartName="/ppt/notesSlides/notesSlide1234.xml" ContentType="application/vnd.openxmlformats-officedocument.presentationml.notesSlide+xml"/>
  <Override PartName="/ppt/notesSlides/notesSlide1235.xml" ContentType="application/vnd.openxmlformats-officedocument.presentationml.notesSlide+xml"/>
  <Override PartName="/ppt/notesSlides/notesSlide1236.xml" ContentType="application/vnd.openxmlformats-officedocument.presentationml.notesSlide+xml"/>
  <Override PartName="/ppt/notesSlides/notesSlide1237.xml" ContentType="application/vnd.openxmlformats-officedocument.presentationml.notesSlide+xml"/>
  <Override PartName="/ppt/notesSlides/notesSlide1238.xml" ContentType="application/vnd.openxmlformats-officedocument.presentationml.notesSlide+xml"/>
  <Override PartName="/ppt/notesSlides/notesSlide1239.xml" ContentType="application/vnd.openxmlformats-officedocument.presentationml.notesSlide+xml"/>
  <Override PartName="/ppt/notesSlides/notesSlide124.xml" ContentType="application/vnd.openxmlformats-officedocument.presentationml.notesSlide+xml"/>
  <Override PartName="/ppt/notesSlides/notesSlide1240.xml" ContentType="application/vnd.openxmlformats-officedocument.presentationml.notesSlide+xml"/>
  <Override PartName="/ppt/notesSlides/notesSlide1241.xml" ContentType="application/vnd.openxmlformats-officedocument.presentationml.notesSlide+xml"/>
  <Override PartName="/ppt/notesSlides/notesSlide1242.xml" ContentType="application/vnd.openxmlformats-officedocument.presentationml.notesSlide+xml"/>
  <Override PartName="/ppt/notesSlides/notesSlide1243.xml" ContentType="application/vnd.openxmlformats-officedocument.presentationml.notesSlide+xml"/>
  <Override PartName="/ppt/notesSlides/notesSlide1244.xml" ContentType="application/vnd.openxmlformats-officedocument.presentationml.notesSlide+xml"/>
  <Override PartName="/ppt/notesSlides/notesSlide1245.xml" ContentType="application/vnd.openxmlformats-officedocument.presentationml.notesSlide+xml"/>
  <Override PartName="/ppt/notesSlides/notesSlide1246.xml" ContentType="application/vnd.openxmlformats-officedocument.presentationml.notesSlide+xml"/>
  <Override PartName="/ppt/notesSlides/notesSlide1247.xml" ContentType="application/vnd.openxmlformats-officedocument.presentationml.notesSlide+xml"/>
  <Override PartName="/ppt/notesSlides/notesSlide1248.xml" ContentType="application/vnd.openxmlformats-officedocument.presentationml.notesSlide+xml"/>
  <Override PartName="/ppt/notesSlides/notesSlide1249.xml" ContentType="application/vnd.openxmlformats-officedocument.presentationml.notesSlide+xml"/>
  <Override PartName="/ppt/notesSlides/notesSlide125.xml" ContentType="application/vnd.openxmlformats-officedocument.presentationml.notesSlide+xml"/>
  <Override PartName="/ppt/notesSlides/notesSlide1250.xml" ContentType="application/vnd.openxmlformats-officedocument.presentationml.notesSlide+xml"/>
  <Override PartName="/ppt/notesSlides/notesSlide1251.xml" ContentType="application/vnd.openxmlformats-officedocument.presentationml.notesSlide+xml"/>
  <Override PartName="/ppt/notesSlides/notesSlide1252.xml" ContentType="application/vnd.openxmlformats-officedocument.presentationml.notesSlide+xml"/>
  <Override PartName="/ppt/notesSlides/notesSlide1253.xml" ContentType="application/vnd.openxmlformats-officedocument.presentationml.notesSlide+xml"/>
  <Override PartName="/ppt/notesSlides/notesSlide1254.xml" ContentType="application/vnd.openxmlformats-officedocument.presentationml.notesSlide+xml"/>
  <Override PartName="/ppt/notesSlides/notesSlide1255.xml" ContentType="application/vnd.openxmlformats-officedocument.presentationml.notesSlide+xml"/>
  <Override PartName="/ppt/notesSlides/notesSlide1256.xml" ContentType="application/vnd.openxmlformats-officedocument.presentationml.notesSlide+xml"/>
  <Override PartName="/ppt/notesSlides/notesSlide1257.xml" ContentType="application/vnd.openxmlformats-officedocument.presentationml.notesSlide+xml"/>
  <Override PartName="/ppt/notesSlides/notesSlide1258.xml" ContentType="application/vnd.openxmlformats-officedocument.presentationml.notesSlide+xml"/>
  <Override PartName="/ppt/notesSlides/notesSlide1259.xml" ContentType="application/vnd.openxmlformats-officedocument.presentationml.notesSlide+xml"/>
  <Override PartName="/ppt/notesSlides/notesSlide126.xml" ContentType="application/vnd.openxmlformats-officedocument.presentationml.notesSlide+xml"/>
  <Override PartName="/ppt/notesSlides/notesSlide1260.xml" ContentType="application/vnd.openxmlformats-officedocument.presentationml.notesSlide+xml"/>
  <Override PartName="/ppt/notesSlides/notesSlide1261.xml" ContentType="application/vnd.openxmlformats-officedocument.presentationml.notesSlide+xml"/>
  <Override PartName="/ppt/notesSlides/notesSlide1262.xml" ContentType="application/vnd.openxmlformats-officedocument.presentationml.notesSlide+xml"/>
  <Override PartName="/ppt/notesSlides/notesSlide1263.xml" ContentType="application/vnd.openxmlformats-officedocument.presentationml.notesSlide+xml"/>
  <Override PartName="/ppt/notesSlides/notesSlide1264.xml" ContentType="application/vnd.openxmlformats-officedocument.presentationml.notesSlide+xml"/>
  <Override PartName="/ppt/notesSlides/notesSlide1265.xml" ContentType="application/vnd.openxmlformats-officedocument.presentationml.notesSlide+xml"/>
  <Override PartName="/ppt/notesSlides/notesSlide1266.xml" ContentType="application/vnd.openxmlformats-officedocument.presentationml.notesSlide+xml"/>
  <Override PartName="/ppt/notesSlides/notesSlide1267.xml" ContentType="application/vnd.openxmlformats-officedocument.presentationml.notesSlide+xml"/>
  <Override PartName="/ppt/notesSlides/notesSlide1268.xml" ContentType="application/vnd.openxmlformats-officedocument.presentationml.notesSlide+xml"/>
  <Override PartName="/ppt/notesSlides/notesSlide1269.xml" ContentType="application/vnd.openxmlformats-officedocument.presentationml.notesSlide+xml"/>
  <Override PartName="/ppt/notesSlides/notesSlide127.xml" ContentType="application/vnd.openxmlformats-officedocument.presentationml.notesSlide+xml"/>
  <Override PartName="/ppt/notesSlides/notesSlide1270.xml" ContentType="application/vnd.openxmlformats-officedocument.presentationml.notesSlide+xml"/>
  <Override PartName="/ppt/notesSlides/notesSlide1271.xml" ContentType="application/vnd.openxmlformats-officedocument.presentationml.notesSlide+xml"/>
  <Override PartName="/ppt/notesSlides/notesSlide1272.xml" ContentType="application/vnd.openxmlformats-officedocument.presentationml.notesSlide+xml"/>
  <Override PartName="/ppt/notesSlides/notesSlide1273.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13.xml" ContentType="application/vnd.openxmlformats-officedocument.presentationml.notesSlide+xml"/>
  <Override PartName="/ppt/notesSlides/notesSlide714.xml" ContentType="application/vnd.openxmlformats-officedocument.presentationml.notesSlide+xml"/>
  <Override PartName="/ppt/notesSlides/notesSlide715.xml" ContentType="application/vnd.openxmlformats-officedocument.presentationml.notesSlide+xml"/>
  <Override PartName="/ppt/notesSlides/notesSlide716.xml" ContentType="application/vnd.openxmlformats-officedocument.presentationml.notesSlide+xml"/>
  <Override PartName="/ppt/notesSlides/notesSlide717.xml" ContentType="application/vnd.openxmlformats-officedocument.presentationml.notesSlide+xml"/>
  <Override PartName="/ppt/notesSlides/notesSlide718.xml" ContentType="application/vnd.openxmlformats-officedocument.presentationml.notesSlide+xml"/>
  <Override PartName="/ppt/notesSlides/notesSlide719.xml" ContentType="application/vnd.openxmlformats-officedocument.presentationml.notesSlide+xml"/>
  <Override PartName="/ppt/notesSlides/notesSlide72.xml" ContentType="application/vnd.openxmlformats-officedocument.presentationml.notesSlide+xml"/>
  <Override PartName="/ppt/notesSlides/notesSlide720.xml" ContentType="application/vnd.openxmlformats-officedocument.presentationml.notesSlide+xml"/>
  <Override PartName="/ppt/notesSlides/notesSlide721.xml" ContentType="application/vnd.openxmlformats-officedocument.presentationml.notesSlide+xml"/>
  <Override PartName="/ppt/notesSlides/notesSlide722.xml" ContentType="application/vnd.openxmlformats-officedocument.presentationml.notesSlide+xml"/>
  <Override PartName="/ppt/notesSlides/notesSlide723.xml" ContentType="application/vnd.openxmlformats-officedocument.presentationml.notesSlide+xml"/>
  <Override PartName="/ppt/notesSlides/notesSlide724.xml" ContentType="application/vnd.openxmlformats-officedocument.presentationml.notesSlide+xml"/>
  <Override PartName="/ppt/notesSlides/notesSlide725.xml" ContentType="application/vnd.openxmlformats-officedocument.presentationml.notesSlide+xml"/>
  <Override PartName="/ppt/notesSlides/notesSlide726.xml" ContentType="application/vnd.openxmlformats-officedocument.presentationml.notesSlide+xml"/>
  <Override PartName="/ppt/notesSlides/notesSlide727.xml" ContentType="application/vnd.openxmlformats-officedocument.presentationml.notesSlide+xml"/>
  <Override PartName="/ppt/notesSlides/notesSlide728.xml" ContentType="application/vnd.openxmlformats-officedocument.presentationml.notesSlide+xml"/>
  <Override PartName="/ppt/notesSlides/notesSlide729.xml" ContentType="application/vnd.openxmlformats-officedocument.presentationml.notesSlide+xml"/>
  <Override PartName="/ppt/notesSlides/notesSlide73.xml" ContentType="application/vnd.openxmlformats-officedocument.presentationml.notesSlide+xml"/>
  <Override PartName="/ppt/notesSlides/notesSlide730.xml" ContentType="application/vnd.openxmlformats-officedocument.presentationml.notesSlide+xml"/>
  <Override PartName="/ppt/notesSlides/notesSlide731.xml" ContentType="application/vnd.openxmlformats-officedocument.presentationml.notesSlide+xml"/>
  <Override PartName="/ppt/notesSlides/notesSlide732.xml" ContentType="application/vnd.openxmlformats-officedocument.presentationml.notesSlide+xml"/>
  <Override PartName="/ppt/notesSlides/notesSlide733.xml" ContentType="application/vnd.openxmlformats-officedocument.presentationml.notesSlide+xml"/>
  <Override PartName="/ppt/notesSlides/notesSlide734.xml" ContentType="application/vnd.openxmlformats-officedocument.presentationml.notesSlide+xml"/>
  <Override PartName="/ppt/notesSlides/notesSlide735.xml" ContentType="application/vnd.openxmlformats-officedocument.presentationml.notesSlide+xml"/>
  <Override PartName="/ppt/notesSlides/notesSlide736.xml" ContentType="application/vnd.openxmlformats-officedocument.presentationml.notesSlide+xml"/>
  <Override PartName="/ppt/notesSlides/notesSlide737.xml" ContentType="application/vnd.openxmlformats-officedocument.presentationml.notesSlide+xml"/>
  <Override PartName="/ppt/notesSlides/notesSlide738.xml" ContentType="application/vnd.openxmlformats-officedocument.presentationml.notesSlide+xml"/>
  <Override PartName="/ppt/notesSlides/notesSlide739.xml" ContentType="application/vnd.openxmlformats-officedocument.presentationml.notesSlide+xml"/>
  <Override PartName="/ppt/notesSlides/notesSlide74.xml" ContentType="application/vnd.openxmlformats-officedocument.presentationml.notesSlide+xml"/>
  <Override PartName="/ppt/notesSlides/notesSlide740.xml" ContentType="application/vnd.openxmlformats-officedocument.presentationml.notesSlide+xml"/>
  <Override PartName="/ppt/notesSlides/notesSlide741.xml" ContentType="application/vnd.openxmlformats-officedocument.presentationml.notesSlide+xml"/>
  <Override PartName="/ppt/notesSlides/notesSlide742.xml" ContentType="application/vnd.openxmlformats-officedocument.presentationml.notesSlide+xml"/>
  <Override PartName="/ppt/notesSlides/notesSlide743.xml" ContentType="application/vnd.openxmlformats-officedocument.presentationml.notesSlide+xml"/>
  <Override PartName="/ppt/notesSlides/notesSlide744.xml" ContentType="application/vnd.openxmlformats-officedocument.presentationml.notesSlide+xml"/>
  <Override PartName="/ppt/notesSlides/notesSlide745.xml" ContentType="application/vnd.openxmlformats-officedocument.presentationml.notesSlide+xml"/>
  <Override PartName="/ppt/notesSlides/notesSlide746.xml" ContentType="application/vnd.openxmlformats-officedocument.presentationml.notesSlide+xml"/>
  <Override PartName="/ppt/notesSlides/notesSlide747.xml" ContentType="application/vnd.openxmlformats-officedocument.presentationml.notesSlide+xml"/>
  <Override PartName="/ppt/notesSlides/notesSlide748.xml" ContentType="application/vnd.openxmlformats-officedocument.presentationml.notesSlide+xml"/>
  <Override PartName="/ppt/notesSlides/notesSlide749.xml" ContentType="application/vnd.openxmlformats-officedocument.presentationml.notesSlide+xml"/>
  <Override PartName="/ppt/notesSlides/notesSlide75.xml" ContentType="application/vnd.openxmlformats-officedocument.presentationml.notesSlide+xml"/>
  <Override PartName="/ppt/notesSlides/notesSlide750.xml" ContentType="application/vnd.openxmlformats-officedocument.presentationml.notesSlide+xml"/>
  <Override PartName="/ppt/notesSlides/notesSlide751.xml" ContentType="application/vnd.openxmlformats-officedocument.presentationml.notesSlide+xml"/>
  <Override PartName="/ppt/notesSlides/notesSlide752.xml" ContentType="application/vnd.openxmlformats-officedocument.presentationml.notesSlide+xml"/>
  <Override PartName="/ppt/notesSlides/notesSlide753.xml" ContentType="application/vnd.openxmlformats-officedocument.presentationml.notesSlide+xml"/>
  <Override PartName="/ppt/notesSlides/notesSlide754.xml" ContentType="application/vnd.openxmlformats-officedocument.presentationml.notesSlide+xml"/>
  <Override PartName="/ppt/notesSlides/notesSlide755.xml" ContentType="application/vnd.openxmlformats-officedocument.presentationml.notesSlide+xml"/>
  <Override PartName="/ppt/notesSlides/notesSlide756.xml" ContentType="application/vnd.openxmlformats-officedocument.presentationml.notesSlide+xml"/>
  <Override PartName="/ppt/notesSlides/notesSlide757.xml" ContentType="application/vnd.openxmlformats-officedocument.presentationml.notesSlide+xml"/>
  <Override PartName="/ppt/notesSlides/notesSlide758.xml" ContentType="application/vnd.openxmlformats-officedocument.presentationml.notesSlide+xml"/>
  <Override PartName="/ppt/notesSlides/notesSlide759.xml" ContentType="application/vnd.openxmlformats-officedocument.presentationml.notesSlide+xml"/>
  <Override PartName="/ppt/notesSlides/notesSlide76.xml" ContentType="application/vnd.openxmlformats-officedocument.presentationml.notesSlide+xml"/>
  <Override PartName="/ppt/notesSlides/notesSlide760.xml" ContentType="application/vnd.openxmlformats-officedocument.presentationml.notesSlide+xml"/>
  <Override PartName="/ppt/notesSlides/notesSlide761.xml" ContentType="application/vnd.openxmlformats-officedocument.presentationml.notesSlide+xml"/>
  <Override PartName="/ppt/notesSlides/notesSlide762.xml" ContentType="application/vnd.openxmlformats-officedocument.presentationml.notesSlide+xml"/>
  <Override PartName="/ppt/notesSlides/notesSlide763.xml" ContentType="application/vnd.openxmlformats-officedocument.presentationml.notesSlide+xml"/>
  <Override PartName="/ppt/notesSlides/notesSlide764.xml" ContentType="application/vnd.openxmlformats-officedocument.presentationml.notesSlide+xml"/>
  <Override PartName="/ppt/notesSlides/notesSlide765.xml" ContentType="application/vnd.openxmlformats-officedocument.presentationml.notesSlide+xml"/>
  <Override PartName="/ppt/notesSlides/notesSlide766.xml" ContentType="application/vnd.openxmlformats-officedocument.presentationml.notesSlide+xml"/>
  <Override PartName="/ppt/notesSlides/notesSlide767.xml" ContentType="application/vnd.openxmlformats-officedocument.presentationml.notesSlide+xml"/>
  <Override PartName="/ppt/notesSlides/notesSlide768.xml" ContentType="application/vnd.openxmlformats-officedocument.presentationml.notesSlide+xml"/>
  <Override PartName="/ppt/notesSlides/notesSlide769.xml" ContentType="application/vnd.openxmlformats-officedocument.presentationml.notesSlide+xml"/>
  <Override PartName="/ppt/notesSlides/notesSlide77.xml" ContentType="application/vnd.openxmlformats-officedocument.presentationml.notesSlide+xml"/>
  <Override PartName="/ppt/notesSlides/notesSlide770.xml" ContentType="application/vnd.openxmlformats-officedocument.presentationml.notesSlide+xml"/>
  <Override PartName="/ppt/notesSlides/notesSlide771.xml" ContentType="application/vnd.openxmlformats-officedocument.presentationml.notesSlide+xml"/>
  <Override PartName="/ppt/notesSlides/notesSlide772.xml" ContentType="application/vnd.openxmlformats-officedocument.presentationml.notesSlide+xml"/>
  <Override PartName="/ppt/notesSlides/notesSlide773.xml" ContentType="application/vnd.openxmlformats-officedocument.presentationml.notesSlide+xml"/>
  <Override PartName="/ppt/notesSlides/notesSlide774.xml" ContentType="application/vnd.openxmlformats-officedocument.presentationml.notesSlide+xml"/>
  <Override PartName="/ppt/notesSlides/notesSlide775.xml" ContentType="application/vnd.openxmlformats-officedocument.presentationml.notesSlide+xml"/>
  <Override PartName="/ppt/notesSlides/notesSlide776.xml" ContentType="application/vnd.openxmlformats-officedocument.presentationml.notesSlide+xml"/>
  <Override PartName="/ppt/notesSlides/notesSlide777.xml" ContentType="application/vnd.openxmlformats-officedocument.presentationml.notesSlide+xml"/>
  <Override PartName="/ppt/notesSlides/notesSlide778.xml" ContentType="application/vnd.openxmlformats-officedocument.presentationml.notesSlide+xml"/>
  <Override PartName="/ppt/notesSlides/notesSlide779.xml" ContentType="application/vnd.openxmlformats-officedocument.presentationml.notesSlide+xml"/>
  <Override PartName="/ppt/notesSlides/notesSlide78.xml" ContentType="application/vnd.openxmlformats-officedocument.presentationml.notesSlide+xml"/>
  <Override PartName="/ppt/notesSlides/notesSlide780.xml" ContentType="application/vnd.openxmlformats-officedocument.presentationml.notesSlide+xml"/>
  <Override PartName="/ppt/notesSlides/notesSlide781.xml" ContentType="application/vnd.openxmlformats-officedocument.presentationml.notesSlide+xml"/>
  <Override PartName="/ppt/notesSlides/notesSlide782.xml" ContentType="application/vnd.openxmlformats-officedocument.presentationml.notesSlide+xml"/>
  <Override PartName="/ppt/notesSlides/notesSlide783.xml" ContentType="application/vnd.openxmlformats-officedocument.presentationml.notesSlide+xml"/>
  <Override PartName="/ppt/notesSlides/notesSlide784.xml" ContentType="application/vnd.openxmlformats-officedocument.presentationml.notesSlide+xml"/>
  <Override PartName="/ppt/notesSlides/notesSlide785.xml" ContentType="application/vnd.openxmlformats-officedocument.presentationml.notesSlide+xml"/>
  <Override PartName="/ppt/notesSlides/notesSlide786.xml" ContentType="application/vnd.openxmlformats-officedocument.presentationml.notesSlide+xml"/>
  <Override PartName="/ppt/notesSlides/notesSlide787.xml" ContentType="application/vnd.openxmlformats-officedocument.presentationml.notesSlide+xml"/>
  <Override PartName="/ppt/notesSlides/notesSlide788.xml" ContentType="application/vnd.openxmlformats-officedocument.presentationml.notesSlide+xml"/>
  <Override PartName="/ppt/notesSlides/notesSlide789.xml" ContentType="application/vnd.openxmlformats-officedocument.presentationml.notesSlide+xml"/>
  <Override PartName="/ppt/notesSlides/notesSlide79.xml" ContentType="application/vnd.openxmlformats-officedocument.presentationml.notesSlide+xml"/>
  <Override PartName="/ppt/notesSlides/notesSlide790.xml" ContentType="application/vnd.openxmlformats-officedocument.presentationml.notesSlide+xml"/>
  <Override PartName="/ppt/notesSlides/notesSlide791.xml" ContentType="application/vnd.openxmlformats-officedocument.presentationml.notesSlide+xml"/>
  <Override PartName="/ppt/notesSlides/notesSlide792.xml" ContentType="application/vnd.openxmlformats-officedocument.presentationml.notesSlide+xml"/>
  <Override PartName="/ppt/notesSlides/notesSlide793.xml" ContentType="application/vnd.openxmlformats-officedocument.presentationml.notesSlide+xml"/>
  <Override PartName="/ppt/notesSlides/notesSlide794.xml" ContentType="application/vnd.openxmlformats-officedocument.presentationml.notesSlide+xml"/>
  <Override PartName="/ppt/notesSlides/notesSlide795.xml" ContentType="application/vnd.openxmlformats-officedocument.presentationml.notesSlide+xml"/>
  <Override PartName="/ppt/notesSlides/notesSlide796.xml" ContentType="application/vnd.openxmlformats-officedocument.presentationml.notesSlide+xml"/>
  <Override PartName="/ppt/notesSlides/notesSlide797.xml" ContentType="application/vnd.openxmlformats-officedocument.presentationml.notesSlide+xml"/>
  <Override PartName="/ppt/notesSlides/notesSlide798.xml" ContentType="application/vnd.openxmlformats-officedocument.presentationml.notesSlide+xml"/>
  <Override PartName="/ppt/notesSlides/notesSlide79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00.xml" ContentType="application/vnd.openxmlformats-officedocument.presentationml.notesSlide+xml"/>
  <Override PartName="/ppt/notesSlides/notesSlide801.xml" ContentType="application/vnd.openxmlformats-officedocument.presentationml.notesSlide+xml"/>
  <Override PartName="/ppt/notesSlides/notesSlide802.xml" ContentType="application/vnd.openxmlformats-officedocument.presentationml.notesSlide+xml"/>
  <Override PartName="/ppt/notesSlides/notesSlide803.xml" ContentType="application/vnd.openxmlformats-officedocument.presentationml.notesSlide+xml"/>
  <Override PartName="/ppt/notesSlides/notesSlide804.xml" ContentType="application/vnd.openxmlformats-officedocument.presentationml.notesSlide+xml"/>
  <Override PartName="/ppt/notesSlides/notesSlide805.xml" ContentType="application/vnd.openxmlformats-officedocument.presentationml.notesSlide+xml"/>
  <Override PartName="/ppt/notesSlides/notesSlide806.xml" ContentType="application/vnd.openxmlformats-officedocument.presentationml.notesSlide+xml"/>
  <Override PartName="/ppt/notesSlides/notesSlide807.xml" ContentType="application/vnd.openxmlformats-officedocument.presentationml.notesSlide+xml"/>
  <Override PartName="/ppt/notesSlides/notesSlide808.xml" ContentType="application/vnd.openxmlformats-officedocument.presentationml.notesSlide+xml"/>
  <Override PartName="/ppt/notesSlides/notesSlide809.xml" ContentType="application/vnd.openxmlformats-officedocument.presentationml.notesSlide+xml"/>
  <Override PartName="/ppt/notesSlides/notesSlide81.xml" ContentType="application/vnd.openxmlformats-officedocument.presentationml.notesSlide+xml"/>
  <Override PartName="/ppt/notesSlides/notesSlide810.xml" ContentType="application/vnd.openxmlformats-officedocument.presentationml.notesSlide+xml"/>
  <Override PartName="/ppt/notesSlides/notesSlide811.xml" ContentType="application/vnd.openxmlformats-officedocument.presentationml.notesSlide+xml"/>
  <Override PartName="/ppt/notesSlides/notesSlide812.xml" ContentType="application/vnd.openxmlformats-officedocument.presentationml.notesSlide+xml"/>
  <Override PartName="/ppt/notesSlides/notesSlide813.xml" ContentType="application/vnd.openxmlformats-officedocument.presentationml.notesSlide+xml"/>
  <Override PartName="/ppt/notesSlides/notesSlide814.xml" ContentType="application/vnd.openxmlformats-officedocument.presentationml.notesSlide+xml"/>
  <Override PartName="/ppt/notesSlides/notesSlide815.xml" ContentType="application/vnd.openxmlformats-officedocument.presentationml.notesSlide+xml"/>
  <Override PartName="/ppt/notesSlides/notesSlide816.xml" ContentType="application/vnd.openxmlformats-officedocument.presentationml.notesSlide+xml"/>
  <Override PartName="/ppt/notesSlides/notesSlide817.xml" ContentType="application/vnd.openxmlformats-officedocument.presentationml.notesSlide+xml"/>
  <Override PartName="/ppt/notesSlides/notesSlide818.xml" ContentType="application/vnd.openxmlformats-officedocument.presentationml.notesSlide+xml"/>
  <Override PartName="/ppt/notesSlides/notesSlide819.xml" ContentType="application/vnd.openxmlformats-officedocument.presentationml.notesSlide+xml"/>
  <Override PartName="/ppt/notesSlides/notesSlide82.xml" ContentType="application/vnd.openxmlformats-officedocument.presentationml.notesSlide+xml"/>
  <Override PartName="/ppt/notesSlides/notesSlide820.xml" ContentType="application/vnd.openxmlformats-officedocument.presentationml.notesSlide+xml"/>
  <Override PartName="/ppt/notesSlides/notesSlide821.xml" ContentType="application/vnd.openxmlformats-officedocument.presentationml.notesSlide+xml"/>
  <Override PartName="/ppt/notesSlides/notesSlide822.xml" ContentType="application/vnd.openxmlformats-officedocument.presentationml.notesSlide+xml"/>
  <Override PartName="/ppt/notesSlides/notesSlide823.xml" ContentType="application/vnd.openxmlformats-officedocument.presentationml.notesSlide+xml"/>
  <Override PartName="/ppt/notesSlides/notesSlide824.xml" ContentType="application/vnd.openxmlformats-officedocument.presentationml.notesSlide+xml"/>
  <Override PartName="/ppt/notesSlides/notesSlide825.xml" ContentType="application/vnd.openxmlformats-officedocument.presentationml.notesSlide+xml"/>
  <Override PartName="/ppt/notesSlides/notesSlide826.xml" ContentType="application/vnd.openxmlformats-officedocument.presentationml.notesSlide+xml"/>
  <Override PartName="/ppt/notesSlides/notesSlide827.xml" ContentType="application/vnd.openxmlformats-officedocument.presentationml.notesSlide+xml"/>
  <Override PartName="/ppt/notesSlides/notesSlide828.xml" ContentType="application/vnd.openxmlformats-officedocument.presentationml.notesSlide+xml"/>
  <Override PartName="/ppt/notesSlides/notesSlide829.xml" ContentType="application/vnd.openxmlformats-officedocument.presentationml.notesSlide+xml"/>
  <Override PartName="/ppt/notesSlides/notesSlide83.xml" ContentType="application/vnd.openxmlformats-officedocument.presentationml.notesSlide+xml"/>
  <Override PartName="/ppt/notesSlides/notesSlide830.xml" ContentType="application/vnd.openxmlformats-officedocument.presentationml.notesSlide+xml"/>
  <Override PartName="/ppt/notesSlides/notesSlide831.xml" ContentType="application/vnd.openxmlformats-officedocument.presentationml.notesSlide+xml"/>
  <Override PartName="/ppt/notesSlides/notesSlide832.xml" ContentType="application/vnd.openxmlformats-officedocument.presentationml.notesSlide+xml"/>
  <Override PartName="/ppt/notesSlides/notesSlide833.xml" ContentType="application/vnd.openxmlformats-officedocument.presentationml.notesSlide+xml"/>
  <Override PartName="/ppt/notesSlides/notesSlide834.xml" ContentType="application/vnd.openxmlformats-officedocument.presentationml.notesSlide+xml"/>
  <Override PartName="/ppt/notesSlides/notesSlide835.xml" ContentType="application/vnd.openxmlformats-officedocument.presentationml.notesSlide+xml"/>
  <Override PartName="/ppt/notesSlides/notesSlide836.xml" ContentType="application/vnd.openxmlformats-officedocument.presentationml.notesSlide+xml"/>
  <Override PartName="/ppt/notesSlides/notesSlide837.xml" ContentType="application/vnd.openxmlformats-officedocument.presentationml.notesSlide+xml"/>
  <Override PartName="/ppt/notesSlides/notesSlide838.xml" ContentType="application/vnd.openxmlformats-officedocument.presentationml.notesSlide+xml"/>
  <Override PartName="/ppt/notesSlides/notesSlide839.xml" ContentType="application/vnd.openxmlformats-officedocument.presentationml.notesSlide+xml"/>
  <Override PartName="/ppt/notesSlides/notesSlide84.xml" ContentType="application/vnd.openxmlformats-officedocument.presentationml.notesSlide+xml"/>
  <Override PartName="/ppt/notesSlides/notesSlide840.xml" ContentType="application/vnd.openxmlformats-officedocument.presentationml.notesSlide+xml"/>
  <Override PartName="/ppt/notesSlides/notesSlide841.xml" ContentType="application/vnd.openxmlformats-officedocument.presentationml.notesSlide+xml"/>
  <Override PartName="/ppt/notesSlides/notesSlide842.xml" ContentType="application/vnd.openxmlformats-officedocument.presentationml.notesSlide+xml"/>
  <Override PartName="/ppt/notesSlides/notesSlide843.xml" ContentType="application/vnd.openxmlformats-officedocument.presentationml.notesSlide+xml"/>
  <Override PartName="/ppt/notesSlides/notesSlide844.xml" ContentType="application/vnd.openxmlformats-officedocument.presentationml.notesSlide+xml"/>
  <Override PartName="/ppt/notesSlides/notesSlide845.xml" ContentType="application/vnd.openxmlformats-officedocument.presentationml.notesSlide+xml"/>
  <Override PartName="/ppt/notesSlides/notesSlide846.xml" ContentType="application/vnd.openxmlformats-officedocument.presentationml.notesSlide+xml"/>
  <Override PartName="/ppt/notesSlides/notesSlide847.xml" ContentType="application/vnd.openxmlformats-officedocument.presentationml.notesSlide+xml"/>
  <Override PartName="/ppt/notesSlides/notesSlide848.xml" ContentType="application/vnd.openxmlformats-officedocument.presentationml.notesSlide+xml"/>
  <Override PartName="/ppt/notesSlides/notesSlide849.xml" ContentType="application/vnd.openxmlformats-officedocument.presentationml.notesSlide+xml"/>
  <Override PartName="/ppt/notesSlides/notesSlide85.xml" ContentType="application/vnd.openxmlformats-officedocument.presentationml.notesSlide+xml"/>
  <Override PartName="/ppt/notesSlides/notesSlide850.xml" ContentType="application/vnd.openxmlformats-officedocument.presentationml.notesSlide+xml"/>
  <Override PartName="/ppt/notesSlides/notesSlide851.xml" ContentType="application/vnd.openxmlformats-officedocument.presentationml.notesSlide+xml"/>
  <Override PartName="/ppt/notesSlides/notesSlide852.xml" ContentType="application/vnd.openxmlformats-officedocument.presentationml.notesSlide+xml"/>
  <Override PartName="/ppt/notesSlides/notesSlide853.xml" ContentType="application/vnd.openxmlformats-officedocument.presentationml.notesSlide+xml"/>
  <Override PartName="/ppt/notesSlides/notesSlide854.xml" ContentType="application/vnd.openxmlformats-officedocument.presentationml.notesSlide+xml"/>
  <Override PartName="/ppt/notesSlides/notesSlide855.xml" ContentType="application/vnd.openxmlformats-officedocument.presentationml.notesSlide+xml"/>
  <Override PartName="/ppt/notesSlides/notesSlide856.xml" ContentType="application/vnd.openxmlformats-officedocument.presentationml.notesSlide+xml"/>
  <Override PartName="/ppt/notesSlides/notesSlide857.xml" ContentType="application/vnd.openxmlformats-officedocument.presentationml.notesSlide+xml"/>
  <Override PartName="/ppt/notesSlides/notesSlide858.xml" ContentType="application/vnd.openxmlformats-officedocument.presentationml.notesSlide+xml"/>
  <Override PartName="/ppt/notesSlides/notesSlide859.xml" ContentType="application/vnd.openxmlformats-officedocument.presentationml.notesSlide+xml"/>
  <Override PartName="/ppt/notesSlides/notesSlide86.xml" ContentType="application/vnd.openxmlformats-officedocument.presentationml.notesSlide+xml"/>
  <Override PartName="/ppt/notesSlides/notesSlide860.xml" ContentType="application/vnd.openxmlformats-officedocument.presentationml.notesSlide+xml"/>
  <Override PartName="/ppt/notesSlides/notesSlide861.xml" ContentType="application/vnd.openxmlformats-officedocument.presentationml.notesSlide+xml"/>
  <Override PartName="/ppt/notesSlides/notesSlide862.xml" ContentType="application/vnd.openxmlformats-officedocument.presentationml.notesSlide+xml"/>
  <Override PartName="/ppt/notesSlides/notesSlide863.xml" ContentType="application/vnd.openxmlformats-officedocument.presentationml.notesSlide+xml"/>
  <Override PartName="/ppt/notesSlides/notesSlide864.xml" ContentType="application/vnd.openxmlformats-officedocument.presentationml.notesSlide+xml"/>
  <Override PartName="/ppt/notesSlides/notesSlide865.xml" ContentType="application/vnd.openxmlformats-officedocument.presentationml.notesSlide+xml"/>
  <Override PartName="/ppt/notesSlides/notesSlide866.xml" ContentType="application/vnd.openxmlformats-officedocument.presentationml.notesSlide+xml"/>
  <Override PartName="/ppt/notesSlides/notesSlide867.xml" ContentType="application/vnd.openxmlformats-officedocument.presentationml.notesSlide+xml"/>
  <Override PartName="/ppt/notesSlides/notesSlide868.xml" ContentType="application/vnd.openxmlformats-officedocument.presentationml.notesSlide+xml"/>
  <Override PartName="/ppt/notesSlides/notesSlide869.xml" ContentType="application/vnd.openxmlformats-officedocument.presentationml.notesSlide+xml"/>
  <Override PartName="/ppt/notesSlides/notesSlide87.xml" ContentType="application/vnd.openxmlformats-officedocument.presentationml.notesSlide+xml"/>
  <Override PartName="/ppt/notesSlides/notesSlide870.xml" ContentType="application/vnd.openxmlformats-officedocument.presentationml.notesSlide+xml"/>
  <Override PartName="/ppt/notesSlides/notesSlide871.xml" ContentType="application/vnd.openxmlformats-officedocument.presentationml.notesSlide+xml"/>
  <Override PartName="/ppt/notesSlides/notesSlide872.xml" ContentType="application/vnd.openxmlformats-officedocument.presentationml.notesSlide+xml"/>
  <Override PartName="/ppt/notesSlides/notesSlide873.xml" ContentType="application/vnd.openxmlformats-officedocument.presentationml.notesSlide+xml"/>
  <Override PartName="/ppt/notesSlides/notesSlide874.xml" ContentType="application/vnd.openxmlformats-officedocument.presentationml.notesSlide+xml"/>
  <Override PartName="/ppt/notesSlides/notesSlide875.xml" ContentType="application/vnd.openxmlformats-officedocument.presentationml.notesSlide+xml"/>
  <Override PartName="/ppt/notesSlides/notesSlide876.xml" ContentType="application/vnd.openxmlformats-officedocument.presentationml.notesSlide+xml"/>
  <Override PartName="/ppt/notesSlides/notesSlide877.xml" ContentType="application/vnd.openxmlformats-officedocument.presentationml.notesSlide+xml"/>
  <Override PartName="/ppt/notesSlides/notesSlide878.xml" ContentType="application/vnd.openxmlformats-officedocument.presentationml.notesSlide+xml"/>
  <Override PartName="/ppt/notesSlides/notesSlide879.xml" ContentType="application/vnd.openxmlformats-officedocument.presentationml.notesSlide+xml"/>
  <Override PartName="/ppt/notesSlides/notesSlide88.xml" ContentType="application/vnd.openxmlformats-officedocument.presentationml.notesSlide+xml"/>
  <Override PartName="/ppt/notesSlides/notesSlide880.xml" ContentType="application/vnd.openxmlformats-officedocument.presentationml.notesSlide+xml"/>
  <Override PartName="/ppt/notesSlides/notesSlide881.xml" ContentType="application/vnd.openxmlformats-officedocument.presentationml.notesSlide+xml"/>
  <Override PartName="/ppt/notesSlides/notesSlide882.xml" ContentType="application/vnd.openxmlformats-officedocument.presentationml.notesSlide+xml"/>
  <Override PartName="/ppt/notesSlides/notesSlide883.xml" ContentType="application/vnd.openxmlformats-officedocument.presentationml.notesSlide+xml"/>
  <Override PartName="/ppt/notesSlides/notesSlide884.xml" ContentType="application/vnd.openxmlformats-officedocument.presentationml.notesSlide+xml"/>
  <Override PartName="/ppt/notesSlides/notesSlide885.xml" ContentType="application/vnd.openxmlformats-officedocument.presentationml.notesSlide+xml"/>
  <Override PartName="/ppt/notesSlides/notesSlide886.xml" ContentType="application/vnd.openxmlformats-officedocument.presentationml.notesSlide+xml"/>
  <Override PartName="/ppt/notesSlides/notesSlide887.xml" ContentType="application/vnd.openxmlformats-officedocument.presentationml.notesSlide+xml"/>
  <Override PartName="/ppt/notesSlides/notesSlide888.xml" ContentType="application/vnd.openxmlformats-officedocument.presentationml.notesSlide+xml"/>
  <Override PartName="/ppt/notesSlides/notesSlide889.xml" ContentType="application/vnd.openxmlformats-officedocument.presentationml.notesSlide+xml"/>
  <Override PartName="/ppt/notesSlides/notesSlide89.xml" ContentType="application/vnd.openxmlformats-officedocument.presentationml.notesSlide+xml"/>
  <Override PartName="/ppt/notesSlides/notesSlide890.xml" ContentType="application/vnd.openxmlformats-officedocument.presentationml.notesSlide+xml"/>
  <Override PartName="/ppt/notesSlides/notesSlide891.xml" ContentType="application/vnd.openxmlformats-officedocument.presentationml.notesSlide+xml"/>
  <Override PartName="/ppt/notesSlides/notesSlide892.xml" ContentType="application/vnd.openxmlformats-officedocument.presentationml.notesSlide+xml"/>
  <Override PartName="/ppt/notesSlides/notesSlide893.xml" ContentType="application/vnd.openxmlformats-officedocument.presentationml.notesSlide+xml"/>
  <Override PartName="/ppt/notesSlides/notesSlide894.xml" ContentType="application/vnd.openxmlformats-officedocument.presentationml.notesSlide+xml"/>
  <Override PartName="/ppt/notesSlides/notesSlide895.xml" ContentType="application/vnd.openxmlformats-officedocument.presentationml.notesSlide+xml"/>
  <Override PartName="/ppt/notesSlides/notesSlide896.xml" ContentType="application/vnd.openxmlformats-officedocument.presentationml.notesSlide+xml"/>
  <Override PartName="/ppt/notesSlides/notesSlide897.xml" ContentType="application/vnd.openxmlformats-officedocument.presentationml.notesSlide+xml"/>
  <Override PartName="/ppt/notesSlides/notesSlide898.xml" ContentType="application/vnd.openxmlformats-officedocument.presentationml.notesSlide+xml"/>
  <Override PartName="/ppt/notesSlides/notesSlide89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00.xml" ContentType="application/vnd.openxmlformats-officedocument.presentationml.notesSlide+xml"/>
  <Override PartName="/ppt/notesSlides/notesSlide901.xml" ContentType="application/vnd.openxmlformats-officedocument.presentationml.notesSlide+xml"/>
  <Override PartName="/ppt/notesSlides/notesSlide902.xml" ContentType="application/vnd.openxmlformats-officedocument.presentationml.notesSlide+xml"/>
  <Override PartName="/ppt/notesSlides/notesSlide903.xml" ContentType="application/vnd.openxmlformats-officedocument.presentationml.notesSlide+xml"/>
  <Override PartName="/ppt/notesSlides/notesSlide904.xml" ContentType="application/vnd.openxmlformats-officedocument.presentationml.notesSlide+xml"/>
  <Override PartName="/ppt/notesSlides/notesSlide905.xml" ContentType="application/vnd.openxmlformats-officedocument.presentationml.notesSlide+xml"/>
  <Override PartName="/ppt/notesSlides/notesSlide906.xml" ContentType="application/vnd.openxmlformats-officedocument.presentationml.notesSlide+xml"/>
  <Override PartName="/ppt/notesSlides/notesSlide907.xml" ContentType="application/vnd.openxmlformats-officedocument.presentationml.notesSlide+xml"/>
  <Override PartName="/ppt/notesSlides/notesSlide908.xml" ContentType="application/vnd.openxmlformats-officedocument.presentationml.notesSlide+xml"/>
  <Override PartName="/ppt/notesSlides/notesSlide909.xml" ContentType="application/vnd.openxmlformats-officedocument.presentationml.notesSlide+xml"/>
  <Override PartName="/ppt/notesSlides/notesSlide91.xml" ContentType="application/vnd.openxmlformats-officedocument.presentationml.notesSlide+xml"/>
  <Override PartName="/ppt/notesSlides/notesSlide910.xml" ContentType="application/vnd.openxmlformats-officedocument.presentationml.notesSlide+xml"/>
  <Override PartName="/ppt/notesSlides/notesSlide911.xml" ContentType="application/vnd.openxmlformats-officedocument.presentationml.notesSlide+xml"/>
  <Override PartName="/ppt/notesSlides/notesSlide912.xml" ContentType="application/vnd.openxmlformats-officedocument.presentationml.notesSlide+xml"/>
  <Override PartName="/ppt/notesSlides/notesSlide913.xml" ContentType="application/vnd.openxmlformats-officedocument.presentationml.notesSlide+xml"/>
  <Override PartName="/ppt/notesSlides/notesSlide914.xml" ContentType="application/vnd.openxmlformats-officedocument.presentationml.notesSlide+xml"/>
  <Override PartName="/ppt/notesSlides/notesSlide915.xml" ContentType="application/vnd.openxmlformats-officedocument.presentationml.notesSlide+xml"/>
  <Override PartName="/ppt/notesSlides/notesSlide916.xml" ContentType="application/vnd.openxmlformats-officedocument.presentationml.notesSlide+xml"/>
  <Override PartName="/ppt/notesSlides/notesSlide917.xml" ContentType="application/vnd.openxmlformats-officedocument.presentationml.notesSlide+xml"/>
  <Override PartName="/ppt/notesSlides/notesSlide918.xml" ContentType="application/vnd.openxmlformats-officedocument.presentationml.notesSlide+xml"/>
  <Override PartName="/ppt/notesSlides/notesSlide919.xml" ContentType="application/vnd.openxmlformats-officedocument.presentationml.notesSlide+xml"/>
  <Override PartName="/ppt/notesSlides/notesSlide92.xml" ContentType="application/vnd.openxmlformats-officedocument.presentationml.notesSlide+xml"/>
  <Override PartName="/ppt/notesSlides/notesSlide920.xml" ContentType="application/vnd.openxmlformats-officedocument.presentationml.notesSlide+xml"/>
  <Override PartName="/ppt/notesSlides/notesSlide921.xml" ContentType="application/vnd.openxmlformats-officedocument.presentationml.notesSlide+xml"/>
  <Override PartName="/ppt/notesSlides/notesSlide922.xml" ContentType="application/vnd.openxmlformats-officedocument.presentationml.notesSlide+xml"/>
  <Override PartName="/ppt/notesSlides/notesSlide923.xml" ContentType="application/vnd.openxmlformats-officedocument.presentationml.notesSlide+xml"/>
  <Override PartName="/ppt/notesSlides/notesSlide924.xml" ContentType="application/vnd.openxmlformats-officedocument.presentationml.notesSlide+xml"/>
  <Override PartName="/ppt/notesSlides/notesSlide925.xml" ContentType="application/vnd.openxmlformats-officedocument.presentationml.notesSlide+xml"/>
  <Override PartName="/ppt/notesSlides/notesSlide926.xml" ContentType="application/vnd.openxmlformats-officedocument.presentationml.notesSlide+xml"/>
  <Override PartName="/ppt/notesSlides/notesSlide927.xml" ContentType="application/vnd.openxmlformats-officedocument.presentationml.notesSlide+xml"/>
  <Override PartName="/ppt/notesSlides/notesSlide928.xml" ContentType="application/vnd.openxmlformats-officedocument.presentationml.notesSlide+xml"/>
  <Override PartName="/ppt/notesSlides/notesSlide929.xml" ContentType="application/vnd.openxmlformats-officedocument.presentationml.notesSlide+xml"/>
  <Override PartName="/ppt/notesSlides/notesSlide93.xml" ContentType="application/vnd.openxmlformats-officedocument.presentationml.notesSlide+xml"/>
  <Override PartName="/ppt/notesSlides/notesSlide930.xml" ContentType="application/vnd.openxmlformats-officedocument.presentationml.notesSlide+xml"/>
  <Override PartName="/ppt/notesSlides/notesSlide931.xml" ContentType="application/vnd.openxmlformats-officedocument.presentationml.notesSlide+xml"/>
  <Override PartName="/ppt/notesSlides/notesSlide932.xml" ContentType="application/vnd.openxmlformats-officedocument.presentationml.notesSlide+xml"/>
  <Override PartName="/ppt/notesSlides/notesSlide933.xml" ContentType="application/vnd.openxmlformats-officedocument.presentationml.notesSlide+xml"/>
  <Override PartName="/ppt/notesSlides/notesSlide934.xml" ContentType="application/vnd.openxmlformats-officedocument.presentationml.notesSlide+xml"/>
  <Override PartName="/ppt/notesSlides/notesSlide935.xml" ContentType="application/vnd.openxmlformats-officedocument.presentationml.notesSlide+xml"/>
  <Override PartName="/ppt/notesSlides/notesSlide936.xml" ContentType="application/vnd.openxmlformats-officedocument.presentationml.notesSlide+xml"/>
  <Override PartName="/ppt/notesSlides/notesSlide937.xml" ContentType="application/vnd.openxmlformats-officedocument.presentationml.notesSlide+xml"/>
  <Override PartName="/ppt/notesSlides/notesSlide938.xml" ContentType="application/vnd.openxmlformats-officedocument.presentationml.notesSlide+xml"/>
  <Override PartName="/ppt/notesSlides/notesSlide939.xml" ContentType="application/vnd.openxmlformats-officedocument.presentationml.notesSlide+xml"/>
  <Override PartName="/ppt/notesSlides/notesSlide94.xml" ContentType="application/vnd.openxmlformats-officedocument.presentationml.notesSlide+xml"/>
  <Override PartName="/ppt/notesSlides/notesSlide940.xml" ContentType="application/vnd.openxmlformats-officedocument.presentationml.notesSlide+xml"/>
  <Override PartName="/ppt/notesSlides/notesSlide941.xml" ContentType="application/vnd.openxmlformats-officedocument.presentationml.notesSlide+xml"/>
  <Override PartName="/ppt/notesSlides/notesSlide942.xml" ContentType="application/vnd.openxmlformats-officedocument.presentationml.notesSlide+xml"/>
  <Override PartName="/ppt/notesSlides/notesSlide943.xml" ContentType="application/vnd.openxmlformats-officedocument.presentationml.notesSlide+xml"/>
  <Override PartName="/ppt/notesSlides/notesSlide944.xml" ContentType="application/vnd.openxmlformats-officedocument.presentationml.notesSlide+xml"/>
  <Override PartName="/ppt/notesSlides/notesSlide945.xml" ContentType="application/vnd.openxmlformats-officedocument.presentationml.notesSlide+xml"/>
  <Override PartName="/ppt/notesSlides/notesSlide946.xml" ContentType="application/vnd.openxmlformats-officedocument.presentationml.notesSlide+xml"/>
  <Override PartName="/ppt/notesSlides/notesSlide947.xml" ContentType="application/vnd.openxmlformats-officedocument.presentationml.notesSlide+xml"/>
  <Override PartName="/ppt/notesSlides/notesSlide948.xml" ContentType="application/vnd.openxmlformats-officedocument.presentationml.notesSlide+xml"/>
  <Override PartName="/ppt/notesSlides/notesSlide949.xml" ContentType="application/vnd.openxmlformats-officedocument.presentationml.notesSlide+xml"/>
  <Override PartName="/ppt/notesSlides/notesSlide95.xml" ContentType="application/vnd.openxmlformats-officedocument.presentationml.notesSlide+xml"/>
  <Override PartName="/ppt/notesSlides/notesSlide950.xml" ContentType="application/vnd.openxmlformats-officedocument.presentationml.notesSlide+xml"/>
  <Override PartName="/ppt/notesSlides/notesSlide951.xml" ContentType="application/vnd.openxmlformats-officedocument.presentationml.notesSlide+xml"/>
  <Override PartName="/ppt/notesSlides/notesSlide952.xml" ContentType="application/vnd.openxmlformats-officedocument.presentationml.notesSlide+xml"/>
  <Override PartName="/ppt/notesSlides/notesSlide953.xml" ContentType="application/vnd.openxmlformats-officedocument.presentationml.notesSlide+xml"/>
  <Override PartName="/ppt/notesSlides/notesSlide954.xml" ContentType="application/vnd.openxmlformats-officedocument.presentationml.notesSlide+xml"/>
  <Override PartName="/ppt/notesSlides/notesSlide955.xml" ContentType="application/vnd.openxmlformats-officedocument.presentationml.notesSlide+xml"/>
  <Override PartName="/ppt/notesSlides/notesSlide956.xml" ContentType="application/vnd.openxmlformats-officedocument.presentationml.notesSlide+xml"/>
  <Override PartName="/ppt/notesSlides/notesSlide957.xml" ContentType="application/vnd.openxmlformats-officedocument.presentationml.notesSlide+xml"/>
  <Override PartName="/ppt/notesSlides/notesSlide958.xml" ContentType="application/vnd.openxmlformats-officedocument.presentationml.notesSlide+xml"/>
  <Override PartName="/ppt/notesSlides/notesSlide959.xml" ContentType="application/vnd.openxmlformats-officedocument.presentationml.notesSlide+xml"/>
  <Override PartName="/ppt/notesSlides/notesSlide96.xml" ContentType="application/vnd.openxmlformats-officedocument.presentationml.notesSlide+xml"/>
  <Override PartName="/ppt/notesSlides/notesSlide960.xml" ContentType="application/vnd.openxmlformats-officedocument.presentationml.notesSlide+xml"/>
  <Override PartName="/ppt/notesSlides/notesSlide961.xml" ContentType="application/vnd.openxmlformats-officedocument.presentationml.notesSlide+xml"/>
  <Override PartName="/ppt/notesSlides/notesSlide962.xml" ContentType="application/vnd.openxmlformats-officedocument.presentationml.notesSlide+xml"/>
  <Override PartName="/ppt/notesSlides/notesSlide963.xml" ContentType="application/vnd.openxmlformats-officedocument.presentationml.notesSlide+xml"/>
  <Override PartName="/ppt/notesSlides/notesSlide964.xml" ContentType="application/vnd.openxmlformats-officedocument.presentationml.notesSlide+xml"/>
  <Override PartName="/ppt/notesSlides/notesSlide965.xml" ContentType="application/vnd.openxmlformats-officedocument.presentationml.notesSlide+xml"/>
  <Override PartName="/ppt/notesSlides/notesSlide966.xml" ContentType="application/vnd.openxmlformats-officedocument.presentationml.notesSlide+xml"/>
  <Override PartName="/ppt/notesSlides/notesSlide967.xml" ContentType="application/vnd.openxmlformats-officedocument.presentationml.notesSlide+xml"/>
  <Override PartName="/ppt/notesSlides/notesSlide968.xml" ContentType="application/vnd.openxmlformats-officedocument.presentationml.notesSlide+xml"/>
  <Override PartName="/ppt/notesSlides/notesSlide969.xml" ContentType="application/vnd.openxmlformats-officedocument.presentationml.notesSlide+xml"/>
  <Override PartName="/ppt/notesSlides/notesSlide97.xml" ContentType="application/vnd.openxmlformats-officedocument.presentationml.notesSlide+xml"/>
  <Override PartName="/ppt/notesSlides/notesSlide970.xml" ContentType="application/vnd.openxmlformats-officedocument.presentationml.notesSlide+xml"/>
  <Override PartName="/ppt/notesSlides/notesSlide971.xml" ContentType="application/vnd.openxmlformats-officedocument.presentationml.notesSlide+xml"/>
  <Override PartName="/ppt/notesSlides/notesSlide972.xml" ContentType="application/vnd.openxmlformats-officedocument.presentationml.notesSlide+xml"/>
  <Override PartName="/ppt/notesSlides/notesSlide973.xml" ContentType="application/vnd.openxmlformats-officedocument.presentationml.notesSlide+xml"/>
  <Override PartName="/ppt/notesSlides/notesSlide974.xml" ContentType="application/vnd.openxmlformats-officedocument.presentationml.notesSlide+xml"/>
  <Override PartName="/ppt/notesSlides/notesSlide975.xml" ContentType="application/vnd.openxmlformats-officedocument.presentationml.notesSlide+xml"/>
  <Override PartName="/ppt/notesSlides/notesSlide976.xml" ContentType="application/vnd.openxmlformats-officedocument.presentationml.notesSlide+xml"/>
  <Override PartName="/ppt/notesSlides/notesSlide977.xml" ContentType="application/vnd.openxmlformats-officedocument.presentationml.notesSlide+xml"/>
  <Override PartName="/ppt/notesSlides/notesSlide978.xml" ContentType="application/vnd.openxmlformats-officedocument.presentationml.notesSlide+xml"/>
  <Override PartName="/ppt/notesSlides/notesSlide979.xml" ContentType="application/vnd.openxmlformats-officedocument.presentationml.notesSlide+xml"/>
  <Override PartName="/ppt/notesSlides/notesSlide98.xml" ContentType="application/vnd.openxmlformats-officedocument.presentationml.notesSlide+xml"/>
  <Override PartName="/ppt/notesSlides/notesSlide980.xml" ContentType="application/vnd.openxmlformats-officedocument.presentationml.notesSlide+xml"/>
  <Override PartName="/ppt/notesSlides/notesSlide981.xml" ContentType="application/vnd.openxmlformats-officedocument.presentationml.notesSlide+xml"/>
  <Override PartName="/ppt/notesSlides/notesSlide982.xml" ContentType="application/vnd.openxmlformats-officedocument.presentationml.notesSlide+xml"/>
  <Override PartName="/ppt/notesSlides/notesSlide983.xml" ContentType="application/vnd.openxmlformats-officedocument.presentationml.notesSlide+xml"/>
  <Override PartName="/ppt/notesSlides/notesSlide984.xml" ContentType="application/vnd.openxmlformats-officedocument.presentationml.notesSlide+xml"/>
  <Override PartName="/ppt/notesSlides/notesSlide985.xml" ContentType="application/vnd.openxmlformats-officedocument.presentationml.notesSlide+xml"/>
  <Override PartName="/ppt/notesSlides/notesSlide986.xml" ContentType="application/vnd.openxmlformats-officedocument.presentationml.notesSlide+xml"/>
  <Override PartName="/ppt/notesSlides/notesSlide987.xml" ContentType="application/vnd.openxmlformats-officedocument.presentationml.notesSlide+xml"/>
  <Override PartName="/ppt/notesSlides/notesSlide988.xml" ContentType="application/vnd.openxmlformats-officedocument.presentationml.notesSlide+xml"/>
  <Override PartName="/ppt/notesSlides/notesSlide989.xml" ContentType="application/vnd.openxmlformats-officedocument.presentationml.notesSlide+xml"/>
  <Override PartName="/ppt/notesSlides/notesSlide99.xml" ContentType="application/vnd.openxmlformats-officedocument.presentationml.notesSlide+xml"/>
  <Override PartName="/ppt/notesSlides/notesSlide990.xml" ContentType="application/vnd.openxmlformats-officedocument.presentationml.notesSlide+xml"/>
  <Override PartName="/ppt/notesSlides/notesSlide991.xml" ContentType="application/vnd.openxmlformats-officedocument.presentationml.notesSlide+xml"/>
  <Override PartName="/ppt/notesSlides/notesSlide992.xml" ContentType="application/vnd.openxmlformats-officedocument.presentationml.notesSlide+xml"/>
  <Override PartName="/ppt/notesSlides/notesSlide993.xml" ContentType="application/vnd.openxmlformats-officedocument.presentationml.notesSlide+xml"/>
  <Override PartName="/ppt/notesSlides/notesSlide994.xml" ContentType="application/vnd.openxmlformats-officedocument.presentationml.notesSlide+xml"/>
  <Override PartName="/ppt/notesSlides/notesSlide995.xml" ContentType="application/vnd.openxmlformats-officedocument.presentationml.notesSlide+xml"/>
  <Override PartName="/ppt/notesSlides/notesSlide996.xml" ContentType="application/vnd.openxmlformats-officedocument.presentationml.notesSlide+xml"/>
  <Override PartName="/ppt/notesSlides/notesSlide997.xml" ContentType="application/vnd.openxmlformats-officedocument.presentationml.notesSlide+xml"/>
  <Override PartName="/ppt/notesSlides/notesSlide998.xml" ContentType="application/vnd.openxmlformats-officedocument.presentationml.notesSlide+xml"/>
  <Override PartName="/ppt/notesSlides/notesSlide9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00.xml" ContentType="application/vnd.openxmlformats-officedocument.themeOverride+xml"/>
  <Override PartName="/ppt/theme/themeOverride1000.xml" ContentType="application/vnd.openxmlformats-officedocument.themeOverride+xml"/>
  <Override PartName="/ppt/theme/themeOverride1001.xml" ContentType="application/vnd.openxmlformats-officedocument.themeOverride+xml"/>
  <Override PartName="/ppt/theme/themeOverride1002.xml" ContentType="application/vnd.openxmlformats-officedocument.themeOverride+xml"/>
  <Override PartName="/ppt/theme/themeOverride1003.xml" ContentType="application/vnd.openxmlformats-officedocument.themeOverride+xml"/>
  <Override PartName="/ppt/theme/themeOverride1004.xml" ContentType="application/vnd.openxmlformats-officedocument.themeOverride+xml"/>
  <Override PartName="/ppt/theme/themeOverride1005.xml" ContentType="application/vnd.openxmlformats-officedocument.themeOverride+xml"/>
  <Override PartName="/ppt/theme/themeOverride1006.xml" ContentType="application/vnd.openxmlformats-officedocument.themeOverride+xml"/>
  <Override PartName="/ppt/theme/themeOverride1007.xml" ContentType="application/vnd.openxmlformats-officedocument.themeOverride+xml"/>
  <Override PartName="/ppt/theme/themeOverride1008.xml" ContentType="application/vnd.openxmlformats-officedocument.themeOverride+xml"/>
  <Override PartName="/ppt/theme/themeOverride1009.xml" ContentType="application/vnd.openxmlformats-officedocument.themeOverride+xml"/>
  <Override PartName="/ppt/theme/themeOverride101.xml" ContentType="application/vnd.openxmlformats-officedocument.themeOverride+xml"/>
  <Override PartName="/ppt/theme/themeOverride1010.xml" ContentType="application/vnd.openxmlformats-officedocument.themeOverride+xml"/>
  <Override PartName="/ppt/theme/themeOverride1011.xml" ContentType="application/vnd.openxmlformats-officedocument.themeOverride+xml"/>
  <Override PartName="/ppt/theme/themeOverride1012.xml" ContentType="application/vnd.openxmlformats-officedocument.themeOverride+xml"/>
  <Override PartName="/ppt/theme/themeOverride1013.xml" ContentType="application/vnd.openxmlformats-officedocument.themeOverride+xml"/>
  <Override PartName="/ppt/theme/themeOverride1014.xml" ContentType="application/vnd.openxmlformats-officedocument.themeOverride+xml"/>
  <Override PartName="/ppt/theme/themeOverride1015.xml" ContentType="application/vnd.openxmlformats-officedocument.themeOverride+xml"/>
  <Override PartName="/ppt/theme/themeOverride1016.xml" ContentType="application/vnd.openxmlformats-officedocument.themeOverride+xml"/>
  <Override PartName="/ppt/theme/themeOverride1017.xml" ContentType="application/vnd.openxmlformats-officedocument.themeOverride+xml"/>
  <Override PartName="/ppt/theme/themeOverride1018.xml" ContentType="application/vnd.openxmlformats-officedocument.themeOverride+xml"/>
  <Override PartName="/ppt/theme/themeOverride1019.xml" ContentType="application/vnd.openxmlformats-officedocument.themeOverride+xml"/>
  <Override PartName="/ppt/theme/themeOverride102.xml" ContentType="application/vnd.openxmlformats-officedocument.themeOverride+xml"/>
  <Override PartName="/ppt/theme/themeOverride1020.xml" ContentType="application/vnd.openxmlformats-officedocument.themeOverride+xml"/>
  <Override PartName="/ppt/theme/themeOverride1021.xml" ContentType="application/vnd.openxmlformats-officedocument.themeOverride+xml"/>
  <Override PartName="/ppt/theme/themeOverride1022.xml" ContentType="application/vnd.openxmlformats-officedocument.themeOverride+xml"/>
  <Override PartName="/ppt/theme/themeOverride1023.xml" ContentType="application/vnd.openxmlformats-officedocument.themeOverride+xml"/>
  <Override PartName="/ppt/theme/themeOverride1024.xml" ContentType="application/vnd.openxmlformats-officedocument.themeOverride+xml"/>
  <Override PartName="/ppt/theme/themeOverride1025.xml" ContentType="application/vnd.openxmlformats-officedocument.themeOverride+xml"/>
  <Override PartName="/ppt/theme/themeOverride1026.xml" ContentType="application/vnd.openxmlformats-officedocument.themeOverride+xml"/>
  <Override PartName="/ppt/theme/themeOverride1027.xml" ContentType="application/vnd.openxmlformats-officedocument.themeOverride+xml"/>
  <Override PartName="/ppt/theme/themeOverride1028.xml" ContentType="application/vnd.openxmlformats-officedocument.themeOverride+xml"/>
  <Override PartName="/ppt/theme/themeOverride1029.xml" ContentType="application/vnd.openxmlformats-officedocument.themeOverride+xml"/>
  <Override PartName="/ppt/theme/themeOverride103.xml" ContentType="application/vnd.openxmlformats-officedocument.themeOverride+xml"/>
  <Override PartName="/ppt/theme/themeOverride1030.xml" ContentType="application/vnd.openxmlformats-officedocument.themeOverride+xml"/>
  <Override PartName="/ppt/theme/themeOverride1031.xml" ContentType="application/vnd.openxmlformats-officedocument.themeOverride+xml"/>
  <Override PartName="/ppt/theme/themeOverride1032.xml" ContentType="application/vnd.openxmlformats-officedocument.themeOverride+xml"/>
  <Override PartName="/ppt/theme/themeOverride1033.xml" ContentType="application/vnd.openxmlformats-officedocument.themeOverride+xml"/>
  <Override PartName="/ppt/theme/themeOverride1034.xml" ContentType="application/vnd.openxmlformats-officedocument.themeOverride+xml"/>
  <Override PartName="/ppt/theme/themeOverride1035.xml" ContentType="application/vnd.openxmlformats-officedocument.themeOverride+xml"/>
  <Override PartName="/ppt/theme/themeOverride1036.xml" ContentType="application/vnd.openxmlformats-officedocument.themeOverride+xml"/>
  <Override PartName="/ppt/theme/themeOverride1037.xml" ContentType="application/vnd.openxmlformats-officedocument.themeOverride+xml"/>
  <Override PartName="/ppt/theme/themeOverride1038.xml" ContentType="application/vnd.openxmlformats-officedocument.themeOverride+xml"/>
  <Override PartName="/ppt/theme/themeOverride1039.xml" ContentType="application/vnd.openxmlformats-officedocument.themeOverride+xml"/>
  <Override PartName="/ppt/theme/themeOverride104.xml" ContentType="application/vnd.openxmlformats-officedocument.themeOverride+xml"/>
  <Override PartName="/ppt/theme/themeOverride1040.xml" ContentType="application/vnd.openxmlformats-officedocument.themeOverride+xml"/>
  <Override PartName="/ppt/theme/themeOverride1041.xml" ContentType="application/vnd.openxmlformats-officedocument.themeOverride+xml"/>
  <Override PartName="/ppt/theme/themeOverride1042.xml" ContentType="application/vnd.openxmlformats-officedocument.themeOverride+xml"/>
  <Override PartName="/ppt/theme/themeOverride1043.xml" ContentType="application/vnd.openxmlformats-officedocument.themeOverride+xml"/>
  <Override PartName="/ppt/theme/themeOverride1044.xml" ContentType="application/vnd.openxmlformats-officedocument.themeOverride+xml"/>
  <Override PartName="/ppt/theme/themeOverride1045.xml" ContentType="application/vnd.openxmlformats-officedocument.themeOverride+xml"/>
  <Override PartName="/ppt/theme/themeOverride1046.xml" ContentType="application/vnd.openxmlformats-officedocument.themeOverride+xml"/>
  <Override PartName="/ppt/theme/themeOverride1047.xml" ContentType="application/vnd.openxmlformats-officedocument.themeOverride+xml"/>
  <Override PartName="/ppt/theme/themeOverride1048.xml" ContentType="application/vnd.openxmlformats-officedocument.themeOverride+xml"/>
  <Override PartName="/ppt/theme/themeOverride1049.xml" ContentType="application/vnd.openxmlformats-officedocument.themeOverride+xml"/>
  <Override PartName="/ppt/theme/themeOverride105.xml" ContentType="application/vnd.openxmlformats-officedocument.themeOverride+xml"/>
  <Override PartName="/ppt/theme/themeOverride1050.xml" ContentType="application/vnd.openxmlformats-officedocument.themeOverride+xml"/>
  <Override PartName="/ppt/theme/themeOverride1051.xml" ContentType="application/vnd.openxmlformats-officedocument.themeOverride+xml"/>
  <Override PartName="/ppt/theme/themeOverride1052.xml" ContentType="application/vnd.openxmlformats-officedocument.themeOverride+xml"/>
  <Override PartName="/ppt/theme/themeOverride1053.xml" ContentType="application/vnd.openxmlformats-officedocument.themeOverride+xml"/>
  <Override PartName="/ppt/theme/themeOverride1054.xml" ContentType="application/vnd.openxmlformats-officedocument.themeOverride+xml"/>
  <Override PartName="/ppt/theme/themeOverride1055.xml" ContentType="application/vnd.openxmlformats-officedocument.themeOverride+xml"/>
  <Override PartName="/ppt/theme/themeOverride1056.xml" ContentType="application/vnd.openxmlformats-officedocument.themeOverride+xml"/>
  <Override PartName="/ppt/theme/themeOverride1057.xml" ContentType="application/vnd.openxmlformats-officedocument.themeOverride+xml"/>
  <Override PartName="/ppt/theme/themeOverride1058.xml" ContentType="application/vnd.openxmlformats-officedocument.themeOverride+xml"/>
  <Override PartName="/ppt/theme/themeOverride1059.xml" ContentType="application/vnd.openxmlformats-officedocument.themeOverride+xml"/>
  <Override PartName="/ppt/theme/themeOverride106.xml" ContentType="application/vnd.openxmlformats-officedocument.themeOverride+xml"/>
  <Override PartName="/ppt/theme/themeOverride1060.xml" ContentType="application/vnd.openxmlformats-officedocument.themeOverride+xml"/>
  <Override PartName="/ppt/theme/themeOverride1061.xml" ContentType="application/vnd.openxmlformats-officedocument.themeOverride+xml"/>
  <Override PartName="/ppt/theme/themeOverride1062.xml" ContentType="application/vnd.openxmlformats-officedocument.themeOverride+xml"/>
  <Override PartName="/ppt/theme/themeOverride1063.xml" ContentType="application/vnd.openxmlformats-officedocument.themeOverride+xml"/>
  <Override PartName="/ppt/theme/themeOverride1064.xml" ContentType="application/vnd.openxmlformats-officedocument.themeOverride+xml"/>
  <Override PartName="/ppt/theme/themeOverride1065.xml" ContentType="application/vnd.openxmlformats-officedocument.themeOverride+xml"/>
  <Override PartName="/ppt/theme/themeOverride1066.xml" ContentType="application/vnd.openxmlformats-officedocument.themeOverride+xml"/>
  <Override PartName="/ppt/theme/themeOverride1067.xml" ContentType="application/vnd.openxmlformats-officedocument.themeOverride+xml"/>
  <Override PartName="/ppt/theme/themeOverride1068.xml" ContentType="application/vnd.openxmlformats-officedocument.themeOverride+xml"/>
  <Override PartName="/ppt/theme/themeOverride1069.xml" ContentType="application/vnd.openxmlformats-officedocument.themeOverride+xml"/>
  <Override PartName="/ppt/theme/themeOverride107.xml" ContentType="application/vnd.openxmlformats-officedocument.themeOverride+xml"/>
  <Override PartName="/ppt/theme/themeOverride1070.xml" ContentType="application/vnd.openxmlformats-officedocument.themeOverride+xml"/>
  <Override PartName="/ppt/theme/themeOverride1071.xml" ContentType="application/vnd.openxmlformats-officedocument.themeOverride+xml"/>
  <Override PartName="/ppt/theme/themeOverride1072.xml" ContentType="application/vnd.openxmlformats-officedocument.themeOverride+xml"/>
  <Override PartName="/ppt/theme/themeOverride1073.xml" ContentType="application/vnd.openxmlformats-officedocument.themeOverride+xml"/>
  <Override PartName="/ppt/theme/themeOverride1074.xml" ContentType="application/vnd.openxmlformats-officedocument.themeOverride+xml"/>
  <Override PartName="/ppt/theme/themeOverride1075.xml" ContentType="application/vnd.openxmlformats-officedocument.themeOverride+xml"/>
  <Override PartName="/ppt/theme/themeOverride1076.xml" ContentType="application/vnd.openxmlformats-officedocument.themeOverride+xml"/>
  <Override PartName="/ppt/theme/themeOverride1077.xml" ContentType="application/vnd.openxmlformats-officedocument.themeOverride+xml"/>
  <Override PartName="/ppt/theme/themeOverride1078.xml" ContentType="application/vnd.openxmlformats-officedocument.themeOverride+xml"/>
  <Override PartName="/ppt/theme/themeOverride1079.xml" ContentType="application/vnd.openxmlformats-officedocument.themeOverride+xml"/>
  <Override PartName="/ppt/theme/themeOverride108.xml" ContentType="application/vnd.openxmlformats-officedocument.themeOverride+xml"/>
  <Override PartName="/ppt/theme/themeOverride1080.xml" ContentType="application/vnd.openxmlformats-officedocument.themeOverride+xml"/>
  <Override PartName="/ppt/theme/themeOverride1081.xml" ContentType="application/vnd.openxmlformats-officedocument.themeOverride+xml"/>
  <Override PartName="/ppt/theme/themeOverride1082.xml" ContentType="application/vnd.openxmlformats-officedocument.themeOverride+xml"/>
  <Override PartName="/ppt/theme/themeOverride1083.xml" ContentType="application/vnd.openxmlformats-officedocument.themeOverride+xml"/>
  <Override PartName="/ppt/theme/themeOverride1084.xml" ContentType="application/vnd.openxmlformats-officedocument.themeOverride+xml"/>
  <Override PartName="/ppt/theme/themeOverride1085.xml" ContentType="application/vnd.openxmlformats-officedocument.themeOverride+xml"/>
  <Override PartName="/ppt/theme/themeOverride1086.xml" ContentType="application/vnd.openxmlformats-officedocument.themeOverride+xml"/>
  <Override PartName="/ppt/theme/themeOverride1087.xml" ContentType="application/vnd.openxmlformats-officedocument.themeOverride+xml"/>
  <Override PartName="/ppt/theme/themeOverride1088.xml" ContentType="application/vnd.openxmlformats-officedocument.themeOverride+xml"/>
  <Override PartName="/ppt/theme/themeOverride1089.xml" ContentType="application/vnd.openxmlformats-officedocument.themeOverride+xml"/>
  <Override PartName="/ppt/theme/themeOverride109.xml" ContentType="application/vnd.openxmlformats-officedocument.themeOverride+xml"/>
  <Override PartName="/ppt/theme/themeOverride1090.xml" ContentType="application/vnd.openxmlformats-officedocument.themeOverride+xml"/>
  <Override PartName="/ppt/theme/themeOverride1091.xml" ContentType="application/vnd.openxmlformats-officedocument.themeOverride+xml"/>
  <Override PartName="/ppt/theme/themeOverride1092.xml" ContentType="application/vnd.openxmlformats-officedocument.themeOverride+xml"/>
  <Override PartName="/ppt/theme/themeOverride1093.xml" ContentType="application/vnd.openxmlformats-officedocument.themeOverride+xml"/>
  <Override PartName="/ppt/theme/themeOverride1094.xml" ContentType="application/vnd.openxmlformats-officedocument.themeOverride+xml"/>
  <Override PartName="/ppt/theme/themeOverride1095.xml" ContentType="application/vnd.openxmlformats-officedocument.themeOverride+xml"/>
  <Override PartName="/ppt/theme/themeOverride1096.xml" ContentType="application/vnd.openxmlformats-officedocument.themeOverride+xml"/>
  <Override PartName="/ppt/theme/themeOverride1097.xml" ContentType="application/vnd.openxmlformats-officedocument.themeOverride+xml"/>
  <Override PartName="/ppt/theme/themeOverride1098.xml" ContentType="application/vnd.openxmlformats-officedocument.themeOverride+xml"/>
  <Override PartName="/ppt/theme/themeOverride1099.xml" ContentType="application/vnd.openxmlformats-officedocument.themeOverride+xml"/>
  <Override PartName="/ppt/theme/themeOverride11.xml" ContentType="application/vnd.openxmlformats-officedocument.themeOverride+xml"/>
  <Override PartName="/ppt/theme/themeOverride110.xml" ContentType="application/vnd.openxmlformats-officedocument.themeOverride+xml"/>
  <Override PartName="/ppt/theme/themeOverride1100.xml" ContentType="application/vnd.openxmlformats-officedocument.themeOverride+xml"/>
  <Override PartName="/ppt/theme/themeOverride1101.xml" ContentType="application/vnd.openxmlformats-officedocument.themeOverride+xml"/>
  <Override PartName="/ppt/theme/themeOverride1102.xml" ContentType="application/vnd.openxmlformats-officedocument.themeOverride+xml"/>
  <Override PartName="/ppt/theme/themeOverride1103.xml" ContentType="application/vnd.openxmlformats-officedocument.themeOverride+xml"/>
  <Override PartName="/ppt/theme/themeOverride1104.xml" ContentType="application/vnd.openxmlformats-officedocument.themeOverride+xml"/>
  <Override PartName="/ppt/theme/themeOverride1105.xml" ContentType="application/vnd.openxmlformats-officedocument.themeOverride+xml"/>
  <Override PartName="/ppt/theme/themeOverride1106.xml" ContentType="application/vnd.openxmlformats-officedocument.themeOverride+xml"/>
  <Override PartName="/ppt/theme/themeOverride1107.xml" ContentType="application/vnd.openxmlformats-officedocument.themeOverride+xml"/>
  <Override PartName="/ppt/theme/themeOverride1108.xml" ContentType="application/vnd.openxmlformats-officedocument.themeOverride+xml"/>
  <Override PartName="/ppt/theme/themeOverride1109.xml" ContentType="application/vnd.openxmlformats-officedocument.themeOverride+xml"/>
  <Override PartName="/ppt/theme/themeOverride111.xml" ContentType="application/vnd.openxmlformats-officedocument.themeOverride+xml"/>
  <Override PartName="/ppt/theme/themeOverride1110.xml" ContentType="application/vnd.openxmlformats-officedocument.themeOverride+xml"/>
  <Override PartName="/ppt/theme/themeOverride1111.xml" ContentType="application/vnd.openxmlformats-officedocument.themeOverride+xml"/>
  <Override PartName="/ppt/theme/themeOverride1112.xml" ContentType="application/vnd.openxmlformats-officedocument.themeOverride+xml"/>
  <Override PartName="/ppt/theme/themeOverride1113.xml" ContentType="application/vnd.openxmlformats-officedocument.themeOverride+xml"/>
  <Override PartName="/ppt/theme/themeOverride1114.xml" ContentType="application/vnd.openxmlformats-officedocument.themeOverride+xml"/>
  <Override PartName="/ppt/theme/themeOverride1115.xml" ContentType="application/vnd.openxmlformats-officedocument.themeOverride+xml"/>
  <Override PartName="/ppt/theme/themeOverride1116.xml" ContentType="application/vnd.openxmlformats-officedocument.themeOverride+xml"/>
  <Override PartName="/ppt/theme/themeOverride1117.xml" ContentType="application/vnd.openxmlformats-officedocument.themeOverride+xml"/>
  <Override PartName="/ppt/theme/themeOverride1118.xml" ContentType="application/vnd.openxmlformats-officedocument.themeOverride+xml"/>
  <Override PartName="/ppt/theme/themeOverride1119.xml" ContentType="application/vnd.openxmlformats-officedocument.themeOverride+xml"/>
  <Override PartName="/ppt/theme/themeOverride112.xml" ContentType="application/vnd.openxmlformats-officedocument.themeOverride+xml"/>
  <Override PartName="/ppt/theme/themeOverride1120.xml" ContentType="application/vnd.openxmlformats-officedocument.themeOverride+xml"/>
  <Override PartName="/ppt/theme/themeOverride1121.xml" ContentType="application/vnd.openxmlformats-officedocument.themeOverride+xml"/>
  <Override PartName="/ppt/theme/themeOverride1122.xml" ContentType="application/vnd.openxmlformats-officedocument.themeOverride+xml"/>
  <Override PartName="/ppt/theme/themeOverride1123.xml" ContentType="application/vnd.openxmlformats-officedocument.themeOverride+xml"/>
  <Override PartName="/ppt/theme/themeOverride1124.xml" ContentType="application/vnd.openxmlformats-officedocument.themeOverride+xml"/>
  <Override PartName="/ppt/theme/themeOverride1125.xml" ContentType="application/vnd.openxmlformats-officedocument.themeOverride+xml"/>
  <Override PartName="/ppt/theme/themeOverride1126.xml" ContentType="application/vnd.openxmlformats-officedocument.themeOverride+xml"/>
  <Override PartName="/ppt/theme/themeOverride1127.xml" ContentType="application/vnd.openxmlformats-officedocument.themeOverride+xml"/>
  <Override PartName="/ppt/theme/themeOverride1128.xml" ContentType="application/vnd.openxmlformats-officedocument.themeOverride+xml"/>
  <Override PartName="/ppt/theme/themeOverride1129.xml" ContentType="application/vnd.openxmlformats-officedocument.themeOverride+xml"/>
  <Override PartName="/ppt/theme/themeOverride113.xml" ContentType="application/vnd.openxmlformats-officedocument.themeOverride+xml"/>
  <Override PartName="/ppt/theme/themeOverride1130.xml" ContentType="application/vnd.openxmlformats-officedocument.themeOverride+xml"/>
  <Override PartName="/ppt/theme/themeOverride1131.xml" ContentType="application/vnd.openxmlformats-officedocument.themeOverride+xml"/>
  <Override PartName="/ppt/theme/themeOverride1132.xml" ContentType="application/vnd.openxmlformats-officedocument.themeOverride+xml"/>
  <Override PartName="/ppt/theme/themeOverride1133.xml" ContentType="application/vnd.openxmlformats-officedocument.themeOverride+xml"/>
  <Override PartName="/ppt/theme/themeOverride1134.xml" ContentType="application/vnd.openxmlformats-officedocument.themeOverride+xml"/>
  <Override PartName="/ppt/theme/themeOverride1135.xml" ContentType="application/vnd.openxmlformats-officedocument.themeOverride+xml"/>
  <Override PartName="/ppt/theme/themeOverride1136.xml" ContentType="application/vnd.openxmlformats-officedocument.themeOverride+xml"/>
  <Override PartName="/ppt/theme/themeOverride1137.xml" ContentType="application/vnd.openxmlformats-officedocument.themeOverride+xml"/>
  <Override PartName="/ppt/theme/themeOverride1138.xml" ContentType="application/vnd.openxmlformats-officedocument.themeOverride+xml"/>
  <Override PartName="/ppt/theme/themeOverride1139.xml" ContentType="application/vnd.openxmlformats-officedocument.themeOverride+xml"/>
  <Override PartName="/ppt/theme/themeOverride114.xml" ContentType="application/vnd.openxmlformats-officedocument.themeOverride+xml"/>
  <Override PartName="/ppt/theme/themeOverride1140.xml" ContentType="application/vnd.openxmlformats-officedocument.themeOverride+xml"/>
  <Override PartName="/ppt/theme/themeOverride1141.xml" ContentType="application/vnd.openxmlformats-officedocument.themeOverride+xml"/>
  <Override PartName="/ppt/theme/themeOverride1142.xml" ContentType="application/vnd.openxmlformats-officedocument.themeOverride+xml"/>
  <Override PartName="/ppt/theme/themeOverride1143.xml" ContentType="application/vnd.openxmlformats-officedocument.themeOverride+xml"/>
  <Override PartName="/ppt/theme/themeOverride1144.xml" ContentType="application/vnd.openxmlformats-officedocument.themeOverride+xml"/>
  <Override PartName="/ppt/theme/themeOverride1145.xml" ContentType="application/vnd.openxmlformats-officedocument.themeOverride+xml"/>
  <Override PartName="/ppt/theme/themeOverride1146.xml" ContentType="application/vnd.openxmlformats-officedocument.themeOverride+xml"/>
  <Override PartName="/ppt/theme/themeOverride1147.xml" ContentType="application/vnd.openxmlformats-officedocument.themeOverride+xml"/>
  <Override PartName="/ppt/theme/themeOverride1148.xml" ContentType="application/vnd.openxmlformats-officedocument.themeOverride+xml"/>
  <Override PartName="/ppt/theme/themeOverride1149.xml" ContentType="application/vnd.openxmlformats-officedocument.themeOverride+xml"/>
  <Override PartName="/ppt/theme/themeOverride115.xml" ContentType="application/vnd.openxmlformats-officedocument.themeOverride+xml"/>
  <Override PartName="/ppt/theme/themeOverride1150.xml" ContentType="application/vnd.openxmlformats-officedocument.themeOverride+xml"/>
  <Override PartName="/ppt/theme/themeOverride1151.xml" ContentType="application/vnd.openxmlformats-officedocument.themeOverride+xml"/>
  <Override PartName="/ppt/theme/themeOverride1152.xml" ContentType="application/vnd.openxmlformats-officedocument.themeOverride+xml"/>
  <Override PartName="/ppt/theme/themeOverride1153.xml" ContentType="application/vnd.openxmlformats-officedocument.themeOverride+xml"/>
  <Override PartName="/ppt/theme/themeOverride1154.xml" ContentType="application/vnd.openxmlformats-officedocument.themeOverride+xml"/>
  <Override PartName="/ppt/theme/themeOverride1155.xml" ContentType="application/vnd.openxmlformats-officedocument.themeOverride+xml"/>
  <Override PartName="/ppt/theme/themeOverride1156.xml" ContentType="application/vnd.openxmlformats-officedocument.themeOverride+xml"/>
  <Override PartName="/ppt/theme/themeOverride1157.xml" ContentType="application/vnd.openxmlformats-officedocument.themeOverride+xml"/>
  <Override PartName="/ppt/theme/themeOverride1158.xml" ContentType="application/vnd.openxmlformats-officedocument.themeOverride+xml"/>
  <Override PartName="/ppt/theme/themeOverride1159.xml" ContentType="application/vnd.openxmlformats-officedocument.themeOverride+xml"/>
  <Override PartName="/ppt/theme/themeOverride116.xml" ContentType="application/vnd.openxmlformats-officedocument.themeOverride+xml"/>
  <Override PartName="/ppt/theme/themeOverride1160.xml" ContentType="application/vnd.openxmlformats-officedocument.themeOverride+xml"/>
  <Override PartName="/ppt/theme/themeOverride1161.xml" ContentType="application/vnd.openxmlformats-officedocument.themeOverride+xml"/>
  <Override PartName="/ppt/theme/themeOverride1162.xml" ContentType="application/vnd.openxmlformats-officedocument.themeOverride+xml"/>
  <Override PartName="/ppt/theme/themeOverride1163.xml" ContentType="application/vnd.openxmlformats-officedocument.themeOverride+xml"/>
  <Override PartName="/ppt/theme/themeOverride1164.xml" ContentType="application/vnd.openxmlformats-officedocument.themeOverride+xml"/>
  <Override PartName="/ppt/theme/themeOverride1165.xml" ContentType="application/vnd.openxmlformats-officedocument.themeOverride+xml"/>
  <Override PartName="/ppt/theme/themeOverride1166.xml" ContentType="application/vnd.openxmlformats-officedocument.themeOverride+xml"/>
  <Override PartName="/ppt/theme/themeOverride1167.xml" ContentType="application/vnd.openxmlformats-officedocument.themeOverride+xml"/>
  <Override PartName="/ppt/theme/themeOverride1168.xml" ContentType="application/vnd.openxmlformats-officedocument.themeOverride+xml"/>
  <Override PartName="/ppt/theme/themeOverride1169.xml" ContentType="application/vnd.openxmlformats-officedocument.themeOverride+xml"/>
  <Override PartName="/ppt/theme/themeOverride117.xml" ContentType="application/vnd.openxmlformats-officedocument.themeOverride+xml"/>
  <Override PartName="/ppt/theme/themeOverride1170.xml" ContentType="application/vnd.openxmlformats-officedocument.themeOverride+xml"/>
  <Override PartName="/ppt/theme/themeOverride1171.xml" ContentType="application/vnd.openxmlformats-officedocument.themeOverride+xml"/>
  <Override PartName="/ppt/theme/themeOverride1172.xml" ContentType="application/vnd.openxmlformats-officedocument.themeOverride+xml"/>
  <Override PartName="/ppt/theme/themeOverride1173.xml" ContentType="application/vnd.openxmlformats-officedocument.themeOverride+xml"/>
  <Override PartName="/ppt/theme/themeOverride1174.xml" ContentType="application/vnd.openxmlformats-officedocument.themeOverride+xml"/>
  <Override PartName="/ppt/theme/themeOverride1175.xml" ContentType="application/vnd.openxmlformats-officedocument.themeOverride+xml"/>
  <Override PartName="/ppt/theme/themeOverride1176.xml" ContentType="application/vnd.openxmlformats-officedocument.themeOverride+xml"/>
  <Override PartName="/ppt/theme/themeOverride1177.xml" ContentType="application/vnd.openxmlformats-officedocument.themeOverride+xml"/>
  <Override PartName="/ppt/theme/themeOverride1178.xml" ContentType="application/vnd.openxmlformats-officedocument.themeOverride+xml"/>
  <Override PartName="/ppt/theme/themeOverride1179.xml" ContentType="application/vnd.openxmlformats-officedocument.themeOverride+xml"/>
  <Override PartName="/ppt/theme/themeOverride118.xml" ContentType="application/vnd.openxmlformats-officedocument.themeOverride+xml"/>
  <Override PartName="/ppt/theme/themeOverride1180.xml" ContentType="application/vnd.openxmlformats-officedocument.themeOverride+xml"/>
  <Override PartName="/ppt/theme/themeOverride1181.xml" ContentType="application/vnd.openxmlformats-officedocument.themeOverride+xml"/>
  <Override PartName="/ppt/theme/themeOverride1182.xml" ContentType="application/vnd.openxmlformats-officedocument.themeOverride+xml"/>
  <Override PartName="/ppt/theme/themeOverride1183.xml" ContentType="application/vnd.openxmlformats-officedocument.themeOverride+xml"/>
  <Override PartName="/ppt/theme/themeOverride1184.xml" ContentType="application/vnd.openxmlformats-officedocument.themeOverride+xml"/>
  <Override PartName="/ppt/theme/themeOverride1185.xml" ContentType="application/vnd.openxmlformats-officedocument.themeOverride+xml"/>
  <Override PartName="/ppt/theme/themeOverride1186.xml" ContentType="application/vnd.openxmlformats-officedocument.themeOverride+xml"/>
  <Override PartName="/ppt/theme/themeOverride1187.xml" ContentType="application/vnd.openxmlformats-officedocument.themeOverride+xml"/>
  <Override PartName="/ppt/theme/themeOverride1188.xml" ContentType="application/vnd.openxmlformats-officedocument.themeOverride+xml"/>
  <Override PartName="/ppt/theme/themeOverride1189.xml" ContentType="application/vnd.openxmlformats-officedocument.themeOverride+xml"/>
  <Override PartName="/ppt/theme/themeOverride119.xml" ContentType="application/vnd.openxmlformats-officedocument.themeOverride+xml"/>
  <Override PartName="/ppt/theme/themeOverride1190.xml" ContentType="application/vnd.openxmlformats-officedocument.themeOverride+xml"/>
  <Override PartName="/ppt/theme/themeOverride1191.xml" ContentType="application/vnd.openxmlformats-officedocument.themeOverride+xml"/>
  <Override PartName="/ppt/theme/themeOverride1192.xml" ContentType="application/vnd.openxmlformats-officedocument.themeOverride+xml"/>
  <Override PartName="/ppt/theme/themeOverride1193.xml" ContentType="application/vnd.openxmlformats-officedocument.themeOverride+xml"/>
  <Override PartName="/ppt/theme/themeOverride1194.xml" ContentType="application/vnd.openxmlformats-officedocument.themeOverride+xml"/>
  <Override PartName="/ppt/theme/themeOverride1195.xml" ContentType="application/vnd.openxmlformats-officedocument.themeOverride+xml"/>
  <Override PartName="/ppt/theme/themeOverride1196.xml" ContentType="application/vnd.openxmlformats-officedocument.themeOverride+xml"/>
  <Override PartName="/ppt/theme/themeOverride1197.xml" ContentType="application/vnd.openxmlformats-officedocument.themeOverride+xml"/>
  <Override PartName="/ppt/theme/themeOverride1198.xml" ContentType="application/vnd.openxmlformats-officedocument.themeOverride+xml"/>
  <Override PartName="/ppt/theme/themeOverride1199.xml" ContentType="application/vnd.openxmlformats-officedocument.themeOverride+xml"/>
  <Override PartName="/ppt/theme/themeOverride12.xml" ContentType="application/vnd.openxmlformats-officedocument.themeOverride+xml"/>
  <Override PartName="/ppt/theme/themeOverride120.xml" ContentType="application/vnd.openxmlformats-officedocument.themeOverride+xml"/>
  <Override PartName="/ppt/theme/themeOverride1200.xml" ContentType="application/vnd.openxmlformats-officedocument.themeOverride+xml"/>
  <Override PartName="/ppt/theme/themeOverride1201.xml" ContentType="application/vnd.openxmlformats-officedocument.themeOverride+xml"/>
  <Override PartName="/ppt/theme/themeOverride1202.xml" ContentType="application/vnd.openxmlformats-officedocument.themeOverride+xml"/>
  <Override PartName="/ppt/theme/themeOverride1203.xml" ContentType="application/vnd.openxmlformats-officedocument.themeOverride+xml"/>
  <Override PartName="/ppt/theme/themeOverride1204.xml" ContentType="application/vnd.openxmlformats-officedocument.themeOverride+xml"/>
  <Override PartName="/ppt/theme/themeOverride1205.xml" ContentType="application/vnd.openxmlformats-officedocument.themeOverride+xml"/>
  <Override PartName="/ppt/theme/themeOverride1206.xml" ContentType="application/vnd.openxmlformats-officedocument.themeOverride+xml"/>
  <Override PartName="/ppt/theme/themeOverride1207.xml" ContentType="application/vnd.openxmlformats-officedocument.themeOverride+xml"/>
  <Override PartName="/ppt/theme/themeOverride1208.xml" ContentType="application/vnd.openxmlformats-officedocument.themeOverride+xml"/>
  <Override PartName="/ppt/theme/themeOverride1209.xml" ContentType="application/vnd.openxmlformats-officedocument.themeOverride+xml"/>
  <Override PartName="/ppt/theme/themeOverride121.xml" ContentType="application/vnd.openxmlformats-officedocument.themeOverride+xml"/>
  <Override PartName="/ppt/theme/themeOverride1210.xml" ContentType="application/vnd.openxmlformats-officedocument.themeOverride+xml"/>
  <Override PartName="/ppt/theme/themeOverride1211.xml" ContentType="application/vnd.openxmlformats-officedocument.themeOverride+xml"/>
  <Override PartName="/ppt/theme/themeOverride1212.xml" ContentType="application/vnd.openxmlformats-officedocument.themeOverride+xml"/>
  <Override PartName="/ppt/theme/themeOverride1213.xml" ContentType="application/vnd.openxmlformats-officedocument.themeOverride+xml"/>
  <Override PartName="/ppt/theme/themeOverride1214.xml" ContentType="application/vnd.openxmlformats-officedocument.themeOverride+xml"/>
  <Override PartName="/ppt/theme/themeOverride1215.xml" ContentType="application/vnd.openxmlformats-officedocument.themeOverride+xml"/>
  <Override PartName="/ppt/theme/themeOverride1216.xml" ContentType="application/vnd.openxmlformats-officedocument.themeOverride+xml"/>
  <Override PartName="/ppt/theme/themeOverride1217.xml" ContentType="application/vnd.openxmlformats-officedocument.themeOverride+xml"/>
  <Override PartName="/ppt/theme/themeOverride1218.xml" ContentType="application/vnd.openxmlformats-officedocument.themeOverride+xml"/>
  <Override PartName="/ppt/theme/themeOverride1219.xml" ContentType="application/vnd.openxmlformats-officedocument.themeOverride+xml"/>
  <Override PartName="/ppt/theme/themeOverride122.xml" ContentType="application/vnd.openxmlformats-officedocument.themeOverride+xml"/>
  <Override PartName="/ppt/theme/themeOverride1220.xml" ContentType="application/vnd.openxmlformats-officedocument.themeOverride+xml"/>
  <Override PartName="/ppt/theme/themeOverride1221.xml" ContentType="application/vnd.openxmlformats-officedocument.themeOverride+xml"/>
  <Override PartName="/ppt/theme/themeOverride1222.xml" ContentType="application/vnd.openxmlformats-officedocument.themeOverride+xml"/>
  <Override PartName="/ppt/theme/themeOverride1223.xml" ContentType="application/vnd.openxmlformats-officedocument.themeOverride+xml"/>
  <Override PartName="/ppt/theme/themeOverride1224.xml" ContentType="application/vnd.openxmlformats-officedocument.themeOverride+xml"/>
  <Override PartName="/ppt/theme/themeOverride1225.xml" ContentType="application/vnd.openxmlformats-officedocument.themeOverride+xml"/>
  <Override PartName="/ppt/theme/themeOverride1226.xml" ContentType="application/vnd.openxmlformats-officedocument.themeOverride+xml"/>
  <Override PartName="/ppt/theme/themeOverride1227.xml" ContentType="application/vnd.openxmlformats-officedocument.themeOverride+xml"/>
  <Override PartName="/ppt/theme/themeOverride1228.xml" ContentType="application/vnd.openxmlformats-officedocument.themeOverride+xml"/>
  <Override PartName="/ppt/theme/themeOverride1229.xml" ContentType="application/vnd.openxmlformats-officedocument.themeOverride+xml"/>
  <Override PartName="/ppt/theme/themeOverride123.xml" ContentType="application/vnd.openxmlformats-officedocument.themeOverride+xml"/>
  <Override PartName="/ppt/theme/themeOverride1230.xml" ContentType="application/vnd.openxmlformats-officedocument.themeOverride+xml"/>
  <Override PartName="/ppt/theme/themeOverride1231.xml" ContentType="application/vnd.openxmlformats-officedocument.themeOverride+xml"/>
  <Override PartName="/ppt/theme/themeOverride1232.xml" ContentType="application/vnd.openxmlformats-officedocument.themeOverride+xml"/>
  <Override PartName="/ppt/theme/themeOverride1233.xml" ContentType="application/vnd.openxmlformats-officedocument.themeOverride+xml"/>
  <Override PartName="/ppt/theme/themeOverride1234.xml" ContentType="application/vnd.openxmlformats-officedocument.themeOverride+xml"/>
  <Override PartName="/ppt/theme/themeOverride1235.xml" ContentType="application/vnd.openxmlformats-officedocument.themeOverride+xml"/>
  <Override PartName="/ppt/theme/themeOverride1236.xml" ContentType="application/vnd.openxmlformats-officedocument.themeOverride+xml"/>
  <Override PartName="/ppt/theme/themeOverride1237.xml" ContentType="application/vnd.openxmlformats-officedocument.themeOverride+xml"/>
  <Override PartName="/ppt/theme/themeOverride1238.xml" ContentType="application/vnd.openxmlformats-officedocument.themeOverride+xml"/>
  <Override PartName="/ppt/theme/themeOverride1239.xml" ContentType="application/vnd.openxmlformats-officedocument.themeOverride+xml"/>
  <Override PartName="/ppt/theme/themeOverride124.xml" ContentType="application/vnd.openxmlformats-officedocument.themeOverride+xml"/>
  <Override PartName="/ppt/theme/themeOverride1240.xml" ContentType="application/vnd.openxmlformats-officedocument.themeOverride+xml"/>
  <Override PartName="/ppt/theme/themeOverride1241.xml" ContentType="application/vnd.openxmlformats-officedocument.themeOverride+xml"/>
  <Override PartName="/ppt/theme/themeOverride1242.xml" ContentType="application/vnd.openxmlformats-officedocument.themeOverride+xml"/>
  <Override PartName="/ppt/theme/themeOverride1243.xml" ContentType="application/vnd.openxmlformats-officedocument.themeOverride+xml"/>
  <Override PartName="/ppt/theme/themeOverride1244.xml" ContentType="application/vnd.openxmlformats-officedocument.themeOverride+xml"/>
  <Override PartName="/ppt/theme/themeOverride1245.xml" ContentType="application/vnd.openxmlformats-officedocument.themeOverride+xml"/>
  <Override PartName="/ppt/theme/themeOverride1246.xml" ContentType="application/vnd.openxmlformats-officedocument.themeOverride+xml"/>
  <Override PartName="/ppt/theme/themeOverride1247.xml" ContentType="application/vnd.openxmlformats-officedocument.themeOverride+xml"/>
  <Override PartName="/ppt/theme/themeOverride1248.xml" ContentType="application/vnd.openxmlformats-officedocument.themeOverride+xml"/>
  <Override PartName="/ppt/theme/themeOverride1249.xml" ContentType="application/vnd.openxmlformats-officedocument.themeOverride+xml"/>
  <Override PartName="/ppt/theme/themeOverride125.xml" ContentType="application/vnd.openxmlformats-officedocument.themeOverride+xml"/>
  <Override PartName="/ppt/theme/themeOverride1250.xml" ContentType="application/vnd.openxmlformats-officedocument.themeOverride+xml"/>
  <Override PartName="/ppt/theme/themeOverride1251.xml" ContentType="application/vnd.openxmlformats-officedocument.themeOverride+xml"/>
  <Override PartName="/ppt/theme/themeOverride1252.xml" ContentType="application/vnd.openxmlformats-officedocument.themeOverride+xml"/>
  <Override PartName="/ppt/theme/themeOverride1253.xml" ContentType="application/vnd.openxmlformats-officedocument.themeOverride+xml"/>
  <Override PartName="/ppt/theme/themeOverride1254.xml" ContentType="application/vnd.openxmlformats-officedocument.themeOverride+xml"/>
  <Override PartName="/ppt/theme/themeOverride1255.xml" ContentType="application/vnd.openxmlformats-officedocument.themeOverride+xml"/>
  <Override PartName="/ppt/theme/themeOverride1256.xml" ContentType="application/vnd.openxmlformats-officedocument.themeOverride+xml"/>
  <Override PartName="/ppt/theme/themeOverride1257.xml" ContentType="application/vnd.openxmlformats-officedocument.themeOverride+xml"/>
  <Override PartName="/ppt/theme/themeOverride1258.xml" ContentType="application/vnd.openxmlformats-officedocument.themeOverride+xml"/>
  <Override PartName="/ppt/theme/themeOverride1259.xml" ContentType="application/vnd.openxmlformats-officedocument.themeOverride+xml"/>
  <Override PartName="/ppt/theme/themeOverride126.xml" ContentType="application/vnd.openxmlformats-officedocument.themeOverride+xml"/>
  <Override PartName="/ppt/theme/themeOverride1260.xml" ContentType="application/vnd.openxmlformats-officedocument.themeOverride+xml"/>
  <Override PartName="/ppt/theme/themeOverride1261.xml" ContentType="application/vnd.openxmlformats-officedocument.themeOverride+xml"/>
  <Override PartName="/ppt/theme/themeOverride1262.xml" ContentType="application/vnd.openxmlformats-officedocument.themeOverride+xml"/>
  <Override PartName="/ppt/theme/themeOverride1263.xml" ContentType="application/vnd.openxmlformats-officedocument.themeOverride+xml"/>
  <Override PartName="/ppt/theme/themeOverride1264.xml" ContentType="application/vnd.openxmlformats-officedocument.themeOverride+xml"/>
  <Override PartName="/ppt/theme/themeOverride1265.xml" ContentType="application/vnd.openxmlformats-officedocument.themeOverride+xml"/>
  <Override PartName="/ppt/theme/themeOverride1266.xml" ContentType="application/vnd.openxmlformats-officedocument.themeOverride+xml"/>
  <Override PartName="/ppt/theme/themeOverride1267.xml" ContentType="application/vnd.openxmlformats-officedocument.themeOverride+xml"/>
  <Override PartName="/ppt/theme/themeOverride1268.xml" ContentType="application/vnd.openxmlformats-officedocument.themeOverride+xml"/>
  <Override PartName="/ppt/theme/themeOverride1269.xml" ContentType="application/vnd.openxmlformats-officedocument.themeOverride+xml"/>
  <Override PartName="/ppt/theme/themeOverride127.xml" ContentType="application/vnd.openxmlformats-officedocument.themeOverride+xml"/>
  <Override PartName="/ppt/theme/themeOverride1270.xml" ContentType="application/vnd.openxmlformats-officedocument.themeOverride+xml"/>
  <Override PartName="/ppt/theme/themeOverride1271.xml" ContentType="application/vnd.openxmlformats-officedocument.themeOverride+xml"/>
  <Override PartName="/ppt/theme/themeOverride1272.xml" ContentType="application/vnd.openxmlformats-officedocument.themeOverride+xml"/>
  <Override PartName="/ppt/theme/themeOverride1273.xml" ContentType="application/vnd.openxmlformats-officedocument.themeOverride+xml"/>
  <Override PartName="/ppt/theme/themeOverride1274.xml" ContentType="application/vnd.openxmlformats-officedocument.themeOverride+xml"/>
  <Override PartName="/ppt/theme/themeOverride1275.xml" ContentType="application/vnd.openxmlformats-officedocument.themeOverride+xml"/>
  <Override PartName="/ppt/theme/themeOverride1276.xml" ContentType="application/vnd.openxmlformats-officedocument.themeOverride+xml"/>
  <Override PartName="/ppt/theme/themeOverride1277.xml" ContentType="application/vnd.openxmlformats-officedocument.themeOverride+xml"/>
  <Override PartName="/ppt/theme/themeOverride1278.xml" ContentType="application/vnd.openxmlformats-officedocument.themeOverride+xml"/>
  <Override PartName="/ppt/theme/themeOverride1279.xml" ContentType="application/vnd.openxmlformats-officedocument.themeOverride+xml"/>
  <Override PartName="/ppt/theme/themeOverride128.xml" ContentType="application/vnd.openxmlformats-officedocument.themeOverride+xml"/>
  <Override PartName="/ppt/theme/themeOverride1280.xml" ContentType="application/vnd.openxmlformats-officedocument.themeOverride+xml"/>
  <Override PartName="/ppt/theme/themeOverride1281.xml" ContentType="application/vnd.openxmlformats-officedocument.themeOverride+xml"/>
  <Override PartName="/ppt/theme/themeOverride1282.xml" ContentType="application/vnd.openxmlformats-officedocument.themeOverride+xml"/>
  <Override PartName="/ppt/theme/themeOverride1283.xml" ContentType="application/vnd.openxmlformats-officedocument.themeOverride+xml"/>
  <Override PartName="/ppt/theme/themeOverride1284.xml" ContentType="application/vnd.openxmlformats-officedocument.themeOverride+xml"/>
  <Override PartName="/ppt/theme/themeOverride1285.xml" ContentType="application/vnd.openxmlformats-officedocument.themeOverride+xml"/>
  <Override PartName="/ppt/theme/themeOverride1286.xml" ContentType="application/vnd.openxmlformats-officedocument.themeOverride+xml"/>
  <Override PartName="/ppt/theme/themeOverride1287.xml" ContentType="application/vnd.openxmlformats-officedocument.themeOverride+xml"/>
  <Override PartName="/ppt/theme/themeOverride1288.xml" ContentType="application/vnd.openxmlformats-officedocument.themeOverride+xml"/>
  <Override PartName="/ppt/theme/themeOverride1289.xml" ContentType="application/vnd.openxmlformats-officedocument.themeOverride+xml"/>
  <Override PartName="/ppt/theme/themeOverride129.xml" ContentType="application/vnd.openxmlformats-officedocument.themeOverride+xml"/>
  <Override PartName="/ppt/theme/themeOverride1290.xml" ContentType="application/vnd.openxmlformats-officedocument.themeOverride+xml"/>
  <Override PartName="/ppt/theme/themeOverride1291.xml" ContentType="application/vnd.openxmlformats-officedocument.themeOverride+xml"/>
  <Override PartName="/ppt/theme/themeOverride1292.xml" ContentType="application/vnd.openxmlformats-officedocument.themeOverride+xml"/>
  <Override PartName="/ppt/theme/themeOverride1293.xml" ContentType="application/vnd.openxmlformats-officedocument.themeOverride+xml"/>
  <Override PartName="/ppt/theme/themeOverride1294.xml" ContentType="application/vnd.openxmlformats-officedocument.themeOverride+xml"/>
  <Override PartName="/ppt/theme/themeOverride1295.xml" ContentType="application/vnd.openxmlformats-officedocument.themeOverride+xml"/>
  <Override PartName="/ppt/theme/themeOverride1296.xml" ContentType="application/vnd.openxmlformats-officedocument.themeOverride+xml"/>
  <Override PartName="/ppt/theme/themeOverride1297.xml" ContentType="application/vnd.openxmlformats-officedocument.themeOverride+xml"/>
  <Override PartName="/ppt/theme/themeOverride1298.xml" ContentType="application/vnd.openxmlformats-officedocument.themeOverride+xml"/>
  <Override PartName="/ppt/theme/themeOverride1299.xml" ContentType="application/vnd.openxmlformats-officedocument.themeOverride+xml"/>
  <Override PartName="/ppt/theme/themeOverride13.xml" ContentType="application/vnd.openxmlformats-officedocument.themeOverride+xml"/>
  <Override PartName="/ppt/theme/themeOverride130.xml" ContentType="application/vnd.openxmlformats-officedocument.themeOverride+xml"/>
  <Override PartName="/ppt/theme/themeOverride1300.xml" ContentType="application/vnd.openxmlformats-officedocument.themeOverride+xml"/>
  <Override PartName="/ppt/theme/themeOverride1301.xml" ContentType="application/vnd.openxmlformats-officedocument.themeOverride+xml"/>
  <Override PartName="/ppt/theme/themeOverride1302.xml" ContentType="application/vnd.openxmlformats-officedocument.themeOverride+xml"/>
  <Override PartName="/ppt/theme/themeOverride1303.xml" ContentType="application/vnd.openxmlformats-officedocument.themeOverride+xml"/>
  <Override PartName="/ppt/theme/themeOverride1304.xml" ContentType="application/vnd.openxmlformats-officedocument.themeOverride+xml"/>
  <Override PartName="/ppt/theme/themeOverride1305.xml" ContentType="application/vnd.openxmlformats-officedocument.themeOverride+xml"/>
  <Override PartName="/ppt/theme/themeOverride1306.xml" ContentType="application/vnd.openxmlformats-officedocument.themeOverride+xml"/>
  <Override PartName="/ppt/theme/themeOverride1307.xml" ContentType="application/vnd.openxmlformats-officedocument.themeOverride+xml"/>
  <Override PartName="/ppt/theme/themeOverride1308.xml" ContentType="application/vnd.openxmlformats-officedocument.themeOverride+xml"/>
  <Override PartName="/ppt/theme/themeOverride1309.xml" ContentType="application/vnd.openxmlformats-officedocument.themeOverride+xml"/>
  <Override PartName="/ppt/theme/themeOverride131.xml" ContentType="application/vnd.openxmlformats-officedocument.themeOverride+xml"/>
  <Override PartName="/ppt/theme/themeOverride1310.xml" ContentType="application/vnd.openxmlformats-officedocument.themeOverride+xml"/>
  <Override PartName="/ppt/theme/themeOverride1311.xml" ContentType="application/vnd.openxmlformats-officedocument.themeOverride+xml"/>
  <Override PartName="/ppt/theme/themeOverride1312.xml" ContentType="application/vnd.openxmlformats-officedocument.themeOverride+xml"/>
  <Override PartName="/ppt/theme/themeOverride1313.xml" ContentType="application/vnd.openxmlformats-officedocument.themeOverride+xml"/>
  <Override PartName="/ppt/theme/themeOverride1314.xml" ContentType="application/vnd.openxmlformats-officedocument.themeOverride+xml"/>
  <Override PartName="/ppt/theme/themeOverride1315.xml" ContentType="application/vnd.openxmlformats-officedocument.themeOverride+xml"/>
  <Override PartName="/ppt/theme/themeOverride1316.xml" ContentType="application/vnd.openxmlformats-officedocument.themeOverride+xml"/>
  <Override PartName="/ppt/theme/themeOverride1317.xml" ContentType="application/vnd.openxmlformats-officedocument.themeOverride+xml"/>
  <Override PartName="/ppt/theme/themeOverride1318.xml" ContentType="application/vnd.openxmlformats-officedocument.themeOverride+xml"/>
  <Override PartName="/ppt/theme/themeOverride1319.xml" ContentType="application/vnd.openxmlformats-officedocument.themeOverride+xml"/>
  <Override PartName="/ppt/theme/themeOverride132.xml" ContentType="application/vnd.openxmlformats-officedocument.themeOverride+xml"/>
  <Override PartName="/ppt/theme/themeOverride1320.xml" ContentType="application/vnd.openxmlformats-officedocument.themeOverride+xml"/>
  <Override PartName="/ppt/theme/themeOverride1321.xml" ContentType="application/vnd.openxmlformats-officedocument.themeOverride+xml"/>
  <Override PartName="/ppt/theme/themeOverride1322.xml" ContentType="application/vnd.openxmlformats-officedocument.themeOverride+xml"/>
  <Override PartName="/ppt/theme/themeOverride1323.xml" ContentType="application/vnd.openxmlformats-officedocument.themeOverride+xml"/>
  <Override PartName="/ppt/theme/themeOverride1324.xml" ContentType="application/vnd.openxmlformats-officedocument.themeOverride+xml"/>
  <Override PartName="/ppt/theme/themeOverride1325.xml" ContentType="application/vnd.openxmlformats-officedocument.themeOverride+xml"/>
  <Override PartName="/ppt/theme/themeOverride1326.xml" ContentType="application/vnd.openxmlformats-officedocument.themeOverride+xml"/>
  <Override PartName="/ppt/theme/themeOverride1327.xml" ContentType="application/vnd.openxmlformats-officedocument.themeOverride+xml"/>
  <Override PartName="/ppt/theme/themeOverride1328.xml" ContentType="application/vnd.openxmlformats-officedocument.themeOverride+xml"/>
  <Override PartName="/ppt/theme/themeOverride1329.xml" ContentType="application/vnd.openxmlformats-officedocument.themeOverride+xml"/>
  <Override PartName="/ppt/theme/themeOverride133.xml" ContentType="application/vnd.openxmlformats-officedocument.themeOverride+xml"/>
  <Override PartName="/ppt/theme/themeOverride1330.xml" ContentType="application/vnd.openxmlformats-officedocument.themeOverride+xml"/>
  <Override PartName="/ppt/theme/themeOverride1331.xml" ContentType="application/vnd.openxmlformats-officedocument.themeOverride+xml"/>
  <Override PartName="/ppt/theme/themeOverride1332.xml" ContentType="application/vnd.openxmlformats-officedocument.themeOverride+xml"/>
  <Override PartName="/ppt/theme/themeOverride1333.xml" ContentType="application/vnd.openxmlformats-officedocument.themeOverride+xml"/>
  <Override PartName="/ppt/theme/themeOverride1334.xml" ContentType="application/vnd.openxmlformats-officedocument.themeOverride+xml"/>
  <Override PartName="/ppt/theme/themeOverride1335.xml" ContentType="application/vnd.openxmlformats-officedocument.themeOverride+xml"/>
  <Override PartName="/ppt/theme/themeOverride1336.xml" ContentType="application/vnd.openxmlformats-officedocument.themeOverride+xml"/>
  <Override PartName="/ppt/theme/themeOverride1337.xml" ContentType="application/vnd.openxmlformats-officedocument.themeOverride+xml"/>
  <Override PartName="/ppt/theme/themeOverride1338.xml" ContentType="application/vnd.openxmlformats-officedocument.themeOverride+xml"/>
  <Override PartName="/ppt/theme/themeOverride1339.xml" ContentType="application/vnd.openxmlformats-officedocument.themeOverride+xml"/>
  <Override PartName="/ppt/theme/themeOverride134.xml" ContentType="application/vnd.openxmlformats-officedocument.themeOverride+xml"/>
  <Override PartName="/ppt/theme/themeOverride1340.xml" ContentType="application/vnd.openxmlformats-officedocument.themeOverride+xml"/>
  <Override PartName="/ppt/theme/themeOverride1341.xml" ContentType="application/vnd.openxmlformats-officedocument.themeOverride+xml"/>
  <Override PartName="/ppt/theme/themeOverride1342.xml" ContentType="application/vnd.openxmlformats-officedocument.themeOverride+xml"/>
  <Override PartName="/ppt/theme/themeOverride1343.xml" ContentType="application/vnd.openxmlformats-officedocument.themeOverride+xml"/>
  <Override PartName="/ppt/theme/themeOverride1344.xml" ContentType="application/vnd.openxmlformats-officedocument.themeOverride+xml"/>
  <Override PartName="/ppt/theme/themeOverride1345.xml" ContentType="application/vnd.openxmlformats-officedocument.themeOverride+xml"/>
  <Override PartName="/ppt/theme/themeOverride1346.xml" ContentType="application/vnd.openxmlformats-officedocument.themeOverride+xml"/>
  <Override PartName="/ppt/theme/themeOverride1347.xml" ContentType="application/vnd.openxmlformats-officedocument.themeOverride+xml"/>
  <Override PartName="/ppt/theme/themeOverride1348.xml" ContentType="application/vnd.openxmlformats-officedocument.themeOverride+xml"/>
  <Override PartName="/ppt/theme/themeOverride1349.xml" ContentType="application/vnd.openxmlformats-officedocument.themeOverride+xml"/>
  <Override PartName="/ppt/theme/themeOverride135.xml" ContentType="application/vnd.openxmlformats-officedocument.themeOverride+xml"/>
  <Override PartName="/ppt/theme/themeOverride1350.xml" ContentType="application/vnd.openxmlformats-officedocument.themeOverride+xml"/>
  <Override PartName="/ppt/theme/themeOverride1351.xml" ContentType="application/vnd.openxmlformats-officedocument.themeOverride+xml"/>
  <Override PartName="/ppt/theme/themeOverride1352.xml" ContentType="application/vnd.openxmlformats-officedocument.themeOverride+xml"/>
  <Override PartName="/ppt/theme/themeOverride1353.xml" ContentType="application/vnd.openxmlformats-officedocument.themeOverride+xml"/>
  <Override PartName="/ppt/theme/themeOverride1354.xml" ContentType="application/vnd.openxmlformats-officedocument.themeOverride+xml"/>
  <Override PartName="/ppt/theme/themeOverride1355.xml" ContentType="application/vnd.openxmlformats-officedocument.themeOverride+xml"/>
  <Override PartName="/ppt/theme/themeOverride1356.xml" ContentType="application/vnd.openxmlformats-officedocument.themeOverride+xml"/>
  <Override PartName="/ppt/theme/themeOverride1357.xml" ContentType="application/vnd.openxmlformats-officedocument.themeOverride+xml"/>
  <Override PartName="/ppt/theme/themeOverride1358.xml" ContentType="application/vnd.openxmlformats-officedocument.themeOverride+xml"/>
  <Override PartName="/ppt/theme/themeOverride1359.xml" ContentType="application/vnd.openxmlformats-officedocument.themeOverride+xml"/>
  <Override PartName="/ppt/theme/themeOverride136.xml" ContentType="application/vnd.openxmlformats-officedocument.themeOverride+xml"/>
  <Override PartName="/ppt/theme/themeOverride1360.xml" ContentType="application/vnd.openxmlformats-officedocument.themeOverride+xml"/>
  <Override PartName="/ppt/theme/themeOverride1361.xml" ContentType="application/vnd.openxmlformats-officedocument.themeOverride+xml"/>
  <Override PartName="/ppt/theme/themeOverride1362.xml" ContentType="application/vnd.openxmlformats-officedocument.themeOverride+xml"/>
  <Override PartName="/ppt/theme/themeOverride1363.xml" ContentType="application/vnd.openxmlformats-officedocument.themeOverride+xml"/>
  <Override PartName="/ppt/theme/themeOverride1364.xml" ContentType="application/vnd.openxmlformats-officedocument.themeOverride+xml"/>
  <Override PartName="/ppt/theme/themeOverride1365.xml" ContentType="application/vnd.openxmlformats-officedocument.themeOverride+xml"/>
  <Override PartName="/ppt/theme/themeOverride1366.xml" ContentType="application/vnd.openxmlformats-officedocument.themeOverride+xml"/>
  <Override PartName="/ppt/theme/themeOverride1367.xml" ContentType="application/vnd.openxmlformats-officedocument.themeOverride+xml"/>
  <Override PartName="/ppt/theme/themeOverride1368.xml" ContentType="application/vnd.openxmlformats-officedocument.themeOverride+xml"/>
  <Override PartName="/ppt/theme/themeOverride1369.xml" ContentType="application/vnd.openxmlformats-officedocument.themeOverride+xml"/>
  <Override PartName="/ppt/theme/themeOverride137.xml" ContentType="application/vnd.openxmlformats-officedocument.themeOverride+xml"/>
  <Override PartName="/ppt/theme/themeOverride1370.xml" ContentType="application/vnd.openxmlformats-officedocument.themeOverride+xml"/>
  <Override PartName="/ppt/theme/themeOverride1371.xml" ContentType="application/vnd.openxmlformats-officedocument.themeOverride+xml"/>
  <Override PartName="/ppt/theme/themeOverride1372.xml" ContentType="application/vnd.openxmlformats-officedocument.themeOverride+xml"/>
  <Override PartName="/ppt/theme/themeOverride1373.xml" ContentType="application/vnd.openxmlformats-officedocument.themeOverride+xml"/>
  <Override PartName="/ppt/theme/themeOverride1374.xml" ContentType="application/vnd.openxmlformats-officedocument.themeOverride+xml"/>
  <Override PartName="/ppt/theme/themeOverride1375.xml" ContentType="application/vnd.openxmlformats-officedocument.themeOverride+xml"/>
  <Override PartName="/ppt/theme/themeOverride1376.xml" ContentType="application/vnd.openxmlformats-officedocument.themeOverride+xml"/>
  <Override PartName="/ppt/theme/themeOverride1377.xml" ContentType="application/vnd.openxmlformats-officedocument.themeOverride+xml"/>
  <Override PartName="/ppt/theme/themeOverride1378.xml" ContentType="application/vnd.openxmlformats-officedocument.themeOverride+xml"/>
  <Override PartName="/ppt/theme/themeOverride1379.xml" ContentType="application/vnd.openxmlformats-officedocument.themeOverride+xml"/>
  <Override PartName="/ppt/theme/themeOverride138.xml" ContentType="application/vnd.openxmlformats-officedocument.themeOverride+xml"/>
  <Override PartName="/ppt/theme/themeOverride1380.xml" ContentType="application/vnd.openxmlformats-officedocument.themeOverride+xml"/>
  <Override PartName="/ppt/theme/themeOverride1381.xml" ContentType="application/vnd.openxmlformats-officedocument.themeOverride+xml"/>
  <Override PartName="/ppt/theme/themeOverride1382.xml" ContentType="application/vnd.openxmlformats-officedocument.themeOverride+xml"/>
  <Override PartName="/ppt/theme/themeOverride1383.xml" ContentType="application/vnd.openxmlformats-officedocument.themeOverride+xml"/>
  <Override PartName="/ppt/theme/themeOverride1384.xml" ContentType="application/vnd.openxmlformats-officedocument.themeOverride+xml"/>
  <Override PartName="/ppt/theme/themeOverride1385.xml" ContentType="application/vnd.openxmlformats-officedocument.themeOverride+xml"/>
  <Override PartName="/ppt/theme/themeOverride1386.xml" ContentType="application/vnd.openxmlformats-officedocument.themeOverride+xml"/>
  <Override PartName="/ppt/theme/themeOverride1387.xml" ContentType="application/vnd.openxmlformats-officedocument.themeOverride+xml"/>
  <Override PartName="/ppt/theme/themeOverride1388.xml" ContentType="application/vnd.openxmlformats-officedocument.themeOverride+xml"/>
  <Override PartName="/ppt/theme/themeOverride1389.xml" ContentType="application/vnd.openxmlformats-officedocument.themeOverride+xml"/>
  <Override PartName="/ppt/theme/themeOverride139.xml" ContentType="application/vnd.openxmlformats-officedocument.themeOverride+xml"/>
  <Override PartName="/ppt/theme/themeOverride1390.xml" ContentType="application/vnd.openxmlformats-officedocument.themeOverride+xml"/>
  <Override PartName="/ppt/theme/themeOverride1391.xml" ContentType="application/vnd.openxmlformats-officedocument.themeOverride+xml"/>
  <Override PartName="/ppt/theme/themeOverride1392.xml" ContentType="application/vnd.openxmlformats-officedocument.themeOverride+xml"/>
  <Override PartName="/ppt/theme/themeOverride1393.xml" ContentType="application/vnd.openxmlformats-officedocument.themeOverride+xml"/>
  <Override PartName="/ppt/theme/themeOverride1394.xml" ContentType="application/vnd.openxmlformats-officedocument.themeOverride+xml"/>
  <Override PartName="/ppt/theme/themeOverride1395.xml" ContentType="application/vnd.openxmlformats-officedocument.themeOverride+xml"/>
  <Override PartName="/ppt/theme/themeOverride1396.xml" ContentType="application/vnd.openxmlformats-officedocument.themeOverride+xml"/>
  <Override PartName="/ppt/theme/themeOverride1397.xml" ContentType="application/vnd.openxmlformats-officedocument.themeOverride+xml"/>
  <Override PartName="/ppt/theme/themeOverride1398.xml" ContentType="application/vnd.openxmlformats-officedocument.themeOverride+xml"/>
  <Override PartName="/ppt/theme/themeOverride1399.xml" ContentType="application/vnd.openxmlformats-officedocument.themeOverride+xml"/>
  <Override PartName="/ppt/theme/themeOverride14.xml" ContentType="application/vnd.openxmlformats-officedocument.themeOverride+xml"/>
  <Override PartName="/ppt/theme/themeOverride140.xml" ContentType="application/vnd.openxmlformats-officedocument.themeOverride+xml"/>
  <Override PartName="/ppt/theme/themeOverride1400.xml" ContentType="application/vnd.openxmlformats-officedocument.themeOverride+xml"/>
  <Override PartName="/ppt/theme/themeOverride1401.xml" ContentType="application/vnd.openxmlformats-officedocument.themeOverride+xml"/>
  <Override PartName="/ppt/theme/themeOverride1402.xml" ContentType="application/vnd.openxmlformats-officedocument.themeOverride+xml"/>
  <Override PartName="/ppt/theme/themeOverride1403.xml" ContentType="application/vnd.openxmlformats-officedocument.themeOverride+xml"/>
  <Override PartName="/ppt/theme/themeOverride1404.xml" ContentType="application/vnd.openxmlformats-officedocument.themeOverride+xml"/>
  <Override PartName="/ppt/theme/themeOverride1405.xml" ContentType="application/vnd.openxmlformats-officedocument.themeOverride+xml"/>
  <Override PartName="/ppt/theme/themeOverride1406.xml" ContentType="application/vnd.openxmlformats-officedocument.themeOverride+xml"/>
  <Override PartName="/ppt/theme/themeOverride1407.xml" ContentType="application/vnd.openxmlformats-officedocument.themeOverride+xml"/>
  <Override PartName="/ppt/theme/themeOverride1408.xml" ContentType="application/vnd.openxmlformats-officedocument.themeOverride+xml"/>
  <Override PartName="/ppt/theme/themeOverride1409.xml" ContentType="application/vnd.openxmlformats-officedocument.themeOverride+xml"/>
  <Override PartName="/ppt/theme/themeOverride141.xml" ContentType="application/vnd.openxmlformats-officedocument.themeOverride+xml"/>
  <Override PartName="/ppt/theme/themeOverride1410.xml" ContentType="application/vnd.openxmlformats-officedocument.themeOverride+xml"/>
  <Override PartName="/ppt/theme/themeOverride1411.xml" ContentType="application/vnd.openxmlformats-officedocument.themeOverride+xml"/>
  <Override PartName="/ppt/theme/themeOverride1412.xml" ContentType="application/vnd.openxmlformats-officedocument.themeOverride+xml"/>
  <Override PartName="/ppt/theme/themeOverride1413.xml" ContentType="application/vnd.openxmlformats-officedocument.themeOverride+xml"/>
  <Override PartName="/ppt/theme/themeOverride1414.xml" ContentType="application/vnd.openxmlformats-officedocument.themeOverride+xml"/>
  <Override PartName="/ppt/theme/themeOverride1415.xml" ContentType="application/vnd.openxmlformats-officedocument.themeOverride+xml"/>
  <Override PartName="/ppt/theme/themeOverride1416.xml" ContentType="application/vnd.openxmlformats-officedocument.themeOverride+xml"/>
  <Override PartName="/ppt/theme/themeOverride1417.xml" ContentType="application/vnd.openxmlformats-officedocument.themeOverride+xml"/>
  <Override PartName="/ppt/theme/themeOverride1418.xml" ContentType="application/vnd.openxmlformats-officedocument.themeOverride+xml"/>
  <Override PartName="/ppt/theme/themeOverride1419.xml" ContentType="application/vnd.openxmlformats-officedocument.themeOverride+xml"/>
  <Override PartName="/ppt/theme/themeOverride142.xml" ContentType="application/vnd.openxmlformats-officedocument.themeOverride+xml"/>
  <Override PartName="/ppt/theme/themeOverride1420.xml" ContentType="application/vnd.openxmlformats-officedocument.themeOverride+xml"/>
  <Override PartName="/ppt/theme/themeOverride1421.xml" ContentType="application/vnd.openxmlformats-officedocument.themeOverride+xml"/>
  <Override PartName="/ppt/theme/themeOverride1422.xml" ContentType="application/vnd.openxmlformats-officedocument.themeOverride+xml"/>
  <Override PartName="/ppt/theme/themeOverride1423.xml" ContentType="application/vnd.openxmlformats-officedocument.themeOverride+xml"/>
  <Override PartName="/ppt/theme/themeOverride1424.xml" ContentType="application/vnd.openxmlformats-officedocument.themeOverride+xml"/>
  <Override PartName="/ppt/theme/themeOverride1425.xml" ContentType="application/vnd.openxmlformats-officedocument.themeOverride+xml"/>
  <Override PartName="/ppt/theme/themeOverride1426.xml" ContentType="application/vnd.openxmlformats-officedocument.themeOverride+xml"/>
  <Override PartName="/ppt/theme/themeOverride1427.xml" ContentType="application/vnd.openxmlformats-officedocument.themeOverride+xml"/>
  <Override PartName="/ppt/theme/themeOverride1428.xml" ContentType="application/vnd.openxmlformats-officedocument.themeOverride+xml"/>
  <Override PartName="/ppt/theme/themeOverride1429.xml" ContentType="application/vnd.openxmlformats-officedocument.themeOverride+xml"/>
  <Override PartName="/ppt/theme/themeOverride143.xml" ContentType="application/vnd.openxmlformats-officedocument.themeOverride+xml"/>
  <Override PartName="/ppt/theme/themeOverride1430.xml" ContentType="application/vnd.openxmlformats-officedocument.themeOverride+xml"/>
  <Override PartName="/ppt/theme/themeOverride1431.xml" ContentType="application/vnd.openxmlformats-officedocument.themeOverride+xml"/>
  <Override PartName="/ppt/theme/themeOverride1432.xml" ContentType="application/vnd.openxmlformats-officedocument.themeOverride+xml"/>
  <Override PartName="/ppt/theme/themeOverride1433.xml" ContentType="application/vnd.openxmlformats-officedocument.themeOverride+xml"/>
  <Override PartName="/ppt/theme/themeOverride1434.xml" ContentType="application/vnd.openxmlformats-officedocument.themeOverride+xml"/>
  <Override PartName="/ppt/theme/themeOverride1435.xml" ContentType="application/vnd.openxmlformats-officedocument.themeOverride+xml"/>
  <Override PartName="/ppt/theme/themeOverride1436.xml" ContentType="application/vnd.openxmlformats-officedocument.themeOverride+xml"/>
  <Override PartName="/ppt/theme/themeOverride1437.xml" ContentType="application/vnd.openxmlformats-officedocument.themeOverride+xml"/>
  <Override PartName="/ppt/theme/themeOverride1438.xml" ContentType="application/vnd.openxmlformats-officedocument.themeOverride+xml"/>
  <Override PartName="/ppt/theme/themeOverride1439.xml" ContentType="application/vnd.openxmlformats-officedocument.themeOverride+xml"/>
  <Override PartName="/ppt/theme/themeOverride144.xml" ContentType="application/vnd.openxmlformats-officedocument.themeOverride+xml"/>
  <Override PartName="/ppt/theme/themeOverride1440.xml" ContentType="application/vnd.openxmlformats-officedocument.themeOverride+xml"/>
  <Override PartName="/ppt/theme/themeOverride1441.xml" ContentType="application/vnd.openxmlformats-officedocument.themeOverride+xml"/>
  <Override PartName="/ppt/theme/themeOverride1442.xml" ContentType="application/vnd.openxmlformats-officedocument.themeOverride+xml"/>
  <Override PartName="/ppt/theme/themeOverride1443.xml" ContentType="application/vnd.openxmlformats-officedocument.themeOverride+xml"/>
  <Override PartName="/ppt/theme/themeOverride1444.xml" ContentType="application/vnd.openxmlformats-officedocument.themeOverride+xml"/>
  <Override PartName="/ppt/theme/themeOverride1445.xml" ContentType="application/vnd.openxmlformats-officedocument.themeOverride+xml"/>
  <Override PartName="/ppt/theme/themeOverride1446.xml" ContentType="application/vnd.openxmlformats-officedocument.themeOverride+xml"/>
  <Override PartName="/ppt/theme/themeOverride1447.xml" ContentType="application/vnd.openxmlformats-officedocument.themeOverride+xml"/>
  <Override PartName="/ppt/theme/themeOverride1448.xml" ContentType="application/vnd.openxmlformats-officedocument.themeOverride+xml"/>
  <Override PartName="/ppt/theme/themeOverride1449.xml" ContentType="application/vnd.openxmlformats-officedocument.themeOverride+xml"/>
  <Override PartName="/ppt/theme/themeOverride145.xml" ContentType="application/vnd.openxmlformats-officedocument.themeOverride+xml"/>
  <Override PartName="/ppt/theme/themeOverride1450.xml" ContentType="application/vnd.openxmlformats-officedocument.themeOverride+xml"/>
  <Override PartName="/ppt/theme/themeOverride1451.xml" ContentType="application/vnd.openxmlformats-officedocument.themeOverride+xml"/>
  <Override PartName="/ppt/theme/themeOverride1452.xml" ContentType="application/vnd.openxmlformats-officedocument.themeOverride+xml"/>
  <Override PartName="/ppt/theme/themeOverride1453.xml" ContentType="application/vnd.openxmlformats-officedocument.themeOverride+xml"/>
  <Override PartName="/ppt/theme/themeOverride1454.xml" ContentType="application/vnd.openxmlformats-officedocument.themeOverride+xml"/>
  <Override PartName="/ppt/theme/themeOverride1455.xml" ContentType="application/vnd.openxmlformats-officedocument.themeOverride+xml"/>
  <Override PartName="/ppt/theme/themeOverride1456.xml" ContentType="application/vnd.openxmlformats-officedocument.themeOverride+xml"/>
  <Override PartName="/ppt/theme/themeOverride1457.xml" ContentType="application/vnd.openxmlformats-officedocument.themeOverride+xml"/>
  <Override PartName="/ppt/theme/themeOverride1458.xml" ContentType="application/vnd.openxmlformats-officedocument.themeOverride+xml"/>
  <Override PartName="/ppt/theme/themeOverride1459.xml" ContentType="application/vnd.openxmlformats-officedocument.themeOverride+xml"/>
  <Override PartName="/ppt/theme/themeOverride146.xml" ContentType="application/vnd.openxmlformats-officedocument.themeOverride+xml"/>
  <Override PartName="/ppt/theme/themeOverride1460.xml" ContentType="application/vnd.openxmlformats-officedocument.themeOverride+xml"/>
  <Override PartName="/ppt/theme/themeOverride1461.xml" ContentType="application/vnd.openxmlformats-officedocument.themeOverride+xml"/>
  <Override PartName="/ppt/theme/themeOverride1462.xml" ContentType="application/vnd.openxmlformats-officedocument.themeOverride+xml"/>
  <Override PartName="/ppt/theme/themeOverride1463.xml" ContentType="application/vnd.openxmlformats-officedocument.themeOverride+xml"/>
  <Override PartName="/ppt/theme/themeOverride1464.xml" ContentType="application/vnd.openxmlformats-officedocument.themeOverride+xml"/>
  <Override PartName="/ppt/theme/themeOverride1465.xml" ContentType="application/vnd.openxmlformats-officedocument.themeOverride+xml"/>
  <Override PartName="/ppt/theme/themeOverride1466.xml" ContentType="application/vnd.openxmlformats-officedocument.themeOverride+xml"/>
  <Override PartName="/ppt/theme/themeOverride1467.xml" ContentType="application/vnd.openxmlformats-officedocument.themeOverride+xml"/>
  <Override PartName="/ppt/theme/themeOverride1468.xml" ContentType="application/vnd.openxmlformats-officedocument.themeOverride+xml"/>
  <Override PartName="/ppt/theme/themeOverride1469.xml" ContentType="application/vnd.openxmlformats-officedocument.themeOverride+xml"/>
  <Override PartName="/ppt/theme/themeOverride147.xml" ContentType="application/vnd.openxmlformats-officedocument.themeOverride+xml"/>
  <Override PartName="/ppt/theme/themeOverride1470.xml" ContentType="application/vnd.openxmlformats-officedocument.themeOverride+xml"/>
  <Override PartName="/ppt/theme/themeOverride1471.xml" ContentType="application/vnd.openxmlformats-officedocument.themeOverride+xml"/>
  <Override PartName="/ppt/theme/themeOverride1472.xml" ContentType="application/vnd.openxmlformats-officedocument.themeOverride+xml"/>
  <Override PartName="/ppt/theme/themeOverride1473.xml" ContentType="application/vnd.openxmlformats-officedocument.themeOverride+xml"/>
  <Override PartName="/ppt/theme/themeOverride1474.xml" ContentType="application/vnd.openxmlformats-officedocument.themeOverride+xml"/>
  <Override PartName="/ppt/theme/themeOverride1475.xml" ContentType="application/vnd.openxmlformats-officedocument.themeOverride+xml"/>
  <Override PartName="/ppt/theme/themeOverride1476.xml" ContentType="application/vnd.openxmlformats-officedocument.themeOverride+xml"/>
  <Override PartName="/ppt/theme/themeOverride1477.xml" ContentType="application/vnd.openxmlformats-officedocument.themeOverride+xml"/>
  <Override PartName="/ppt/theme/themeOverride1478.xml" ContentType="application/vnd.openxmlformats-officedocument.themeOverride+xml"/>
  <Override PartName="/ppt/theme/themeOverride1479.xml" ContentType="application/vnd.openxmlformats-officedocument.themeOverride+xml"/>
  <Override PartName="/ppt/theme/themeOverride148.xml" ContentType="application/vnd.openxmlformats-officedocument.themeOverride+xml"/>
  <Override PartName="/ppt/theme/themeOverride1480.xml" ContentType="application/vnd.openxmlformats-officedocument.themeOverride+xml"/>
  <Override PartName="/ppt/theme/themeOverride1481.xml" ContentType="application/vnd.openxmlformats-officedocument.themeOverride+xml"/>
  <Override PartName="/ppt/theme/themeOverride1482.xml" ContentType="application/vnd.openxmlformats-officedocument.themeOverride+xml"/>
  <Override PartName="/ppt/theme/themeOverride1483.xml" ContentType="application/vnd.openxmlformats-officedocument.themeOverride+xml"/>
  <Override PartName="/ppt/theme/themeOverride1484.xml" ContentType="application/vnd.openxmlformats-officedocument.themeOverride+xml"/>
  <Override PartName="/ppt/theme/themeOverride1485.xml" ContentType="application/vnd.openxmlformats-officedocument.themeOverride+xml"/>
  <Override PartName="/ppt/theme/themeOverride1486.xml" ContentType="application/vnd.openxmlformats-officedocument.themeOverride+xml"/>
  <Override PartName="/ppt/theme/themeOverride1487.xml" ContentType="application/vnd.openxmlformats-officedocument.themeOverride+xml"/>
  <Override PartName="/ppt/theme/themeOverride1488.xml" ContentType="application/vnd.openxmlformats-officedocument.themeOverride+xml"/>
  <Override PartName="/ppt/theme/themeOverride1489.xml" ContentType="application/vnd.openxmlformats-officedocument.themeOverride+xml"/>
  <Override PartName="/ppt/theme/themeOverride149.xml" ContentType="application/vnd.openxmlformats-officedocument.themeOverride+xml"/>
  <Override PartName="/ppt/theme/themeOverride1490.xml" ContentType="application/vnd.openxmlformats-officedocument.themeOverride+xml"/>
  <Override PartName="/ppt/theme/themeOverride1491.xml" ContentType="application/vnd.openxmlformats-officedocument.themeOverride+xml"/>
  <Override PartName="/ppt/theme/themeOverride1492.xml" ContentType="application/vnd.openxmlformats-officedocument.themeOverride+xml"/>
  <Override PartName="/ppt/theme/themeOverride1493.xml" ContentType="application/vnd.openxmlformats-officedocument.themeOverride+xml"/>
  <Override PartName="/ppt/theme/themeOverride1494.xml" ContentType="application/vnd.openxmlformats-officedocument.themeOverride+xml"/>
  <Override PartName="/ppt/theme/themeOverride1495.xml" ContentType="application/vnd.openxmlformats-officedocument.themeOverride+xml"/>
  <Override PartName="/ppt/theme/themeOverride1496.xml" ContentType="application/vnd.openxmlformats-officedocument.themeOverride+xml"/>
  <Override PartName="/ppt/theme/themeOverride1497.xml" ContentType="application/vnd.openxmlformats-officedocument.themeOverride+xml"/>
  <Override PartName="/ppt/theme/themeOverride1498.xml" ContentType="application/vnd.openxmlformats-officedocument.themeOverride+xml"/>
  <Override PartName="/ppt/theme/themeOverride1499.xml" ContentType="application/vnd.openxmlformats-officedocument.themeOverride+xml"/>
  <Override PartName="/ppt/theme/themeOverride15.xml" ContentType="application/vnd.openxmlformats-officedocument.themeOverride+xml"/>
  <Override PartName="/ppt/theme/themeOverride150.xml" ContentType="application/vnd.openxmlformats-officedocument.themeOverride+xml"/>
  <Override PartName="/ppt/theme/themeOverride1500.xml" ContentType="application/vnd.openxmlformats-officedocument.themeOverride+xml"/>
  <Override PartName="/ppt/theme/themeOverride1501.xml" ContentType="application/vnd.openxmlformats-officedocument.themeOverride+xml"/>
  <Override PartName="/ppt/theme/themeOverride1502.xml" ContentType="application/vnd.openxmlformats-officedocument.themeOverride+xml"/>
  <Override PartName="/ppt/theme/themeOverride1503.xml" ContentType="application/vnd.openxmlformats-officedocument.themeOverride+xml"/>
  <Override PartName="/ppt/theme/themeOverride1504.xml" ContentType="application/vnd.openxmlformats-officedocument.themeOverride+xml"/>
  <Override PartName="/ppt/theme/themeOverride1505.xml" ContentType="application/vnd.openxmlformats-officedocument.themeOverride+xml"/>
  <Override PartName="/ppt/theme/themeOverride1506.xml" ContentType="application/vnd.openxmlformats-officedocument.themeOverride+xml"/>
  <Override PartName="/ppt/theme/themeOverride1507.xml" ContentType="application/vnd.openxmlformats-officedocument.themeOverride+xml"/>
  <Override PartName="/ppt/theme/themeOverride1508.xml" ContentType="application/vnd.openxmlformats-officedocument.themeOverride+xml"/>
  <Override PartName="/ppt/theme/themeOverride1509.xml" ContentType="application/vnd.openxmlformats-officedocument.themeOverride+xml"/>
  <Override PartName="/ppt/theme/themeOverride151.xml" ContentType="application/vnd.openxmlformats-officedocument.themeOverride+xml"/>
  <Override PartName="/ppt/theme/themeOverride1510.xml" ContentType="application/vnd.openxmlformats-officedocument.themeOverride+xml"/>
  <Override PartName="/ppt/theme/themeOverride1511.xml" ContentType="application/vnd.openxmlformats-officedocument.themeOverride+xml"/>
  <Override PartName="/ppt/theme/themeOverride1512.xml" ContentType="application/vnd.openxmlformats-officedocument.themeOverride+xml"/>
  <Override PartName="/ppt/theme/themeOverride1513.xml" ContentType="application/vnd.openxmlformats-officedocument.themeOverride+xml"/>
  <Override PartName="/ppt/theme/themeOverride1514.xml" ContentType="application/vnd.openxmlformats-officedocument.themeOverride+xml"/>
  <Override PartName="/ppt/theme/themeOverride1515.xml" ContentType="application/vnd.openxmlformats-officedocument.themeOverride+xml"/>
  <Override PartName="/ppt/theme/themeOverride1516.xml" ContentType="application/vnd.openxmlformats-officedocument.themeOverride+xml"/>
  <Override PartName="/ppt/theme/themeOverride1517.xml" ContentType="application/vnd.openxmlformats-officedocument.themeOverride+xml"/>
  <Override PartName="/ppt/theme/themeOverride1518.xml" ContentType="application/vnd.openxmlformats-officedocument.themeOverride+xml"/>
  <Override PartName="/ppt/theme/themeOverride1519.xml" ContentType="application/vnd.openxmlformats-officedocument.themeOverride+xml"/>
  <Override PartName="/ppt/theme/themeOverride152.xml" ContentType="application/vnd.openxmlformats-officedocument.themeOverride+xml"/>
  <Override PartName="/ppt/theme/themeOverride1520.xml" ContentType="application/vnd.openxmlformats-officedocument.themeOverride+xml"/>
  <Override PartName="/ppt/theme/themeOverride1521.xml" ContentType="application/vnd.openxmlformats-officedocument.themeOverride+xml"/>
  <Override PartName="/ppt/theme/themeOverride1522.xml" ContentType="application/vnd.openxmlformats-officedocument.themeOverride+xml"/>
  <Override PartName="/ppt/theme/themeOverride1523.xml" ContentType="application/vnd.openxmlformats-officedocument.themeOverride+xml"/>
  <Override PartName="/ppt/theme/themeOverride1524.xml" ContentType="application/vnd.openxmlformats-officedocument.themeOverride+xml"/>
  <Override PartName="/ppt/theme/themeOverride1525.xml" ContentType="application/vnd.openxmlformats-officedocument.themeOverride+xml"/>
  <Override PartName="/ppt/theme/themeOverride1526.xml" ContentType="application/vnd.openxmlformats-officedocument.themeOverride+xml"/>
  <Override PartName="/ppt/theme/themeOverride1527.xml" ContentType="application/vnd.openxmlformats-officedocument.themeOverride+xml"/>
  <Override PartName="/ppt/theme/themeOverride1528.xml" ContentType="application/vnd.openxmlformats-officedocument.themeOverride+xml"/>
  <Override PartName="/ppt/theme/themeOverride1529.xml" ContentType="application/vnd.openxmlformats-officedocument.themeOverride+xml"/>
  <Override PartName="/ppt/theme/themeOverride153.xml" ContentType="application/vnd.openxmlformats-officedocument.themeOverride+xml"/>
  <Override PartName="/ppt/theme/themeOverride1530.xml" ContentType="application/vnd.openxmlformats-officedocument.themeOverride+xml"/>
  <Override PartName="/ppt/theme/themeOverride1531.xml" ContentType="application/vnd.openxmlformats-officedocument.themeOverride+xml"/>
  <Override PartName="/ppt/theme/themeOverride1532.xml" ContentType="application/vnd.openxmlformats-officedocument.themeOverride+xml"/>
  <Override PartName="/ppt/theme/themeOverride1533.xml" ContentType="application/vnd.openxmlformats-officedocument.themeOverride+xml"/>
  <Override PartName="/ppt/theme/themeOverride1534.xml" ContentType="application/vnd.openxmlformats-officedocument.themeOverride+xml"/>
  <Override PartName="/ppt/theme/themeOverride1535.xml" ContentType="application/vnd.openxmlformats-officedocument.themeOverride+xml"/>
  <Override PartName="/ppt/theme/themeOverride1536.xml" ContentType="application/vnd.openxmlformats-officedocument.themeOverride+xml"/>
  <Override PartName="/ppt/theme/themeOverride1537.xml" ContentType="application/vnd.openxmlformats-officedocument.themeOverride+xml"/>
  <Override PartName="/ppt/theme/themeOverride1538.xml" ContentType="application/vnd.openxmlformats-officedocument.themeOverride+xml"/>
  <Override PartName="/ppt/theme/themeOverride1539.xml" ContentType="application/vnd.openxmlformats-officedocument.themeOverride+xml"/>
  <Override PartName="/ppt/theme/themeOverride154.xml" ContentType="application/vnd.openxmlformats-officedocument.themeOverride+xml"/>
  <Override PartName="/ppt/theme/themeOverride1540.xml" ContentType="application/vnd.openxmlformats-officedocument.themeOverride+xml"/>
  <Override PartName="/ppt/theme/themeOverride1541.xml" ContentType="application/vnd.openxmlformats-officedocument.themeOverride+xml"/>
  <Override PartName="/ppt/theme/themeOverride1542.xml" ContentType="application/vnd.openxmlformats-officedocument.themeOverride+xml"/>
  <Override PartName="/ppt/theme/themeOverride1543.xml" ContentType="application/vnd.openxmlformats-officedocument.themeOverride+xml"/>
  <Override PartName="/ppt/theme/themeOverride1544.xml" ContentType="application/vnd.openxmlformats-officedocument.themeOverride+xml"/>
  <Override PartName="/ppt/theme/themeOverride1545.xml" ContentType="application/vnd.openxmlformats-officedocument.themeOverride+xml"/>
  <Override PartName="/ppt/theme/themeOverride1546.xml" ContentType="application/vnd.openxmlformats-officedocument.themeOverride+xml"/>
  <Override PartName="/ppt/theme/themeOverride1547.xml" ContentType="application/vnd.openxmlformats-officedocument.themeOverride+xml"/>
  <Override PartName="/ppt/theme/themeOverride1548.xml" ContentType="application/vnd.openxmlformats-officedocument.themeOverride+xml"/>
  <Override PartName="/ppt/theme/themeOverride1549.xml" ContentType="application/vnd.openxmlformats-officedocument.themeOverride+xml"/>
  <Override PartName="/ppt/theme/themeOverride155.xml" ContentType="application/vnd.openxmlformats-officedocument.themeOverride+xml"/>
  <Override PartName="/ppt/theme/themeOverride1550.xml" ContentType="application/vnd.openxmlformats-officedocument.themeOverride+xml"/>
  <Override PartName="/ppt/theme/themeOverride1551.xml" ContentType="application/vnd.openxmlformats-officedocument.themeOverride+xml"/>
  <Override PartName="/ppt/theme/themeOverride1552.xml" ContentType="application/vnd.openxmlformats-officedocument.themeOverride+xml"/>
  <Override PartName="/ppt/theme/themeOverride1553.xml" ContentType="application/vnd.openxmlformats-officedocument.themeOverride+xml"/>
  <Override PartName="/ppt/theme/themeOverride1554.xml" ContentType="application/vnd.openxmlformats-officedocument.themeOverride+xml"/>
  <Override PartName="/ppt/theme/themeOverride1555.xml" ContentType="application/vnd.openxmlformats-officedocument.themeOverride+xml"/>
  <Override PartName="/ppt/theme/themeOverride1556.xml" ContentType="application/vnd.openxmlformats-officedocument.themeOverride+xml"/>
  <Override PartName="/ppt/theme/themeOverride1557.xml" ContentType="application/vnd.openxmlformats-officedocument.themeOverride+xml"/>
  <Override PartName="/ppt/theme/themeOverride1558.xml" ContentType="application/vnd.openxmlformats-officedocument.themeOverride+xml"/>
  <Override PartName="/ppt/theme/themeOverride1559.xml" ContentType="application/vnd.openxmlformats-officedocument.themeOverride+xml"/>
  <Override PartName="/ppt/theme/themeOverride156.xml" ContentType="application/vnd.openxmlformats-officedocument.themeOverride+xml"/>
  <Override PartName="/ppt/theme/themeOverride1560.xml" ContentType="application/vnd.openxmlformats-officedocument.themeOverride+xml"/>
  <Override PartName="/ppt/theme/themeOverride1561.xml" ContentType="application/vnd.openxmlformats-officedocument.themeOverride+xml"/>
  <Override PartName="/ppt/theme/themeOverride1562.xml" ContentType="application/vnd.openxmlformats-officedocument.themeOverride+xml"/>
  <Override PartName="/ppt/theme/themeOverride1563.xml" ContentType="application/vnd.openxmlformats-officedocument.themeOverride+xml"/>
  <Override PartName="/ppt/theme/themeOverride1564.xml" ContentType="application/vnd.openxmlformats-officedocument.themeOverride+xml"/>
  <Override PartName="/ppt/theme/themeOverride1565.xml" ContentType="application/vnd.openxmlformats-officedocument.themeOverride+xml"/>
  <Override PartName="/ppt/theme/themeOverride1566.xml" ContentType="application/vnd.openxmlformats-officedocument.themeOverride+xml"/>
  <Override PartName="/ppt/theme/themeOverride1567.xml" ContentType="application/vnd.openxmlformats-officedocument.themeOverride+xml"/>
  <Override PartName="/ppt/theme/themeOverride1568.xml" ContentType="application/vnd.openxmlformats-officedocument.themeOverride+xml"/>
  <Override PartName="/ppt/theme/themeOverride1569.xml" ContentType="application/vnd.openxmlformats-officedocument.themeOverride+xml"/>
  <Override PartName="/ppt/theme/themeOverride157.xml" ContentType="application/vnd.openxmlformats-officedocument.themeOverride+xml"/>
  <Override PartName="/ppt/theme/themeOverride1570.xml" ContentType="application/vnd.openxmlformats-officedocument.themeOverride+xml"/>
  <Override PartName="/ppt/theme/themeOverride1571.xml" ContentType="application/vnd.openxmlformats-officedocument.themeOverride+xml"/>
  <Override PartName="/ppt/theme/themeOverride1572.xml" ContentType="application/vnd.openxmlformats-officedocument.themeOverride+xml"/>
  <Override PartName="/ppt/theme/themeOverride1573.xml" ContentType="application/vnd.openxmlformats-officedocument.themeOverride+xml"/>
  <Override PartName="/ppt/theme/themeOverride1574.xml" ContentType="application/vnd.openxmlformats-officedocument.themeOverride+xml"/>
  <Override PartName="/ppt/theme/themeOverride1575.xml" ContentType="application/vnd.openxmlformats-officedocument.themeOverride+xml"/>
  <Override PartName="/ppt/theme/themeOverride1576.xml" ContentType="application/vnd.openxmlformats-officedocument.themeOverride+xml"/>
  <Override PartName="/ppt/theme/themeOverride1577.xml" ContentType="application/vnd.openxmlformats-officedocument.themeOverride+xml"/>
  <Override PartName="/ppt/theme/themeOverride1578.xml" ContentType="application/vnd.openxmlformats-officedocument.themeOverride+xml"/>
  <Override PartName="/ppt/theme/themeOverride1579.xml" ContentType="application/vnd.openxmlformats-officedocument.themeOverride+xml"/>
  <Override PartName="/ppt/theme/themeOverride158.xml" ContentType="application/vnd.openxmlformats-officedocument.themeOverride+xml"/>
  <Override PartName="/ppt/theme/themeOverride1580.xml" ContentType="application/vnd.openxmlformats-officedocument.themeOverride+xml"/>
  <Override PartName="/ppt/theme/themeOverride1581.xml" ContentType="application/vnd.openxmlformats-officedocument.themeOverride+xml"/>
  <Override PartName="/ppt/theme/themeOverride1582.xml" ContentType="application/vnd.openxmlformats-officedocument.themeOverride+xml"/>
  <Override PartName="/ppt/theme/themeOverride1583.xml" ContentType="application/vnd.openxmlformats-officedocument.themeOverride+xml"/>
  <Override PartName="/ppt/theme/themeOverride1584.xml" ContentType="application/vnd.openxmlformats-officedocument.themeOverride+xml"/>
  <Override PartName="/ppt/theme/themeOverride1585.xml" ContentType="application/vnd.openxmlformats-officedocument.themeOverride+xml"/>
  <Override PartName="/ppt/theme/themeOverride1586.xml" ContentType="application/vnd.openxmlformats-officedocument.themeOverride+xml"/>
  <Override PartName="/ppt/theme/themeOverride1587.xml" ContentType="application/vnd.openxmlformats-officedocument.themeOverride+xml"/>
  <Override PartName="/ppt/theme/themeOverride1588.xml" ContentType="application/vnd.openxmlformats-officedocument.themeOverride+xml"/>
  <Override PartName="/ppt/theme/themeOverride1589.xml" ContentType="application/vnd.openxmlformats-officedocument.themeOverride+xml"/>
  <Override PartName="/ppt/theme/themeOverride159.xml" ContentType="application/vnd.openxmlformats-officedocument.themeOverride+xml"/>
  <Override PartName="/ppt/theme/themeOverride1590.xml" ContentType="application/vnd.openxmlformats-officedocument.themeOverride+xml"/>
  <Override PartName="/ppt/theme/themeOverride1591.xml" ContentType="application/vnd.openxmlformats-officedocument.themeOverride+xml"/>
  <Override PartName="/ppt/theme/themeOverride1592.xml" ContentType="application/vnd.openxmlformats-officedocument.themeOverride+xml"/>
  <Override PartName="/ppt/theme/themeOverride1593.xml" ContentType="application/vnd.openxmlformats-officedocument.themeOverride+xml"/>
  <Override PartName="/ppt/theme/themeOverride1594.xml" ContentType="application/vnd.openxmlformats-officedocument.themeOverride+xml"/>
  <Override PartName="/ppt/theme/themeOverride1595.xml" ContentType="application/vnd.openxmlformats-officedocument.themeOverride+xml"/>
  <Override PartName="/ppt/theme/themeOverride1596.xml" ContentType="application/vnd.openxmlformats-officedocument.themeOverride+xml"/>
  <Override PartName="/ppt/theme/themeOverride1597.xml" ContentType="application/vnd.openxmlformats-officedocument.themeOverride+xml"/>
  <Override PartName="/ppt/theme/themeOverride1598.xml" ContentType="application/vnd.openxmlformats-officedocument.themeOverride+xml"/>
  <Override PartName="/ppt/theme/themeOverride1599.xml" ContentType="application/vnd.openxmlformats-officedocument.themeOverride+xml"/>
  <Override PartName="/ppt/theme/themeOverride16.xml" ContentType="application/vnd.openxmlformats-officedocument.themeOverride+xml"/>
  <Override PartName="/ppt/theme/themeOverride160.xml" ContentType="application/vnd.openxmlformats-officedocument.themeOverride+xml"/>
  <Override PartName="/ppt/theme/themeOverride1600.xml" ContentType="application/vnd.openxmlformats-officedocument.themeOverride+xml"/>
  <Override PartName="/ppt/theme/themeOverride1601.xml" ContentType="application/vnd.openxmlformats-officedocument.themeOverride+xml"/>
  <Override PartName="/ppt/theme/themeOverride1602.xml" ContentType="application/vnd.openxmlformats-officedocument.themeOverride+xml"/>
  <Override PartName="/ppt/theme/themeOverride1603.xml" ContentType="application/vnd.openxmlformats-officedocument.themeOverride+xml"/>
  <Override PartName="/ppt/theme/themeOverride1604.xml" ContentType="application/vnd.openxmlformats-officedocument.themeOverride+xml"/>
  <Override PartName="/ppt/theme/themeOverride1605.xml" ContentType="application/vnd.openxmlformats-officedocument.themeOverride+xml"/>
  <Override PartName="/ppt/theme/themeOverride1606.xml" ContentType="application/vnd.openxmlformats-officedocument.themeOverride+xml"/>
  <Override PartName="/ppt/theme/themeOverride1607.xml" ContentType="application/vnd.openxmlformats-officedocument.themeOverride+xml"/>
  <Override PartName="/ppt/theme/themeOverride1608.xml" ContentType="application/vnd.openxmlformats-officedocument.themeOverride+xml"/>
  <Override PartName="/ppt/theme/themeOverride1609.xml" ContentType="application/vnd.openxmlformats-officedocument.themeOverride+xml"/>
  <Override PartName="/ppt/theme/themeOverride161.xml" ContentType="application/vnd.openxmlformats-officedocument.themeOverride+xml"/>
  <Override PartName="/ppt/theme/themeOverride1610.xml" ContentType="application/vnd.openxmlformats-officedocument.themeOverride+xml"/>
  <Override PartName="/ppt/theme/themeOverride1611.xml" ContentType="application/vnd.openxmlformats-officedocument.themeOverride+xml"/>
  <Override PartName="/ppt/theme/themeOverride1612.xml" ContentType="application/vnd.openxmlformats-officedocument.themeOverride+xml"/>
  <Override PartName="/ppt/theme/themeOverride1613.xml" ContentType="application/vnd.openxmlformats-officedocument.themeOverride+xml"/>
  <Override PartName="/ppt/theme/themeOverride1614.xml" ContentType="application/vnd.openxmlformats-officedocument.themeOverride+xml"/>
  <Override PartName="/ppt/theme/themeOverride1615.xml" ContentType="application/vnd.openxmlformats-officedocument.themeOverride+xml"/>
  <Override PartName="/ppt/theme/themeOverride1616.xml" ContentType="application/vnd.openxmlformats-officedocument.themeOverride+xml"/>
  <Override PartName="/ppt/theme/themeOverride1617.xml" ContentType="application/vnd.openxmlformats-officedocument.themeOverride+xml"/>
  <Override PartName="/ppt/theme/themeOverride1618.xml" ContentType="application/vnd.openxmlformats-officedocument.themeOverride+xml"/>
  <Override PartName="/ppt/theme/themeOverride1619.xml" ContentType="application/vnd.openxmlformats-officedocument.themeOverride+xml"/>
  <Override PartName="/ppt/theme/themeOverride162.xml" ContentType="application/vnd.openxmlformats-officedocument.themeOverride+xml"/>
  <Override PartName="/ppt/theme/themeOverride1620.xml" ContentType="application/vnd.openxmlformats-officedocument.themeOverride+xml"/>
  <Override PartName="/ppt/theme/themeOverride1621.xml" ContentType="application/vnd.openxmlformats-officedocument.themeOverride+xml"/>
  <Override PartName="/ppt/theme/themeOverride1622.xml" ContentType="application/vnd.openxmlformats-officedocument.themeOverride+xml"/>
  <Override PartName="/ppt/theme/themeOverride1623.xml" ContentType="application/vnd.openxmlformats-officedocument.themeOverride+xml"/>
  <Override PartName="/ppt/theme/themeOverride1624.xml" ContentType="application/vnd.openxmlformats-officedocument.themeOverride+xml"/>
  <Override PartName="/ppt/theme/themeOverride1625.xml" ContentType="application/vnd.openxmlformats-officedocument.themeOverride+xml"/>
  <Override PartName="/ppt/theme/themeOverride1626.xml" ContentType="application/vnd.openxmlformats-officedocument.themeOverride+xml"/>
  <Override PartName="/ppt/theme/themeOverride1627.xml" ContentType="application/vnd.openxmlformats-officedocument.themeOverride+xml"/>
  <Override PartName="/ppt/theme/themeOverride1628.xml" ContentType="application/vnd.openxmlformats-officedocument.themeOverride+xml"/>
  <Override PartName="/ppt/theme/themeOverride1629.xml" ContentType="application/vnd.openxmlformats-officedocument.themeOverride+xml"/>
  <Override PartName="/ppt/theme/themeOverride163.xml" ContentType="application/vnd.openxmlformats-officedocument.themeOverride+xml"/>
  <Override PartName="/ppt/theme/themeOverride1630.xml" ContentType="application/vnd.openxmlformats-officedocument.themeOverride+xml"/>
  <Override PartName="/ppt/theme/themeOverride1631.xml" ContentType="application/vnd.openxmlformats-officedocument.themeOverride+xml"/>
  <Override PartName="/ppt/theme/themeOverride1632.xml" ContentType="application/vnd.openxmlformats-officedocument.themeOverride+xml"/>
  <Override PartName="/ppt/theme/themeOverride1633.xml" ContentType="application/vnd.openxmlformats-officedocument.themeOverride+xml"/>
  <Override PartName="/ppt/theme/themeOverride1634.xml" ContentType="application/vnd.openxmlformats-officedocument.themeOverride+xml"/>
  <Override PartName="/ppt/theme/themeOverride1635.xml" ContentType="application/vnd.openxmlformats-officedocument.themeOverride+xml"/>
  <Override PartName="/ppt/theme/themeOverride1636.xml" ContentType="application/vnd.openxmlformats-officedocument.themeOverride+xml"/>
  <Override PartName="/ppt/theme/themeOverride1637.xml" ContentType="application/vnd.openxmlformats-officedocument.themeOverride+xml"/>
  <Override PartName="/ppt/theme/themeOverride1638.xml" ContentType="application/vnd.openxmlformats-officedocument.themeOverride+xml"/>
  <Override PartName="/ppt/theme/themeOverride1639.xml" ContentType="application/vnd.openxmlformats-officedocument.themeOverride+xml"/>
  <Override PartName="/ppt/theme/themeOverride164.xml" ContentType="application/vnd.openxmlformats-officedocument.themeOverride+xml"/>
  <Override PartName="/ppt/theme/themeOverride1640.xml" ContentType="application/vnd.openxmlformats-officedocument.themeOverride+xml"/>
  <Override PartName="/ppt/theme/themeOverride1641.xml" ContentType="application/vnd.openxmlformats-officedocument.themeOverride+xml"/>
  <Override PartName="/ppt/theme/themeOverride1642.xml" ContentType="application/vnd.openxmlformats-officedocument.themeOverride+xml"/>
  <Override PartName="/ppt/theme/themeOverride1643.xml" ContentType="application/vnd.openxmlformats-officedocument.themeOverride+xml"/>
  <Override PartName="/ppt/theme/themeOverride1644.xml" ContentType="application/vnd.openxmlformats-officedocument.themeOverride+xml"/>
  <Override PartName="/ppt/theme/themeOverride1645.xml" ContentType="application/vnd.openxmlformats-officedocument.themeOverride+xml"/>
  <Override PartName="/ppt/theme/themeOverride1646.xml" ContentType="application/vnd.openxmlformats-officedocument.themeOverride+xml"/>
  <Override PartName="/ppt/theme/themeOverride1647.xml" ContentType="application/vnd.openxmlformats-officedocument.themeOverride+xml"/>
  <Override PartName="/ppt/theme/themeOverride1648.xml" ContentType="application/vnd.openxmlformats-officedocument.themeOverride+xml"/>
  <Override PartName="/ppt/theme/themeOverride1649.xml" ContentType="application/vnd.openxmlformats-officedocument.themeOverride+xml"/>
  <Override PartName="/ppt/theme/themeOverride165.xml" ContentType="application/vnd.openxmlformats-officedocument.themeOverride+xml"/>
  <Override PartName="/ppt/theme/themeOverride1650.xml" ContentType="application/vnd.openxmlformats-officedocument.themeOverride+xml"/>
  <Override PartName="/ppt/theme/themeOverride1651.xml" ContentType="application/vnd.openxmlformats-officedocument.themeOverride+xml"/>
  <Override PartName="/ppt/theme/themeOverride1652.xml" ContentType="application/vnd.openxmlformats-officedocument.themeOverride+xml"/>
  <Override PartName="/ppt/theme/themeOverride1653.xml" ContentType="application/vnd.openxmlformats-officedocument.themeOverride+xml"/>
  <Override PartName="/ppt/theme/themeOverride1654.xml" ContentType="application/vnd.openxmlformats-officedocument.themeOverride+xml"/>
  <Override PartName="/ppt/theme/themeOverride1655.xml" ContentType="application/vnd.openxmlformats-officedocument.themeOverride+xml"/>
  <Override PartName="/ppt/theme/themeOverride1656.xml" ContentType="application/vnd.openxmlformats-officedocument.themeOverride+xml"/>
  <Override PartName="/ppt/theme/themeOverride1657.xml" ContentType="application/vnd.openxmlformats-officedocument.themeOverride+xml"/>
  <Override PartName="/ppt/theme/themeOverride1658.xml" ContentType="application/vnd.openxmlformats-officedocument.themeOverride+xml"/>
  <Override PartName="/ppt/theme/themeOverride1659.xml" ContentType="application/vnd.openxmlformats-officedocument.themeOverride+xml"/>
  <Override PartName="/ppt/theme/themeOverride166.xml" ContentType="application/vnd.openxmlformats-officedocument.themeOverride+xml"/>
  <Override PartName="/ppt/theme/themeOverride1660.xml" ContentType="application/vnd.openxmlformats-officedocument.themeOverride+xml"/>
  <Override PartName="/ppt/theme/themeOverride1661.xml" ContentType="application/vnd.openxmlformats-officedocument.themeOverride+xml"/>
  <Override PartName="/ppt/theme/themeOverride1662.xml" ContentType="application/vnd.openxmlformats-officedocument.themeOverride+xml"/>
  <Override PartName="/ppt/theme/themeOverride1663.xml" ContentType="application/vnd.openxmlformats-officedocument.themeOverride+xml"/>
  <Override PartName="/ppt/theme/themeOverride1664.xml" ContentType="application/vnd.openxmlformats-officedocument.themeOverride+xml"/>
  <Override PartName="/ppt/theme/themeOverride1665.xml" ContentType="application/vnd.openxmlformats-officedocument.themeOverride+xml"/>
  <Override PartName="/ppt/theme/themeOverride1666.xml" ContentType="application/vnd.openxmlformats-officedocument.themeOverride+xml"/>
  <Override PartName="/ppt/theme/themeOverride1667.xml" ContentType="application/vnd.openxmlformats-officedocument.themeOverride+xml"/>
  <Override PartName="/ppt/theme/themeOverride1668.xml" ContentType="application/vnd.openxmlformats-officedocument.themeOverride+xml"/>
  <Override PartName="/ppt/theme/themeOverride1669.xml" ContentType="application/vnd.openxmlformats-officedocument.themeOverride+xml"/>
  <Override PartName="/ppt/theme/themeOverride167.xml" ContentType="application/vnd.openxmlformats-officedocument.themeOverride+xml"/>
  <Override PartName="/ppt/theme/themeOverride1670.xml" ContentType="application/vnd.openxmlformats-officedocument.themeOverride+xml"/>
  <Override PartName="/ppt/theme/themeOverride1671.xml" ContentType="application/vnd.openxmlformats-officedocument.themeOverride+xml"/>
  <Override PartName="/ppt/theme/themeOverride1672.xml" ContentType="application/vnd.openxmlformats-officedocument.themeOverride+xml"/>
  <Override PartName="/ppt/theme/themeOverride1673.xml" ContentType="application/vnd.openxmlformats-officedocument.themeOverride+xml"/>
  <Override PartName="/ppt/theme/themeOverride1674.xml" ContentType="application/vnd.openxmlformats-officedocument.themeOverride+xml"/>
  <Override PartName="/ppt/theme/themeOverride1675.xml" ContentType="application/vnd.openxmlformats-officedocument.themeOverride+xml"/>
  <Override PartName="/ppt/theme/themeOverride1676.xml" ContentType="application/vnd.openxmlformats-officedocument.themeOverride+xml"/>
  <Override PartName="/ppt/theme/themeOverride1677.xml" ContentType="application/vnd.openxmlformats-officedocument.themeOverride+xml"/>
  <Override PartName="/ppt/theme/themeOverride1678.xml" ContentType="application/vnd.openxmlformats-officedocument.themeOverride+xml"/>
  <Override PartName="/ppt/theme/themeOverride1679.xml" ContentType="application/vnd.openxmlformats-officedocument.themeOverride+xml"/>
  <Override PartName="/ppt/theme/themeOverride168.xml" ContentType="application/vnd.openxmlformats-officedocument.themeOverride+xml"/>
  <Override PartName="/ppt/theme/themeOverride1680.xml" ContentType="application/vnd.openxmlformats-officedocument.themeOverride+xml"/>
  <Override PartName="/ppt/theme/themeOverride1681.xml" ContentType="application/vnd.openxmlformats-officedocument.themeOverride+xml"/>
  <Override PartName="/ppt/theme/themeOverride1682.xml" ContentType="application/vnd.openxmlformats-officedocument.themeOverride+xml"/>
  <Override PartName="/ppt/theme/themeOverride1683.xml" ContentType="application/vnd.openxmlformats-officedocument.themeOverride+xml"/>
  <Override PartName="/ppt/theme/themeOverride1684.xml" ContentType="application/vnd.openxmlformats-officedocument.themeOverride+xml"/>
  <Override PartName="/ppt/theme/themeOverride1685.xml" ContentType="application/vnd.openxmlformats-officedocument.themeOverride+xml"/>
  <Override PartName="/ppt/theme/themeOverride1686.xml" ContentType="application/vnd.openxmlformats-officedocument.themeOverride+xml"/>
  <Override PartName="/ppt/theme/themeOverride1687.xml" ContentType="application/vnd.openxmlformats-officedocument.themeOverride+xml"/>
  <Override PartName="/ppt/theme/themeOverride1688.xml" ContentType="application/vnd.openxmlformats-officedocument.themeOverride+xml"/>
  <Override PartName="/ppt/theme/themeOverride1689.xml" ContentType="application/vnd.openxmlformats-officedocument.themeOverride+xml"/>
  <Override PartName="/ppt/theme/themeOverride169.xml" ContentType="application/vnd.openxmlformats-officedocument.themeOverride+xml"/>
  <Override PartName="/ppt/theme/themeOverride1690.xml" ContentType="application/vnd.openxmlformats-officedocument.themeOverride+xml"/>
  <Override PartName="/ppt/theme/themeOverride1691.xml" ContentType="application/vnd.openxmlformats-officedocument.themeOverride+xml"/>
  <Override PartName="/ppt/theme/themeOverride1692.xml" ContentType="application/vnd.openxmlformats-officedocument.themeOverride+xml"/>
  <Override PartName="/ppt/theme/themeOverride1693.xml" ContentType="application/vnd.openxmlformats-officedocument.themeOverride+xml"/>
  <Override PartName="/ppt/theme/themeOverride1694.xml" ContentType="application/vnd.openxmlformats-officedocument.themeOverride+xml"/>
  <Override PartName="/ppt/theme/themeOverride1695.xml" ContentType="application/vnd.openxmlformats-officedocument.themeOverride+xml"/>
  <Override PartName="/ppt/theme/themeOverride1696.xml" ContentType="application/vnd.openxmlformats-officedocument.themeOverride+xml"/>
  <Override PartName="/ppt/theme/themeOverride1697.xml" ContentType="application/vnd.openxmlformats-officedocument.themeOverride+xml"/>
  <Override PartName="/ppt/theme/themeOverride1698.xml" ContentType="application/vnd.openxmlformats-officedocument.themeOverride+xml"/>
  <Override PartName="/ppt/theme/themeOverride1699.xml" ContentType="application/vnd.openxmlformats-officedocument.themeOverride+xml"/>
  <Override PartName="/ppt/theme/themeOverride17.xml" ContentType="application/vnd.openxmlformats-officedocument.themeOverride+xml"/>
  <Override PartName="/ppt/theme/themeOverride170.xml" ContentType="application/vnd.openxmlformats-officedocument.themeOverride+xml"/>
  <Override PartName="/ppt/theme/themeOverride1700.xml" ContentType="application/vnd.openxmlformats-officedocument.themeOverride+xml"/>
  <Override PartName="/ppt/theme/themeOverride1701.xml" ContentType="application/vnd.openxmlformats-officedocument.themeOverride+xml"/>
  <Override PartName="/ppt/theme/themeOverride1702.xml" ContentType="application/vnd.openxmlformats-officedocument.themeOverride+xml"/>
  <Override PartName="/ppt/theme/themeOverride1703.xml" ContentType="application/vnd.openxmlformats-officedocument.themeOverride+xml"/>
  <Override PartName="/ppt/theme/themeOverride1704.xml" ContentType="application/vnd.openxmlformats-officedocument.themeOverride+xml"/>
  <Override PartName="/ppt/theme/themeOverride1705.xml" ContentType="application/vnd.openxmlformats-officedocument.themeOverride+xml"/>
  <Override PartName="/ppt/theme/themeOverride1706.xml" ContentType="application/vnd.openxmlformats-officedocument.themeOverride+xml"/>
  <Override PartName="/ppt/theme/themeOverride1707.xml" ContentType="application/vnd.openxmlformats-officedocument.themeOverride+xml"/>
  <Override PartName="/ppt/theme/themeOverride1708.xml" ContentType="application/vnd.openxmlformats-officedocument.themeOverride+xml"/>
  <Override PartName="/ppt/theme/themeOverride1709.xml" ContentType="application/vnd.openxmlformats-officedocument.themeOverride+xml"/>
  <Override PartName="/ppt/theme/themeOverride171.xml" ContentType="application/vnd.openxmlformats-officedocument.themeOverride+xml"/>
  <Override PartName="/ppt/theme/themeOverride1710.xml" ContentType="application/vnd.openxmlformats-officedocument.themeOverride+xml"/>
  <Override PartName="/ppt/theme/themeOverride1711.xml" ContentType="application/vnd.openxmlformats-officedocument.themeOverride+xml"/>
  <Override PartName="/ppt/theme/themeOverride1712.xml" ContentType="application/vnd.openxmlformats-officedocument.themeOverride+xml"/>
  <Override PartName="/ppt/theme/themeOverride1713.xml" ContentType="application/vnd.openxmlformats-officedocument.themeOverride+xml"/>
  <Override PartName="/ppt/theme/themeOverride1714.xml" ContentType="application/vnd.openxmlformats-officedocument.themeOverride+xml"/>
  <Override PartName="/ppt/theme/themeOverride1715.xml" ContentType="application/vnd.openxmlformats-officedocument.themeOverride+xml"/>
  <Override PartName="/ppt/theme/themeOverride1716.xml" ContentType="application/vnd.openxmlformats-officedocument.themeOverride+xml"/>
  <Override PartName="/ppt/theme/themeOverride1717.xml" ContentType="application/vnd.openxmlformats-officedocument.themeOverride+xml"/>
  <Override PartName="/ppt/theme/themeOverride1718.xml" ContentType="application/vnd.openxmlformats-officedocument.themeOverride+xml"/>
  <Override PartName="/ppt/theme/themeOverride1719.xml" ContentType="application/vnd.openxmlformats-officedocument.themeOverride+xml"/>
  <Override PartName="/ppt/theme/themeOverride172.xml" ContentType="application/vnd.openxmlformats-officedocument.themeOverride+xml"/>
  <Override PartName="/ppt/theme/themeOverride1720.xml" ContentType="application/vnd.openxmlformats-officedocument.themeOverride+xml"/>
  <Override PartName="/ppt/theme/themeOverride1721.xml" ContentType="application/vnd.openxmlformats-officedocument.themeOverride+xml"/>
  <Override PartName="/ppt/theme/themeOverride1722.xml" ContentType="application/vnd.openxmlformats-officedocument.themeOverride+xml"/>
  <Override PartName="/ppt/theme/themeOverride1723.xml" ContentType="application/vnd.openxmlformats-officedocument.themeOverride+xml"/>
  <Override PartName="/ppt/theme/themeOverride1724.xml" ContentType="application/vnd.openxmlformats-officedocument.themeOverride+xml"/>
  <Override PartName="/ppt/theme/themeOverride1725.xml" ContentType="application/vnd.openxmlformats-officedocument.themeOverride+xml"/>
  <Override PartName="/ppt/theme/themeOverride1726.xml" ContentType="application/vnd.openxmlformats-officedocument.themeOverride+xml"/>
  <Override PartName="/ppt/theme/themeOverride1727.xml" ContentType="application/vnd.openxmlformats-officedocument.themeOverride+xml"/>
  <Override PartName="/ppt/theme/themeOverride1728.xml" ContentType="application/vnd.openxmlformats-officedocument.themeOverride+xml"/>
  <Override PartName="/ppt/theme/themeOverride1729.xml" ContentType="application/vnd.openxmlformats-officedocument.themeOverride+xml"/>
  <Override PartName="/ppt/theme/themeOverride173.xml" ContentType="application/vnd.openxmlformats-officedocument.themeOverride+xml"/>
  <Override PartName="/ppt/theme/themeOverride1730.xml" ContentType="application/vnd.openxmlformats-officedocument.themeOverride+xml"/>
  <Override PartName="/ppt/theme/themeOverride1731.xml" ContentType="application/vnd.openxmlformats-officedocument.themeOverride+xml"/>
  <Override PartName="/ppt/theme/themeOverride1732.xml" ContentType="application/vnd.openxmlformats-officedocument.themeOverride+xml"/>
  <Override PartName="/ppt/theme/themeOverride1733.xml" ContentType="application/vnd.openxmlformats-officedocument.themeOverride+xml"/>
  <Override PartName="/ppt/theme/themeOverride1734.xml" ContentType="application/vnd.openxmlformats-officedocument.themeOverride+xml"/>
  <Override PartName="/ppt/theme/themeOverride1735.xml" ContentType="application/vnd.openxmlformats-officedocument.themeOverride+xml"/>
  <Override PartName="/ppt/theme/themeOverride1736.xml" ContentType="application/vnd.openxmlformats-officedocument.themeOverride+xml"/>
  <Override PartName="/ppt/theme/themeOverride1737.xml" ContentType="application/vnd.openxmlformats-officedocument.themeOverride+xml"/>
  <Override PartName="/ppt/theme/themeOverride1738.xml" ContentType="application/vnd.openxmlformats-officedocument.themeOverride+xml"/>
  <Override PartName="/ppt/theme/themeOverride1739.xml" ContentType="application/vnd.openxmlformats-officedocument.themeOverride+xml"/>
  <Override PartName="/ppt/theme/themeOverride174.xml" ContentType="application/vnd.openxmlformats-officedocument.themeOverride+xml"/>
  <Override PartName="/ppt/theme/themeOverride1740.xml" ContentType="application/vnd.openxmlformats-officedocument.themeOverride+xml"/>
  <Override PartName="/ppt/theme/themeOverride1741.xml" ContentType="application/vnd.openxmlformats-officedocument.themeOverride+xml"/>
  <Override PartName="/ppt/theme/themeOverride1742.xml" ContentType="application/vnd.openxmlformats-officedocument.themeOverride+xml"/>
  <Override PartName="/ppt/theme/themeOverride1743.xml" ContentType="application/vnd.openxmlformats-officedocument.themeOverride+xml"/>
  <Override PartName="/ppt/theme/themeOverride1744.xml" ContentType="application/vnd.openxmlformats-officedocument.themeOverride+xml"/>
  <Override PartName="/ppt/theme/themeOverride1745.xml" ContentType="application/vnd.openxmlformats-officedocument.themeOverride+xml"/>
  <Override PartName="/ppt/theme/themeOverride1746.xml" ContentType="application/vnd.openxmlformats-officedocument.themeOverride+xml"/>
  <Override PartName="/ppt/theme/themeOverride1747.xml" ContentType="application/vnd.openxmlformats-officedocument.themeOverride+xml"/>
  <Override PartName="/ppt/theme/themeOverride1748.xml" ContentType="application/vnd.openxmlformats-officedocument.themeOverride+xml"/>
  <Override PartName="/ppt/theme/themeOverride1749.xml" ContentType="application/vnd.openxmlformats-officedocument.themeOverride+xml"/>
  <Override PartName="/ppt/theme/themeOverride175.xml" ContentType="application/vnd.openxmlformats-officedocument.themeOverride+xml"/>
  <Override PartName="/ppt/theme/themeOverride1750.xml" ContentType="application/vnd.openxmlformats-officedocument.themeOverride+xml"/>
  <Override PartName="/ppt/theme/themeOverride1751.xml" ContentType="application/vnd.openxmlformats-officedocument.themeOverride+xml"/>
  <Override PartName="/ppt/theme/themeOverride1752.xml" ContentType="application/vnd.openxmlformats-officedocument.themeOverride+xml"/>
  <Override PartName="/ppt/theme/themeOverride1753.xml" ContentType="application/vnd.openxmlformats-officedocument.themeOverride+xml"/>
  <Override PartName="/ppt/theme/themeOverride1754.xml" ContentType="application/vnd.openxmlformats-officedocument.themeOverride+xml"/>
  <Override PartName="/ppt/theme/themeOverride1755.xml" ContentType="application/vnd.openxmlformats-officedocument.themeOverride+xml"/>
  <Override PartName="/ppt/theme/themeOverride1756.xml" ContentType="application/vnd.openxmlformats-officedocument.themeOverride+xml"/>
  <Override PartName="/ppt/theme/themeOverride1757.xml" ContentType="application/vnd.openxmlformats-officedocument.themeOverride+xml"/>
  <Override PartName="/ppt/theme/themeOverride1758.xml" ContentType="application/vnd.openxmlformats-officedocument.themeOverride+xml"/>
  <Override PartName="/ppt/theme/themeOverride1759.xml" ContentType="application/vnd.openxmlformats-officedocument.themeOverride+xml"/>
  <Override PartName="/ppt/theme/themeOverride176.xml" ContentType="application/vnd.openxmlformats-officedocument.themeOverride+xml"/>
  <Override PartName="/ppt/theme/themeOverride1760.xml" ContentType="application/vnd.openxmlformats-officedocument.themeOverride+xml"/>
  <Override PartName="/ppt/theme/themeOverride1761.xml" ContentType="application/vnd.openxmlformats-officedocument.themeOverride+xml"/>
  <Override PartName="/ppt/theme/themeOverride1762.xml" ContentType="application/vnd.openxmlformats-officedocument.themeOverride+xml"/>
  <Override PartName="/ppt/theme/themeOverride1763.xml" ContentType="application/vnd.openxmlformats-officedocument.themeOverride+xml"/>
  <Override PartName="/ppt/theme/themeOverride1764.xml" ContentType="application/vnd.openxmlformats-officedocument.themeOverride+xml"/>
  <Override PartName="/ppt/theme/themeOverride1765.xml" ContentType="application/vnd.openxmlformats-officedocument.themeOverride+xml"/>
  <Override PartName="/ppt/theme/themeOverride1766.xml" ContentType="application/vnd.openxmlformats-officedocument.themeOverride+xml"/>
  <Override PartName="/ppt/theme/themeOverride1767.xml" ContentType="application/vnd.openxmlformats-officedocument.themeOverride+xml"/>
  <Override PartName="/ppt/theme/themeOverride1768.xml" ContentType="application/vnd.openxmlformats-officedocument.themeOverride+xml"/>
  <Override PartName="/ppt/theme/themeOverride1769.xml" ContentType="application/vnd.openxmlformats-officedocument.themeOverride+xml"/>
  <Override PartName="/ppt/theme/themeOverride177.xml" ContentType="application/vnd.openxmlformats-officedocument.themeOverride+xml"/>
  <Override PartName="/ppt/theme/themeOverride1770.xml" ContentType="application/vnd.openxmlformats-officedocument.themeOverride+xml"/>
  <Override PartName="/ppt/theme/themeOverride1771.xml" ContentType="application/vnd.openxmlformats-officedocument.themeOverride+xml"/>
  <Override PartName="/ppt/theme/themeOverride1772.xml" ContentType="application/vnd.openxmlformats-officedocument.themeOverride+xml"/>
  <Override PartName="/ppt/theme/themeOverride1773.xml" ContentType="application/vnd.openxmlformats-officedocument.themeOverride+xml"/>
  <Override PartName="/ppt/theme/themeOverride1774.xml" ContentType="application/vnd.openxmlformats-officedocument.themeOverride+xml"/>
  <Override PartName="/ppt/theme/themeOverride1775.xml" ContentType="application/vnd.openxmlformats-officedocument.themeOverride+xml"/>
  <Override PartName="/ppt/theme/themeOverride1776.xml" ContentType="application/vnd.openxmlformats-officedocument.themeOverride+xml"/>
  <Override PartName="/ppt/theme/themeOverride1777.xml" ContentType="application/vnd.openxmlformats-officedocument.themeOverride+xml"/>
  <Override PartName="/ppt/theme/themeOverride1778.xml" ContentType="application/vnd.openxmlformats-officedocument.themeOverride+xml"/>
  <Override PartName="/ppt/theme/themeOverride1779.xml" ContentType="application/vnd.openxmlformats-officedocument.themeOverride+xml"/>
  <Override PartName="/ppt/theme/themeOverride178.xml" ContentType="application/vnd.openxmlformats-officedocument.themeOverride+xml"/>
  <Override PartName="/ppt/theme/themeOverride1780.xml" ContentType="application/vnd.openxmlformats-officedocument.themeOverride+xml"/>
  <Override PartName="/ppt/theme/themeOverride1781.xml" ContentType="application/vnd.openxmlformats-officedocument.themeOverride+xml"/>
  <Override PartName="/ppt/theme/themeOverride1782.xml" ContentType="application/vnd.openxmlformats-officedocument.themeOverride+xml"/>
  <Override PartName="/ppt/theme/themeOverride1783.xml" ContentType="application/vnd.openxmlformats-officedocument.themeOverride+xml"/>
  <Override PartName="/ppt/theme/themeOverride1784.xml" ContentType="application/vnd.openxmlformats-officedocument.themeOverride+xml"/>
  <Override PartName="/ppt/theme/themeOverride1785.xml" ContentType="application/vnd.openxmlformats-officedocument.themeOverride+xml"/>
  <Override PartName="/ppt/theme/themeOverride1786.xml" ContentType="application/vnd.openxmlformats-officedocument.themeOverride+xml"/>
  <Override PartName="/ppt/theme/themeOverride1787.xml" ContentType="application/vnd.openxmlformats-officedocument.themeOverride+xml"/>
  <Override PartName="/ppt/theme/themeOverride1788.xml" ContentType="application/vnd.openxmlformats-officedocument.themeOverride+xml"/>
  <Override PartName="/ppt/theme/themeOverride1789.xml" ContentType="application/vnd.openxmlformats-officedocument.themeOverride+xml"/>
  <Override PartName="/ppt/theme/themeOverride179.xml" ContentType="application/vnd.openxmlformats-officedocument.themeOverride+xml"/>
  <Override PartName="/ppt/theme/themeOverride1790.xml" ContentType="application/vnd.openxmlformats-officedocument.themeOverride+xml"/>
  <Override PartName="/ppt/theme/themeOverride1791.xml" ContentType="application/vnd.openxmlformats-officedocument.themeOverride+xml"/>
  <Override PartName="/ppt/theme/themeOverride1792.xml" ContentType="application/vnd.openxmlformats-officedocument.themeOverride+xml"/>
  <Override PartName="/ppt/theme/themeOverride1793.xml" ContentType="application/vnd.openxmlformats-officedocument.themeOverride+xml"/>
  <Override PartName="/ppt/theme/themeOverride1794.xml" ContentType="application/vnd.openxmlformats-officedocument.themeOverride+xml"/>
  <Override PartName="/ppt/theme/themeOverride1795.xml" ContentType="application/vnd.openxmlformats-officedocument.themeOverride+xml"/>
  <Override PartName="/ppt/theme/themeOverride1796.xml" ContentType="application/vnd.openxmlformats-officedocument.themeOverride+xml"/>
  <Override PartName="/ppt/theme/themeOverride1797.xml" ContentType="application/vnd.openxmlformats-officedocument.themeOverride+xml"/>
  <Override PartName="/ppt/theme/themeOverride1798.xml" ContentType="application/vnd.openxmlformats-officedocument.themeOverride+xml"/>
  <Override PartName="/ppt/theme/themeOverride1799.xml" ContentType="application/vnd.openxmlformats-officedocument.themeOverride+xml"/>
  <Override PartName="/ppt/theme/themeOverride18.xml" ContentType="application/vnd.openxmlformats-officedocument.themeOverride+xml"/>
  <Override PartName="/ppt/theme/themeOverride180.xml" ContentType="application/vnd.openxmlformats-officedocument.themeOverride+xml"/>
  <Override PartName="/ppt/theme/themeOverride1800.xml" ContentType="application/vnd.openxmlformats-officedocument.themeOverride+xml"/>
  <Override PartName="/ppt/theme/themeOverride1801.xml" ContentType="application/vnd.openxmlformats-officedocument.themeOverride+xml"/>
  <Override PartName="/ppt/theme/themeOverride1802.xml" ContentType="application/vnd.openxmlformats-officedocument.themeOverride+xml"/>
  <Override PartName="/ppt/theme/themeOverride1803.xml" ContentType="application/vnd.openxmlformats-officedocument.themeOverride+xml"/>
  <Override PartName="/ppt/theme/themeOverride1804.xml" ContentType="application/vnd.openxmlformats-officedocument.themeOverride+xml"/>
  <Override PartName="/ppt/theme/themeOverride1805.xml" ContentType="application/vnd.openxmlformats-officedocument.themeOverride+xml"/>
  <Override PartName="/ppt/theme/themeOverride1806.xml" ContentType="application/vnd.openxmlformats-officedocument.themeOverride+xml"/>
  <Override PartName="/ppt/theme/themeOverride1807.xml" ContentType="application/vnd.openxmlformats-officedocument.themeOverride+xml"/>
  <Override PartName="/ppt/theme/themeOverride1808.xml" ContentType="application/vnd.openxmlformats-officedocument.themeOverride+xml"/>
  <Override PartName="/ppt/theme/themeOverride1809.xml" ContentType="application/vnd.openxmlformats-officedocument.themeOverride+xml"/>
  <Override PartName="/ppt/theme/themeOverride181.xml" ContentType="application/vnd.openxmlformats-officedocument.themeOverride+xml"/>
  <Override PartName="/ppt/theme/themeOverride1810.xml" ContentType="application/vnd.openxmlformats-officedocument.themeOverride+xml"/>
  <Override PartName="/ppt/theme/themeOverride1811.xml" ContentType="application/vnd.openxmlformats-officedocument.themeOverride+xml"/>
  <Override PartName="/ppt/theme/themeOverride1812.xml" ContentType="application/vnd.openxmlformats-officedocument.themeOverride+xml"/>
  <Override PartName="/ppt/theme/themeOverride1813.xml" ContentType="application/vnd.openxmlformats-officedocument.themeOverride+xml"/>
  <Override PartName="/ppt/theme/themeOverride1814.xml" ContentType="application/vnd.openxmlformats-officedocument.themeOverride+xml"/>
  <Override PartName="/ppt/theme/themeOverride1815.xml" ContentType="application/vnd.openxmlformats-officedocument.themeOverride+xml"/>
  <Override PartName="/ppt/theme/themeOverride1816.xml" ContentType="application/vnd.openxmlformats-officedocument.themeOverride+xml"/>
  <Override PartName="/ppt/theme/themeOverride1817.xml" ContentType="application/vnd.openxmlformats-officedocument.themeOverride+xml"/>
  <Override PartName="/ppt/theme/themeOverride1818.xml" ContentType="application/vnd.openxmlformats-officedocument.themeOverride+xml"/>
  <Override PartName="/ppt/theme/themeOverride1819.xml" ContentType="application/vnd.openxmlformats-officedocument.themeOverride+xml"/>
  <Override PartName="/ppt/theme/themeOverride182.xml" ContentType="application/vnd.openxmlformats-officedocument.themeOverride+xml"/>
  <Override PartName="/ppt/theme/themeOverride1820.xml" ContentType="application/vnd.openxmlformats-officedocument.themeOverride+xml"/>
  <Override PartName="/ppt/theme/themeOverride1821.xml" ContentType="application/vnd.openxmlformats-officedocument.themeOverride+xml"/>
  <Override PartName="/ppt/theme/themeOverride1822.xml" ContentType="application/vnd.openxmlformats-officedocument.themeOverride+xml"/>
  <Override PartName="/ppt/theme/themeOverride1823.xml" ContentType="application/vnd.openxmlformats-officedocument.themeOverride+xml"/>
  <Override PartName="/ppt/theme/themeOverride1824.xml" ContentType="application/vnd.openxmlformats-officedocument.themeOverride+xml"/>
  <Override PartName="/ppt/theme/themeOverride1825.xml" ContentType="application/vnd.openxmlformats-officedocument.themeOverride+xml"/>
  <Override PartName="/ppt/theme/themeOverride1826.xml" ContentType="application/vnd.openxmlformats-officedocument.themeOverride+xml"/>
  <Override PartName="/ppt/theme/themeOverride1827.xml" ContentType="application/vnd.openxmlformats-officedocument.themeOverride+xml"/>
  <Override PartName="/ppt/theme/themeOverride1828.xml" ContentType="application/vnd.openxmlformats-officedocument.themeOverride+xml"/>
  <Override PartName="/ppt/theme/themeOverride1829.xml" ContentType="application/vnd.openxmlformats-officedocument.themeOverride+xml"/>
  <Override PartName="/ppt/theme/themeOverride183.xml" ContentType="application/vnd.openxmlformats-officedocument.themeOverride+xml"/>
  <Override PartName="/ppt/theme/themeOverride1830.xml" ContentType="application/vnd.openxmlformats-officedocument.themeOverride+xml"/>
  <Override PartName="/ppt/theme/themeOverride1831.xml" ContentType="application/vnd.openxmlformats-officedocument.themeOverride+xml"/>
  <Override PartName="/ppt/theme/themeOverride1832.xml" ContentType="application/vnd.openxmlformats-officedocument.themeOverride+xml"/>
  <Override PartName="/ppt/theme/themeOverride1833.xml" ContentType="application/vnd.openxmlformats-officedocument.themeOverride+xml"/>
  <Override PartName="/ppt/theme/themeOverride1834.xml" ContentType="application/vnd.openxmlformats-officedocument.themeOverride+xml"/>
  <Override PartName="/ppt/theme/themeOverride1835.xml" ContentType="application/vnd.openxmlformats-officedocument.themeOverride+xml"/>
  <Override PartName="/ppt/theme/themeOverride1836.xml" ContentType="application/vnd.openxmlformats-officedocument.themeOverride+xml"/>
  <Override PartName="/ppt/theme/themeOverride1837.xml" ContentType="application/vnd.openxmlformats-officedocument.themeOverride+xml"/>
  <Override PartName="/ppt/theme/themeOverride1838.xml" ContentType="application/vnd.openxmlformats-officedocument.themeOverride+xml"/>
  <Override PartName="/ppt/theme/themeOverride1839.xml" ContentType="application/vnd.openxmlformats-officedocument.themeOverride+xml"/>
  <Override PartName="/ppt/theme/themeOverride184.xml" ContentType="application/vnd.openxmlformats-officedocument.themeOverride+xml"/>
  <Override PartName="/ppt/theme/themeOverride1840.xml" ContentType="application/vnd.openxmlformats-officedocument.themeOverride+xml"/>
  <Override PartName="/ppt/theme/themeOverride1841.xml" ContentType="application/vnd.openxmlformats-officedocument.themeOverride+xml"/>
  <Override PartName="/ppt/theme/themeOverride1842.xml" ContentType="application/vnd.openxmlformats-officedocument.themeOverride+xml"/>
  <Override PartName="/ppt/theme/themeOverride1843.xml" ContentType="application/vnd.openxmlformats-officedocument.themeOverride+xml"/>
  <Override PartName="/ppt/theme/themeOverride1844.xml" ContentType="application/vnd.openxmlformats-officedocument.themeOverride+xml"/>
  <Override PartName="/ppt/theme/themeOverride1845.xml" ContentType="application/vnd.openxmlformats-officedocument.themeOverride+xml"/>
  <Override PartName="/ppt/theme/themeOverride1846.xml" ContentType="application/vnd.openxmlformats-officedocument.themeOverride+xml"/>
  <Override PartName="/ppt/theme/themeOverride1847.xml" ContentType="application/vnd.openxmlformats-officedocument.themeOverride+xml"/>
  <Override PartName="/ppt/theme/themeOverride1848.xml" ContentType="application/vnd.openxmlformats-officedocument.themeOverride+xml"/>
  <Override PartName="/ppt/theme/themeOverride1849.xml" ContentType="application/vnd.openxmlformats-officedocument.themeOverride+xml"/>
  <Override PartName="/ppt/theme/themeOverride185.xml" ContentType="application/vnd.openxmlformats-officedocument.themeOverride+xml"/>
  <Override PartName="/ppt/theme/themeOverride1850.xml" ContentType="application/vnd.openxmlformats-officedocument.themeOverride+xml"/>
  <Override PartName="/ppt/theme/themeOverride1851.xml" ContentType="application/vnd.openxmlformats-officedocument.themeOverride+xml"/>
  <Override PartName="/ppt/theme/themeOverride1852.xml" ContentType="application/vnd.openxmlformats-officedocument.themeOverride+xml"/>
  <Override PartName="/ppt/theme/themeOverride1853.xml" ContentType="application/vnd.openxmlformats-officedocument.themeOverride+xml"/>
  <Override PartName="/ppt/theme/themeOverride1854.xml" ContentType="application/vnd.openxmlformats-officedocument.themeOverride+xml"/>
  <Override PartName="/ppt/theme/themeOverride1855.xml" ContentType="application/vnd.openxmlformats-officedocument.themeOverride+xml"/>
  <Override PartName="/ppt/theme/themeOverride1856.xml" ContentType="application/vnd.openxmlformats-officedocument.themeOverride+xml"/>
  <Override PartName="/ppt/theme/themeOverride1857.xml" ContentType="application/vnd.openxmlformats-officedocument.themeOverride+xml"/>
  <Override PartName="/ppt/theme/themeOverride1858.xml" ContentType="application/vnd.openxmlformats-officedocument.themeOverride+xml"/>
  <Override PartName="/ppt/theme/themeOverride1859.xml" ContentType="application/vnd.openxmlformats-officedocument.themeOverride+xml"/>
  <Override PartName="/ppt/theme/themeOverride186.xml" ContentType="application/vnd.openxmlformats-officedocument.themeOverride+xml"/>
  <Override PartName="/ppt/theme/themeOverride1860.xml" ContentType="application/vnd.openxmlformats-officedocument.themeOverride+xml"/>
  <Override PartName="/ppt/theme/themeOverride1861.xml" ContentType="application/vnd.openxmlformats-officedocument.themeOverride+xml"/>
  <Override PartName="/ppt/theme/themeOverride1862.xml" ContentType="application/vnd.openxmlformats-officedocument.themeOverride+xml"/>
  <Override PartName="/ppt/theme/themeOverride1863.xml" ContentType="application/vnd.openxmlformats-officedocument.themeOverride+xml"/>
  <Override PartName="/ppt/theme/themeOverride1864.xml" ContentType="application/vnd.openxmlformats-officedocument.themeOverride+xml"/>
  <Override PartName="/ppt/theme/themeOverride1865.xml" ContentType="application/vnd.openxmlformats-officedocument.themeOverride+xml"/>
  <Override PartName="/ppt/theme/themeOverride1866.xml" ContentType="application/vnd.openxmlformats-officedocument.themeOverride+xml"/>
  <Override PartName="/ppt/theme/themeOverride1867.xml" ContentType="application/vnd.openxmlformats-officedocument.themeOverride+xml"/>
  <Override PartName="/ppt/theme/themeOverride1868.xml" ContentType="application/vnd.openxmlformats-officedocument.themeOverride+xml"/>
  <Override PartName="/ppt/theme/themeOverride1869.xml" ContentType="application/vnd.openxmlformats-officedocument.themeOverride+xml"/>
  <Override PartName="/ppt/theme/themeOverride187.xml" ContentType="application/vnd.openxmlformats-officedocument.themeOverride+xml"/>
  <Override PartName="/ppt/theme/themeOverride1870.xml" ContentType="application/vnd.openxmlformats-officedocument.themeOverride+xml"/>
  <Override PartName="/ppt/theme/themeOverride1871.xml" ContentType="application/vnd.openxmlformats-officedocument.themeOverride+xml"/>
  <Override PartName="/ppt/theme/themeOverride1872.xml" ContentType="application/vnd.openxmlformats-officedocument.themeOverride+xml"/>
  <Override PartName="/ppt/theme/themeOverride1873.xml" ContentType="application/vnd.openxmlformats-officedocument.themeOverride+xml"/>
  <Override PartName="/ppt/theme/themeOverride1874.xml" ContentType="application/vnd.openxmlformats-officedocument.themeOverride+xml"/>
  <Override PartName="/ppt/theme/themeOverride1875.xml" ContentType="application/vnd.openxmlformats-officedocument.themeOverride+xml"/>
  <Override PartName="/ppt/theme/themeOverride1876.xml" ContentType="application/vnd.openxmlformats-officedocument.themeOverride+xml"/>
  <Override PartName="/ppt/theme/themeOverride1877.xml" ContentType="application/vnd.openxmlformats-officedocument.themeOverride+xml"/>
  <Override PartName="/ppt/theme/themeOverride1878.xml" ContentType="application/vnd.openxmlformats-officedocument.themeOverride+xml"/>
  <Override PartName="/ppt/theme/themeOverride1879.xml" ContentType="application/vnd.openxmlformats-officedocument.themeOverride+xml"/>
  <Override PartName="/ppt/theme/themeOverride188.xml" ContentType="application/vnd.openxmlformats-officedocument.themeOverride+xml"/>
  <Override PartName="/ppt/theme/themeOverride1880.xml" ContentType="application/vnd.openxmlformats-officedocument.themeOverride+xml"/>
  <Override PartName="/ppt/theme/themeOverride1881.xml" ContentType="application/vnd.openxmlformats-officedocument.themeOverride+xml"/>
  <Override PartName="/ppt/theme/themeOverride1882.xml" ContentType="application/vnd.openxmlformats-officedocument.themeOverride+xml"/>
  <Override PartName="/ppt/theme/themeOverride1883.xml" ContentType="application/vnd.openxmlformats-officedocument.themeOverride+xml"/>
  <Override PartName="/ppt/theme/themeOverride1884.xml" ContentType="application/vnd.openxmlformats-officedocument.themeOverride+xml"/>
  <Override PartName="/ppt/theme/themeOverride1885.xml" ContentType="application/vnd.openxmlformats-officedocument.themeOverride+xml"/>
  <Override PartName="/ppt/theme/themeOverride1886.xml" ContentType="application/vnd.openxmlformats-officedocument.themeOverride+xml"/>
  <Override PartName="/ppt/theme/themeOverride1887.xml" ContentType="application/vnd.openxmlformats-officedocument.themeOverride+xml"/>
  <Override PartName="/ppt/theme/themeOverride1888.xml" ContentType="application/vnd.openxmlformats-officedocument.themeOverride+xml"/>
  <Override PartName="/ppt/theme/themeOverride1889.xml" ContentType="application/vnd.openxmlformats-officedocument.themeOverride+xml"/>
  <Override PartName="/ppt/theme/themeOverride189.xml" ContentType="application/vnd.openxmlformats-officedocument.themeOverride+xml"/>
  <Override PartName="/ppt/theme/themeOverride1890.xml" ContentType="application/vnd.openxmlformats-officedocument.themeOverride+xml"/>
  <Override PartName="/ppt/theme/themeOverride1891.xml" ContentType="application/vnd.openxmlformats-officedocument.themeOverride+xml"/>
  <Override PartName="/ppt/theme/themeOverride1892.xml" ContentType="application/vnd.openxmlformats-officedocument.themeOverride+xml"/>
  <Override PartName="/ppt/theme/themeOverride1893.xml" ContentType="application/vnd.openxmlformats-officedocument.themeOverride+xml"/>
  <Override PartName="/ppt/theme/themeOverride1894.xml" ContentType="application/vnd.openxmlformats-officedocument.themeOverride+xml"/>
  <Override PartName="/ppt/theme/themeOverride1895.xml" ContentType="application/vnd.openxmlformats-officedocument.themeOverride+xml"/>
  <Override PartName="/ppt/theme/themeOverride1896.xml" ContentType="application/vnd.openxmlformats-officedocument.themeOverride+xml"/>
  <Override PartName="/ppt/theme/themeOverride1897.xml" ContentType="application/vnd.openxmlformats-officedocument.themeOverride+xml"/>
  <Override PartName="/ppt/theme/themeOverride1898.xml" ContentType="application/vnd.openxmlformats-officedocument.themeOverride+xml"/>
  <Override PartName="/ppt/theme/themeOverride1899.xml" ContentType="application/vnd.openxmlformats-officedocument.themeOverride+xml"/>
  <Override PartName="/ppt/theme/themeOverride19.xml" ContentType="application/vnd.openxmlformats-officedocument.themeOverride+xml"/>
  <Override PartName="/ppt/theme/themeOverride190.xml" ContentType="application/vnd.openxmlformats-officedocument.themeOverride+xml"/>
  <Override PartName="/ppt/theme/themeOverride1900.xml" ContentType="application/vnd.openxmlformats-officedocument.themeOverride+xml"/>
  <Override PartName="/ppt/theme/themeOverride1901.xml" ContentType="application/vnd.openxmlformats-officedocument.themeOverride+xml"/>
  <Override PartName="/ppt/theme/themeOverride1902.xml" ContentType="application/vnd.openxmlformats-officedocument.themeOverride+xml"/>
  <Override PartName="/ppt/theme/themeOverride1903.xml" ContentType="application/vnd.openxmlformats-officedocument.themeOverride+xml"/>
  <Override PartName="/ppt/theme/themeOverride1904.xml" ContentType="application/vnd.openxmlformats-officedocument.themeOverride+xml"/>
  <Override PartName="/ppt/theme/themeOverride1905.xml" ContentType="application/vnd.openxmlformats-officedocument.themeOverride+xml"/>
  <Override PartName="/ppt/theme/themeOverride1906.xml" ContentType="application/vnd.openxmlformats-officedocument.themeOverride+xml"/>
  <Override PartName="/ppt/theme/themeOverride1907.xml" ContentType="application/vnd.openxmlformats-officedocument.themeOverride+xml"/>
  <Override PartName="/ppt/theme/themeOverride1908.xml" ContentType="application/vnd.openxmlformats-officedocument.themeOverride+xml"/>
  <Override PartName="/ppt/theme/themeOverride1909.xml" ContentType="application/vnd.openxmlformats-officedocument.themeOverride+xml"/>
  <Override PartName="/ppt/theme/themeOverride191.xml" ContentType="application/vnd.openxmlformats-officedocument.themeOverride+xml"/>
  <Override PartName="/ppt/theme/themeOverride1910.xml" ContentType="application/vnd.openxmlformats-officedocument.themeOverride+xml"/>
  <Override PartName="/ppt/theme/themeOverride1911.xml" ContentType="application/vnd.openxmlformats-officedocument.themeOverride+xml"/>
  <Override PartName="/ppt/theme/themeOverride1912.xml" ContentType="application/vnd.openxmlformats-officedocument.themeOverride+xml"/>
  <Override PartName="/ppt/theme/themeOverride1913.xml" ContentType="application/vnd.openxmlformats-officedocument.themeOverride+xml"/>
  <Override PartName="/ppt/theme/themeOverride1914.xml" ContentType="application/vnd.openxmlformats-officedocument.themeOverride+xml"/>
  <Override PartName="/ppt/theme/themeOverride1915.xml" ContentType="application/vnd.openxmlformats-officedocument.themeOverride+xml"/>
  <Override PartName="/ppt/theme/themeOverride1916.xml" ContentType="application/vnd.openxmlformats-officedocument.themeOverride+xml"/>
  <Override PartName="/ppt/theme/themeOverride1917.xml" ContentType="application/vnd.openxmlformats-officedocument.themeOverride+xml"/>
  <Override PartName="/ppt/theme/themeOverride1918.xml" ContentType="application/vnd.openxmlformats-officedocument.themeOverride+xml"/>
  <Override PartName="/ppt/theme/themeOverride1919.xml" ContentType="application/vnd.openxmlformats-officedocument.themeOverride+xml"/>
  <Override PartName="/ppt/theme/themeOverride192.xml" ContentType="application/vnd.openxmlformats-officedocument.themeOverride+xml"/>
  <Override PartName="/ppt/theme/themeOverride1920.xml" ContentType="application/vnd.openxmlformats-officedocument.themeOverride+xml"/>
  <Override PartName="/ppt/theme/themeOverride1921.xml" ContentType="application/vnd.openxmlformats-officedocument.themeOverride+xml"/>
  <Override PartName="/ppt/theme/themeOverride1922.xml" ContentType="application/vnd.openxmlformats-officedocument.themeOverride+xml"/>
  <Override PartName="/ppt/theme/themeOverride1923.xml" ContentType="application/vnd.openxmlformats-officedocument.themeOverride+xml"/>
  <Override PartName="/ppt/theme/themeOverride1924.xml" ContentType="application/vnd.openxmlformats-officedocument.themeOverride+xml"/>
  <Override PartName="/ppt/theme/themeOverride1925.xml" ContentType="application/vnd.openxmlformats-officedocument.themeOverride+xml"/>
  <Override PartName="/ppt/theme/themeOverride1926.xml" ContentType="application/vnd.openxmlformats-officedocument.themeOverride+xml"/>
  <Override PartName="/ppt/theme/themeOverride1927.xml" ContentType="application/vnd.openxmlformats-officedocument.themeOverride+xml"/>
  <Override PartName="/ppt/theme/themeOverride1928.xml" ContentType="application/vnd.openxmlformats-officedocument.themeOverride+xml"/>
  <Override PartName="/ppt/theme/themeOverride1929.xml" ContentType="application/vnd.openxmlformats-officedocument.themeOverride+xml"/>
  <Override PartName="/ppt/theme/themeOverride193.xml" ContentType="application/vnd.openxmlformats-officedocument.themeOverride+xml"/>
  <Override PartName="/ppt/theme/themeOverride1930.xml" ContentType="application/vnd.openxmlformats-officedocument.themeOverride+xml"/>
  <Override PartName="/ppt/theme/themeOverride1931.xml" ContentType="application/vnd.openxmlformats-officedocument.themeOverride+xml"/>
  <Override PartName="/ppt/theme/themeOverride1932.xml" ContentType="application/vnd.openxmlformats-officedocument.themeOverride+xml"/>
  <Override PartName="/ppt/theme/themeOverride1933.xml" ContentType="application/vnd.openxmlformats-officedocument.themeOverride+xml"/>
  <Override PartName="/ppt/theme/themeOverride1934.xml" ContentType="application/vnd.openxmlformats-officedocument.themeOverride+xml"/>
  <Override PartName="/ppt/theme/themeOverride1935.xml" ContentType="application/vnd.openxmlformats-officedocument.themeOverride+xml"/>
  <Override PartName="/ppt/theme/themeOverride1936.xml" ContentType="application/vnd.openxmlformats-officedocument.themeOverride+xml"/>
  <Override PartName="/ppt/theme/themeOverride1937.xml" ContentType="application/vnd.openxmlformats-officedocument.themeOverride+xml"/>
  <Override PartName="/ppt/theme/themeOverride1938.xml" ContentType="application/vnd.openxmlformats-officedocument.themeOverride+xml"/>
  <Override PartName="/ppt/theme/themeOverride1939.xml" ContentType="application/vnd.openxmlformats-officedocument.themeOverride+xml"/>
  <Override PartName="/ppt/theme/themeOverride194.xml" ContentType="application/vnd.openxmlformats-officedocument.themeOverride+xml"/>
  <Override PartName="/ppt/theme/themeOverride1940.xml" ContentType="application/vnd.openxmlformats-officedocument.themeOverride+xml"/>
  <Override PartName="/ppt/theme/themeOverride1941.xml" ContentType="application/vnd.openxmlformats-officedocument.themeOverride+xml"/>
  <Override PartName="/ppt/theme/themeOverride1942.xml" ContentType="application/vnd.openxmlformats-officedocument.themeOverride+xml"/>
  <Override PartName="/ppt/theme/themeOverride1943.xml" ContentType="application/vnd.openxmlformats-officedocument.themeOverride+xml"/>
  <Override PartName="/ppt/theme/themeOverride1944.xml" ContentType="application/vnd.openxmlformats-officedocument.themeOverride+xml"/>
  <Override PartName="/ppt/theme/themeOverride1945.xml" ContentType="application/vnd.openxmlformats-officedocument.themeOverride+xml"/>
  <Override PartName="/ppt/theme/themeOverride1946.xml" ContentType="application/vnd.openxmlformats-officedocument.themeOverride+xml"/>
  <Override PartName="/ppt/theme/themeOverride1947.xml" ContentType="application/vnd.openxmlformats-officedocument.themeOverride+xml"/>
  <Override PartName="/ppt/theme/themeOverride1948.xml" ContentType="application/vnd.openxmlformats-officedocument.themeOverride+xml"/>
  <Override PartName="/ppt/theme/themeOverride1949.xml" ContentType="application/vnd.openxmlformats-officedocument.themeOverride+xml"/>
  <Override PartName="/ppt/theme/themeOverride195.xml" ContentType="application/vnd.openxmlformats-officedocument.themeOverride+xml"/>
  <Override PartName="/ppt/theme/themeOverride1950.xml" ContentType="application/vnd.openxmlformats-officedocument.themeOverride+xml"/>
  <Override PartName="/ppt/theme/themeOverride1951.xml" ContentType="application/vnd.openxmlformats-officedocument.themeOverride+xml"/>
  <Override PartName="/ppt/theme/themeOverride1952.xml" ContentType="application/vnd.openxmlformats-officedocument.themeOverride+xml"/>
  <Override PartName="/ppt/theme/themeOverride1953.xml" ContentType="application/vnd.openxmlformats-officedocument.themeOverride+xml"/>
  <Override PartName="/ppt/theme/themeOverride1954.xml" ContentType="application/vnd.openxmlformats-officedocument.themeOverride+xml"/>
  <Override PartName="/ppt/theme/themeOverride1955.xml" ContentType="application/vnd.openxmlformats-officedocument.themeOverride+xml"/>
  <Override PartName="/ppt/theme/themeOverride1956.xml" ContentType="application/vnd.openxmlformats-officedocument.themeOverride+xml"/>
  <Override PartName="/ppt/theme/themeOverride1957.xml" ContentType="application/vnd.openxmlformats-officedocument.themeOverride+xml"/>
  <Override PartName="/ppt/theme/themeOverride1958.xml" ContentType="application/vnd.openxmlformats-officedocument.themeOverride+xml"/>
  <Override PartName="/ppt/theme/themeOverride1959.xml" ContentType="application/vnd.openxmlformats-officedocument.themeOverride+xml"/>
  <Override PartName="/ppt/theme/themeOverride196.xml" ContentType="application/vnd.openxmlformats-officedocument.themeOverride+xml"/>
  <Override PartName="/ppt/theme/themeOverride1960.xml" ContentType="application/vnd.openxmlformats-officedocument.themeOverride+xml"/>
  <Override PartName="/ppt/theme/themeOverride1961.xml" ContentType="application/vnd.openxmlformats-officedocument.themeOverride+xml"/>
  <Override PartName="/ppt/theme/themeOverride1962.xml" ContentType="application/vnd.openxmlformats-officedocument.themeOverride+xml"/>
  <Override PartName="/ppt/theme/themeOverride1963.xml" ContentType="application/vnd.openxmlformats-officedocument.themeOverride+xml"/>
  <Override PartName="/ppt/theme/themeOverride1964.xml" ContentType="application/vnd.openxmlformats-officedocument.themeOverride+xml"/>
  <Override PartName="/ppt/theme/themeOverride1965.xml" ContentType="application/vnd.openxmlformats-officedocument.themeOverride+xml"/>
  <Override PartName="/ppt/theme/themeOverride1966.xml" ContentType="application/vnd.openxmlformats-officedocument.themeOverride+xml"/>
  <Override PartName="/ppt/theme/themeOverride1967.xml" ContentType="application/vnd.openxmlformats-officedocument.themeOverride+xml"/>
  <Override PartName="/ppt/theme/themeOverride1968.xml" ContentType="application/vnd.openxmlformats-officedocument.themeOverride+xml"/>
  <Override PartName="/ppt/theme/themeOverride1969.xml" ContentType="application/vnd.openxmlformats-officedocument.themeOverride+xml"/>
  <Override PartName="/ppt/theme/themeOverride197.xml" ContentType="application/vnd.openxmlformats-officedocument.themeOverride+xml"/>
  <Override PartName="/ppt/theme/themeOverride1970.xml" ContentType="application/vnd.openxmlformats-officedocument.themeOverride+xml"/>
  <Override PartName="/ppt/theme/themeOverride1971.xml" ContentType="application/vnd.openxmlformats-officedocument.themeOverride+xml"/>
  <Override PartName="/ppt/theme/themeOverride1972.xml" ContentType="application/vnd.openxmlformats-officedocument.themeOverride+xml"/>
  <Override PartName="/ppt/theme/themeOverride1973.xml" ContentType="application/vnd.openxmlformats-officedocument.themeOverride+xml"/>
  <Override PartName="/ppt/theme/themeOverride1974.xml" ContentType="application/vnd.openxmlformats-officedocument.themeOverride+xml"/>
  <Override PartName="/ppt/theme/themeOverride1975.xml" ContentType="application/vnd.openxmlformats-officedocument.themeOverride+xml"/>
  <Override PartName="/ppt/theme/themeOverride1976.xml" ContentType="application/vnd.openxmlformats-officedocument.themeOverride+xml"/>
  <Override PartName="/ppt/theme/themeOverride1977.xml" ContentType="application/vnd.openxmlformats-officedocument.themeOverride+xml"/>
  <Override PartName="/ppt/theme/themeOverride1978.xml" ContentType="application/vnd.openxmlformats-officedocument.themeOverride+xml"/>
  <Override PartName="/ppt/theme/themeOverride1979.xml" ContentType="application/vnd.openxmlformats-officedocument.themeOverride+xml"/>
  <Override PartName="/ppt/theme/themeOverride198.xml" ContentType="application/vnd.openxmlformats-officedocument.themeOverride+xml"/>
  <Override PartName="/ppt/theme/themeOverride1980.xml" ContentType="application/vnd.openxmlformats-officedocument.themeOverride+xml"/>
  <Override PartName="/ppt/theme/themeOverride1981.xml" ContentType="application/vnd.openxmlformats-officedocument.themeOverride+xml"/>
  <Override PartName="/ppt/theme/themeOverride1982.xml" ContentType="application/vnd.openxmlformats-officedocument.themeOverride+xml"/>
  <Override PartName="/ppt/theme/themeOverride1983.xml" ContentType="application/vnd.openxmlformats-officedocument.themeOverride+xml"/>
  <Override PartName="/ppt/theme/themeOverride1984.xml" ContentType="application/vnd.openxmlformats-officedocument.themeOverride+xml"/>
  <Override PartName="/ppt/theme/themeOverride1985.xml" ContentType="application/vnd.openxmlformats-officedocument.themeOverride+xml"/>
  <Override PartName="/ppt/theme/themeOverride1986.xml" ContentType="application/vnd.openxmlformats-officedocument.themeOverride+xml"/>
  <Override PartName="/ppt/theme/themeOverride1987.xml" ContentType="application/vnd.openxmlformats-officedocument.themeOverride+xml"/>
  <Override PartName="/ppt/theme/themeOverride1988.xml" ContentType="application/vnd.openxmlformats-officedocument.themeOverride+xml"/>
  <Override PartName="/ppt/theme/themeOverride1989.xml" ContentType="application/vnd.openxmlformats-officedocument.themeOverride+xml"/>
  <Override PartName="/ppt/theme/themeOverride199.xml" ContentType="application/vnd.openxmlformats-officedocument.themeOverride+xml"/>
  <Override PartName="/ppt/theme/themeOverride1990.xml" ContentType="application/vnd.openxmlformats-officedocument.themeOverride+xml"/>
  <Override PartName="/ppt/theme/themeOverride1991.xml" ContentType="application/vnd.openxmlformats-officedocument.themeOverride+xml"/>
  <Override PartName="/ppt/theme/themeOverride1992.xml" ContentType="application/vnd.openxmlformats-officedocument.themeOverride+xml"/>
  <Override PartName="/ppt/theme/themeOverride1993.xml" ContentType="application/vnd.openxmlformats-officedocument.themeOverride+xml"/>
  <Override PartName="/ppt/theme/themeOverride1994.xml" ContentType="application/vnd.openxmlformats-officedocument.themeOverride+xml"/>
  <Override PartName="/ppt/theme/themeOverride1995.xml" ContentType="application/vnd.openxmlformats-officedocument.themeOverride+xml"/>
  <Override PartName="/ppt/theme/themeOverride1996.xml" ContentType="application/vnd.openxmlformats-officedocument.themeOverride+xml"/>
  <Override PartName="/ppt/theme/themeOverride1997.xml" ContentType="application/vnd.openxmlformats-officedocument.themeOverride+xml"/>
  <Override PartName="/ppt/theme/themeOverride1998.xml" ContentType="application/vnd.openxmlformats-officedocument.themeOverride+xml"/>
  <Override PartName="/ppt/theme/themeOverride199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00.xml" ContentType="application/vnd.openxmlformats-officedocument.themeOverride+xml"/>
  <Override PartName="/ppt/theme/themeOverride2000.xml" ContentType="application/vnd.openxmlformats-officedocument.themeOverride+xml"/>
  <Override PartName="/ppt/theme/themeOverride2001.xml" ContentType="application/vnd.openxmlformats-officedocument.themeOverride+xml"/>
  <Override PartName="/ppt/theme/themeOverride2002.xml" ContentType="application/vnd.openxmlformats-officedocument.themeOverride+xml"/>
  <Override PartName="/ppt/theme/themeOverride2003.xml" ContentType="application/vnd.openxmlformats-officedocument.themeOverride+xml"/>
  <Override PartName="/ppt/theme/themeOverride2004.xml" ContentType="application/vnd.openxmlformats-officedocument.themeOverride+xml"/>
  <Override PartName="/ppt/theme/themeOverride2005.xml" ContentType="application/vnd.openxmlformats-officedocument.themeOverride+xml"/>
  <Override PartName="/ppt/theme/themeOverride2006.xml" ContentType="application/vnd.openxmlformats-officedocument.themeOverride+xml"/>
  <Override PartName="/ppt/theme/themeOverride2007.xml" ContentType="application/vnd.openxmlformats-officedocument.themeOverride+xml"/>
  <Override PartName="/ppt/theme/themeOverride2008.xml" ContentType="application/vnd.openxmlformats-officedocument.themeOverride+xml"/>
  <Override PartName="/ppt/theme/themeOverride2009.xml" ContentType="application/vnd.openxmlformats-officedocument.themeOverride+xml"/>
  <Override PartName="/ppt/theme/themeOverride201.xml" ContentType="application/vnd.openxmlformats-officedocument.themeOverride+xml"/>
  <Override PartName="/ppt/theme/themeOverride2010.xml" ContentType="application/vnd.openxmlformats-officedocument.themeOverride+xml"/>
  <Override PartName="/ppt/theme/themeOverride2011.xml" ContentType="application/vnd.openxmlformats-officedocument.themeOverride+xml"/>
  <Override PartName="/ppt/theme/themeOverride2012.xml" ContentType="application/vnd.openxmlformats-officedocument.themeOverride+xml"/>
  <Override PartName="/ppt/theme/themeOverride2013.xml" ContentType="application/vnd.openxmlformats-officedocument.themeOverride+xml"/>
  <Override PartName="/ppt/theme/themeOverride2014.xml" ContentType="application/vnd.openxmlformats-officedocument.themeOverride+xml"/>
  <Override PartName="/ppt/theme/themeOverride2015.xml" ContentType="application/vnd.openxmlformats-officedocument.themeOverride+xml"/>
  <Override PartName="/ppt/theme/themeOverride2016.xml" ContentType="application/vnd.openxmlformats-officedocument.themeOverride+xml"/>
  <Override PartName="/ppt/theme/themeOverride2017.xml" ContentType="application/vnd.openxmlformats-officedocument.themeOverride+xml"/>
  <Override PartName="/ppt/theme/themeOverride2018.xml" ContentType="application/vnd.openxmlformats-officedocument.themeOverride+xml"/>
  <Override PartName="/ppt/theme/themeOverride2019.xml" ContentType="application/vnd.openxmlformats-officedocument.themeOverride+xml"/>
  <Override PartName="/ppt/theme/themeOverride202.xml" ContentType="application/vnd.openxmlformats-officedocument.themeOverride+xml"/>
  <Override PartName="/ppt/theme/themeOverride2020.xml" ContentType="application/vnd.openxmlformats-officedocument.themeOverride+xml"/>
  <Override PartName="/ppt/theme/themeOverride2021.xml" ContentType="application/vnd.openxmlformats-officedocument.themeOverride+xml"/>
  <Override PartName="/ppt/theme/themeOverride2022.xml" ContentType="application/vnd.openxmlformats-officedocument.themeOverride+xml"/>
  <Override PartName="/ppt/theme/themeOverride2023.xml" ContentType="application/vnd.openxmlformats-officedocument.themeOverride+xml"/>
  <Override PartName="/ppt/theme/themeOverride2024.xml" ContentType="application/vnd.openxmlformats-officedocument.themeOverride+xml"/>
  <Override PartName="/ppt/theme/themeOverride2025.xml" ContentType="application/vnd.openxmlformats-officedocument.themeOverride+xml"/>
  <Override PartName="/ppt/theme/themeOverride2026.xml" ContentType="application/vnd.openxmlformats-officedocument.themeOverride+xml"/>
  <Override PartName="/ppt/theme/themeOverride2027.xml" ContentType="application/vnd.openxmlformats-officedocument.themeOverride+xml"/>
  <Override PartName="/ppt/theme/themeOverride2028.xml" ContentType="application/vnd.openxmlformats-officedocument.themeOverride+xml"/>
  <Override PartName="/ppt/theme/themeOverride2029.xml" ContentType="application/vnd.openxmlformats-officedocument.themeOverride+xml"/>
  <Override PartName="/ppt/theme/themeOverride203.xml" ContentType="application/vnd.openxmlformats-officedocument.themeOverride+xml"/>
  <Override PartName="/ppt/theme/themeOverride2030.xml" ContentType="application/vnd.openxmlformats-officedocument.themeOverride+xml"/>
  <Override PartName="/ppt/theme/themeOverride2031.xml" ContentType="application/vnd.openxmlformats-officedocument.themeOverride+xml"/>
  <Override PartName="/ppt/theme/themeOverride2032.xml" ContentType="application/vnd.openxmlformats-officedocument.themeOverride+xml"/>
  <Override PartName="/ppt/theme/themeOverride2033.xml" ContentType="application/vnd.openxmlformats-officedocument.themeOverride+xml"/>
  <Override PartName="/ppt/theme/themeOverride2034.xml" ContentType="application/vnd.openxmlformats-officedocument.themeOverride+xml"/>
  <Override PartName="/ppt/theme/themeOverride2035.xml" ContentType="application/vnd.openxmlformats-officedocument.themeOverride+xml"/>
  <Override PartName="/ppt/theme/themeOverride2036.xml" ContentType="application/vnd.openxmlformats-officedocument.themeOverride+xml"/>
  <Override PartName="/ppt/theme/themeOverride2037.xml" ContentType="application/vnd.openxmlformats-officedocument.themeOverride+xml"/>
  <Override PartName="/ppt/theme/themeOverride2038.xml" ContentType="application/vnd.openxmlformats-officedocument.themeOverride+xml"/>
  <Override PartName="/ppt/theme/themeOverride2039.xml" ContentType="application/vnd.openxmlformats-officedocument.themeOverride+xml"/>
  <Override PartName="/ppt/theme/themeOverride204.xml" ContentType="application/vnd.openxmlformats-officedocument.themeOverride+xml"/>
  <Override PartName="/ppt/theme/themeOverride2040.xml" ContentType="application/vnd.openxmlformats-officedocument.themeOverride+xml"/>
  <Override PartName="/ppt/theme/themeOverride2041.xml" ContentType="application/vnd.openxmlformats-officedocument.themeOverride+xml"/>
  <Override PartName="/ppt/theme/themeOverride2042.xml" ContentType="application/vnd.openxmlformats-officedocument.themeOverride+xml"/>
  <Override PartName="/ppt/theme/themeOverride2043.xml" ContentType="application/vnd.openxmlformats-officedocument.themeOverride+xml"/>
  <Override PartName="/ppt/theme/themeOverride2044.xml" ContentType="application/vnd.openxmlformats-officedocument.themeOverride+xml"/>
  <Override PartName="/ppt/theme/themeOverride2045.xml" ContentType="application/vnd.openxmlformats-officedocument.themeOverride+xml"/>
  <Override PartName="/ppt/theme/themeOverride2046.xml" ContentType="application/vnd.openxmlformats-officedocument.themeOverride+xml"/>
  <Override PartName="/ppt/theme/themeOverride2047.xml" ContentType="application/vnd.openxmlformats-officedocument.themeOverride+xml"/>
  <Override PartName="/ppt/theme/themeOverride2048.xml" ContentType="application/vnd.openxmlformats-officedocument.themeOverride+xml"/>
  <Override PartName="/ppt/theme/themeOverride2049.xml" ContentType="application/vnd.openxmlformats-officedocument.themeOverride+xml"/>
  <Override PartName="/ppt/theme/themeOverride205.xml" ContentType="application/vnd.openxmlformats-officedocument.themeOverride+xml"/>
  <Override PartName="/ppt/theme/themeOverride2050.xml" ContentType="application/vnd.openxmlformats-officedocument.themeOverride+xml"/>
  <Override PartName="/ppt/theme/themeOverride2051.xml" ContentType="application/vnd.openxmlformats-officedocument.themeOverride+xml"/>
  <Override PartName="/ppt/theme/themeOverride2052.xml" ContentType="application/vnd.openxmlformats-officedocument.themeOverride+xml"/>
  <Override PartName="/ppt/theme/themeOverride2053.xml" ContentType="application/vnd.openxmlformats-officedocument.themeOverride+xml"/>
  <Override PartName="/ppt/theme/themeOverride2054.xml" ContentType="application/vnd.openxmlformats-officedocument.themeOverride+xml"/>
  <Override PartName="/ppt/theme/themeOverride2055.xml" ContentType="application/vnd.openxmlformats-officedocument.themeOverride+xml"/>
  <Override PartName="/ppt/theme/themeOverride2056.xml" ContentType="application/vnd.openxmlformats-officedocument.themeOverride+xml"/>
  <Override PartName="/ppt/theme/themeOverride2057.xml" ContentType="application/vnd.openxmlformats-officedocument.themeOverride+xml"/>
  <Override PartName="/ppt/theme/themeOverride2058.xml" ContentType="application/vnd.openxmlformats-officedocument.themeOverride+xml"/>
  <Override PartName="/ppt/theme/themeOverride2059.xml" ContentType="application/vnd.openxmlformats-officedocument.themeOverride+xml"/>
  <Override PartName="/ppt/theme/themeOverride206.xml" ContentType="application/vnd.openxmlformats-officedocument.themeOverride+xml"/>
  <Override PartName="/ppt/theme/themeOverride2060.xml" ContentType="application/vnd.openxmlformats-officedocument.themeOverride+xml"/>
  <Override PartName="/ppt/theme/themeOverride2061.xml" ContentType="application/vnd.openxmlformats-officedocument.themeOverride+xml"/>
  <Override PartName="/ppt/theme/themeOverride2062.xml" ContentType="application/vnd.openxmlformats-officedocument.themeOverride+xml"/>
  <Override PartName="/ppt/theme/themeOverride2063.xml" ContentType="application/vnd.openxmlformats-officedocument.themeOverride+xml"/>
  <Override PartName="/ppt/theme/themeOverride2064.xml" ContentType="application/vnd.openxmlformats-officedocument.themeOverride+xml"/>
  <Override PartName="/ppt/theme/themeOverride2065.xml" ContentType="application/vnd.openxmlformats-officedocument.themeOverride+xml"/>
  <Override PartName="/ppt/theme/themeOverride2066.xml" ContentType="application/vnd.openxmlformats-officedocument.themeOverride+xml"/>
  <Override PartName="/ppt/theme/themeOverride2067.xml" ContentType="application/vnd.openxmlformats-officedocument.themeOverride+xml"/>
  <Override PartName="/ppt/theme/themeOverride2068.xml" ContentType="application/vnd.openxmlformats-officedocument.themeOverride+xml"/>
  <Override PartName="/ppt/theme/themeOverride2069.xml" ContentType="application/vnd.openxmlformats-officedocument.themeOverride+xml"/>
  <Override PartName="/ppt/theme/themeOverride207.xml" ContentType="application/vnd.openxmlformats-officedocument.themeOverride+xml"/>
  <Override PartName="/ppt/theme/themeOverride2070.xml" ContentType="application/vnd.openxmlformats-officedocument.themeOverride+xml"/>
  <Override PartName="/ppt/theme/themeOverride2071.xml" ContentType="application/vnd.openxmlformats-officedocument.themeOverride+xml"/>
  <Override PartName="/ppt/theme/themeOverride2072.xml" ContentType="application/vnd.openxmlformats-officedocument.themeOverride+xml"/>
  <Override PartName="/ppt/theme/themeOverride2073.xml" ContentType="application/vnd.openxmlformats-officedocument.themeOverride+xml"/>
  <Override PartName="/ppt/theme/themeOverride2074.xml" ContentType="application/vnd.openxmlformats-officedocument.themeOverride+xml"/>
  <Override PartName="/ppt/theme/themeOverride2075.xml" ContentType="application/vnd.openxmlformats-officedocument.themeOverride+xml"/>
  <Override PartName="/ppt/theme/themeOverride2076.xml" ContentType="application/vnd.openxmlformats-officedocument.themeOverride+xml"/>
  <Override PartName="/ppt/theme/themeOverride2077.xml" ContentType="application/vnd.openxmlformats-officedocument.themeOverride+xml"/>
  <Override PartName="/ppt/theme/themeOverride2078.xml" ContentType="application/vnd.openxmlformats-officedocument.themeOverride+xml"/>
  <Override PartName="/ppt/theme/themeOverride2079.xml" ContentType="application/vnd.openxmlformats-officedocument.themeOverride+xml"/>
  <Override PartName="/ppt/theme/themeOverride208.xml" ContentType="application/vnd.openxmlformats-officedocument.themeOverride+xml"/>
  <Override PartName="/ppt/theme/themeOverride2080.xml" ContentType="application/vnd.openxmlformats-officedocument.themeOverride+xml"/>
  <Override PartName="/ppt/theme/themeOverride2081.xml" ContentType="application/vnd.openxmlformats-officedocument.themeOverride+xml"/>
  <Override PartName="/ppt/theme/themeOverride2082.xml" ContentType="application/vnd.openxmlformats-officedocument.themeOverride+xml"/>
  <Override PartName="/ppt/theme/themeOverride2083.xml" ContentType="application/vnd.openxmlformats-officedocument.themeOverride+xml"/>
  <Override PartName="/ppt/theme/themeOverride2084.xml" ContentType="application/vnd.openxmlformats-officedocument.themeOverride+xml"/>
  <Override PartName="/ppt/theme/themeOverride2085.xml" ContentType="application/vnd.openxmlformats-officedocument.themeOverride+xml"/>
  <Override PartName="/ppt/theme/themeOverride2086.xml" ContentType="application/vnd.openxmlformats-officedocument.themeOverride+xml"/>
  <Override PartName="/ppt/theme/themeOverride2087.xml" ContentType="application/vnd.openxmlformats-officedocument.themeOverride+xml"/>
  <Override PartName="/ppt/theme/themeOverride2088.xml" ContentType="application/vnd.openxmlformats-officedocument.themeOverride+xml"/>
  <Override PartName="/ppt/theme/themeOverride2089.xml" ContentType="application/vnd.openxmlformats-officedocument.themeOverride+xml"/>
  <Override PartName="/ppt/theme/themeOverride209.xml" ContentType="application/vnd.openxmlformats-officedocument.themeOverride+xml"/>
  <Override PartName="/ppt/theme/themeOverride2090.xml" ContentType="application/vnd.openxmlformats-officedocument.themeOverride+xml"/>
  <Override PartName="/ppt/theme/themeOverride2091.xml" ContentType="application/vnd.openxmlformats-officedocument.themeOverride+xml"/>
  <Override PartName="/ppt/theme/themeOverride2092.xml" ContentType="application/vnd.openxmlformats-officedocument.themeOverride+xml"/>
  <Override PartName="/ppt/theme/themeOverride2093.xml" ContentType="application/vnd.openxmlformats-officedocument.themeOverride+xml"/>
  <Override PartName="/ppt/theme/themeOverride2094.xml" ContentType="application/vnd.openxmlformats-officedocument.themeOverride+xml"/>
  <Override PartName="/ppt/theme/themeOverride2095.xml" ContentType="application/vnd.openxmlformats-officedocument.themeOverride+xml"/>
  <Override PartName="/ppt/theme/themeOverride2096.xml" ContentType="application/vnd.openxmlformats-officedocument.themeOverride+xml"/>
  <Override PartName="/ppt/theme/themeOverride2097.xml" ContentType="application/vnd.openxmlformats-officedocument.themeOverride+xml"/>
  <Override PartName="/ppt/theme/themeOverride2098.xml" ContentType="application/vnd.openxmlformats-officedocument.themeOverride+xml"/>
  <Override PartName="/ppt/theme/themeOverride2099.xml" ContentType="application/vnd.openxmlformats-officedocument.themeOverride+xml"/>
  <Override PartName="/ppt/theme/themeOverride21.xml" ContentType="application/vnd.openxmlformats-officedocument.themeOverride+xml"/>
  <Override PartName="/ppt/theme/themeOverride210.xml" ContentType="application/vnd.openxmlformats-officedocument.themeOverride+xml"/>
  <Override PartName="/ppt/theme/themeOverride2100.xml" ContentType="application/vnd.openxmlformats-officedocument.themeOverride+xml"/>
  <Override PartName="/ppt/theme/themeOverride2101.xml" ContentType="application/vnd.openxmlformats-officedocument.themeOverride+xml"/>
  <Override PartName="/ppt/theme/themeOverride2102.xml" ContentType="application/vnd.openxmlformats-officedocument.themeOverride+xml"/>
  <Override PartName="/ppt/theme/themeOverride2103.xml" ContentType="application/vnd.openxmlformats-officedocument.themeOverride+xml"/>
  <Override PartName="/ppt/theme/themeOverride2104.xml" ContentType="application/vnd.openxmlformats-officedocument.themeOverride+xml"/>
  <Override PartName="/ppt/theme/themeOverride2105.xml" ContentType="application/vnd.openxmlformats-officedocument.themeOverride+xml"/>
  <Override PartName="/ppt/theme/themeOverride2106.xml" ContentType="application/vnd.openxmlformats-officedocument.themeOverride+xml"/>
  <Override PartName="/ppt/theme/themeOverride2107.xml" ContentType="application/vnd.openxmlformats-officedocument.themeOverride+xml"/>
  <Override PartName="/ppt/theme/themeOverride2108.xml" ContentType="application/vnd.openxmlformats-officedocument.themeOverride+xml"/>
  <Override PartName="/ppt/theme/themeOverride2109.xml" ContentType="application/vnd.openxmlformats-officedocument.themeOverride+xml"/>
  <Override PartName="/ppt/theme/themeOverride211.xml" ContentType="application/vnd.openxmlformats-officedocument.themeOverride+xml"/>
  <Override PartName="/ppt/theme/themeOverride2110.xml" ContentType="application/vnd.openxmlformats-officedocument.themeOverride+xml"/>
  <Override PartName="/ppt/theme/themeOverride2111.xml" ContentType="application/vnd.openxmlformats-officedocument.themeOverride+xml"/>
  <Override PartName="/ppt/theme/themeOverride2112.xml" ContentType="application/vnd.openxmlformats-officedocument.themeOverride+xml"/>
  <Override PartName="/ppt/theme/themeOverride2113.xml" ContentType="application/vnd.openxmlformats-officedocument.themeOverride+xml"/>
  <Override PartName="/ppt/theme/themeOverride2114.xml" ContentType="application/vnd.openxmlformats-officedocument.themeOverride+xml"/>
  <Override PartName="/ppt/theme/themeOverride2115.xml" ContentType="application/vnd.openxmlformats-officedocument.themeOverride+xml"/>
  <Override PartName="/ppt/theme/themeOverride2116.xml" ContentType="application/vnd.openxmlformats-officedocument.themeOverride+xml"/>
  <Override PartName="/ppt/theme/themeOverride2117.xml" ContentType="application/vnd.openxmlformats-officedocument.themeOverride+xml"/>
  <Override PartName="/ppt/theme/themeOverride2118.xml" ContentType="application/vnd.openxmlformats-officedocument.themeOverride+xml"/>
  <Override PartName="/ppt/theme/themeOverride2119.xml" ContentType="application/vnd.openxmlformats-officedocument.themeOverride+xml"/>
  <Override PartName="/ppt/theme/themeOverride212.xml" ContentType="application/vnd.openxmlformats-officedocument.themeOverride+xml"/>
  <Override PartName="/ppt/theme/themeOverride2120.xml" ContentType="application/vnd.openxmlformats-officedocument.themeOverride+xml"/>
  <Override PartName="/ppt/theme/themeOverride2121.xml" ContentType="application/vnd.openxmlformats-officedocument.themeOverride+xml"/>
  <Override PartName="/ppt/theme/themeOverride2122.xml" ContentType="application/vnd.openxmlformats-officedocument.themeOverride+xml"/>
  <Override PartName="/ppt/theme/themeOverride2123.xml" ContentType="application/vnd.openxmlformats-officedocument.themeOverride+xml"/>
  <Override PartName="/ppt/theme/themeOverride2124.xml" ContentType="application/vnd.openxmlformats-officedocument.themeOverride+xml"/>
  <Override PartName="/ppt/theme/themeOverride2125.xml" ContentType="application/vnd.openxmlformats-officedocument.themeOverride+xml"/>
  <Override PartName="/ppt/theme/themeOverride2126.xml" ContentType="application/vnd.openxmlformats-officedocument.themeOverride+xml"/>
  <Override PartName="/ppt/theme/themeOverride2127.xml" ContentType="application/vnd.openxmlformats-officedocument.themeOverride+xml"/>
  <Override PartName="/ppt/theme/themeOverride2128.xml" ContentType="application/vnd.openxmlformats-officedocument.themeOverride+xml"/>
  <Override PartName="/ppt/theme/themeOverride2129.xml" ContentType="application/vnd.openxmlformats-officedocument.themeOverride+xml"/>
  <Override PartName="/ppt/theme/themeOverride213.xml" ContentType="application/vnd.openxmlformats-officedocument.themeOverride+xml"/>
  <Override PartName="/ppt/theme/themeOverride2130.xml" ContentType="application/vnd.openxmlformats-officedocument.themeOverride+xml"/>
  <Override PartName="/ppt/theme/themeOverride2131.xml" ContentType="application/vnd.openxmlformats-officedocument.themeOverride+xml"/>
  <Override PartName="/ppt/theme/themeOverride2132.xml" ContentType="application/vnd.openxmlformats-officedocument.themeOverride+xml"/>
  <Override PartName="/ppt/theme/themeOverride2133.xml" ContentType="application/vnd.openxmlformats-officedocument.themeOverride+xml"/>
  <Override PartName="/ppt/theme/themeOverride2134.xml" ContentType="application/vnd.openxmlformats-officedocument.themeOverride+xml"/>
  <Override PartName="/ppt/theme/themeOverride2135.xml" ContentType="application/vnd.openxmlformats-officedocument.themeOverride+xml"/>
  <Override PartName="/ppt/theme/themeOverride2136.xml" ContentType="application/vnd.openxmlformats-officedocument.themeOverride+xml"/>
  <Override PartName="/ppt/theme/themeOverride2137.xml" ContentType="application/vnd.openxmlformats-officedocument.themeOverride+xml"/>
  <Override PartName="/ppt/theme/themeOverride2138.xml" ContentType="application/vnd.openxmlformats-officedocument.themeOverride+xml"/>
  <Override PartName="/ppt/theme/themeOverride2139.xml" ContentType="application/vnd.openxmlformats-officedocument.themeOverride+xml"/>
  <Override PartName="/ppt/theme/themeOverride214.xml" ContentType="application/vnd.openxmlformats-officedocument.themeOverride+xml"/>
  <Override PartName="/ppt/theme/themeOverride2140.xml" ContentType="application/vnd.openxmlformats-officedocument.themeOverride+xml"/>
  <Override PartName="/ppt/theme/themeOverride2141.xml" ContentType="application/vnd.openxmlformats-officedocument.themeOverride+xml"/>
  <Override PartName="/ppt/theme/themeOverride2142.xml" ContentType="application/vnd.openxmlformats-officedocument.themeOverride+xml"/>
  <Override PartName="/ppt/theme/themeOverride2143.xml" ContentType="application/vnd.openxmlformats-officedocument.themeOverride+xml"/>
  <Override PartName="/ppt/theme/themeOverride2144.xml" ContentType="application/vnd.openxmlformats-officedocument.themeOverride+xml"/>
  <Override PartName="/ppt/theme/themeOverride2145.xml" ContentType="application/vnd.openxmlformats-officedocument.themeOverride+xml"/>
  <Override PartName="/ppt/theme/themeOverride2146.xml" ContentType="application/vnd.openxmlformats-officedocument.themeOverride+xml"/>
  <Override PartName="/ppt/theme/themeOverride2147.xml" ContentType="application/vnd.openxmlformats-officedocument.themeOverride+xml"/>
  <Override PartName="/ppt/theme/themeOverride2148.xml" ContentType="application/vnd.openxmlformats-officedocument.themeOverride+xml"/>
  <Override PartName="/ppt/theme/themeOverride2149.xml" ContentType="application/vnd.openxmlformats-officedocument.themeOverride+xml"/>
  <Override PartName="/ppt/theme/themeOverride215.xml" ContentType="application/vnd.openxmlformats-officedocument.themeOverride+xml"/>
  <Override PartName="/ppt/theme/themeOverride2150.xml" ContentType="application/vnd.openxmlformats-officedocument.themeOverride+xml"/>
  <Override PartName="/ppt/theme/themeOverride2151.xml" ContentType="application/vnd.openxmlformats-officedocument.themeOverride+xml"/>
  <Override PartName="/ppt/theme/themeOverride2152.xml" ContentType="application/vnd.openxmlformats-officedocument.themeOverride+xml"/>
  <Override PartName="/ppt/theme/themeOverride2153.xml" ContentType="application/vnd.openxmlformats-officedocument.themeOverride+xml"/>
  <Override PartName="/ppt/theme/themeOverride2154.xml" ContentType="application/vnd.openxmlformats-officedocument.themeOverride+xml"/>
  <Override PartName="/ppt/theme/themeOverride2155.xml" ContentType="application/vnd.openxmlformats-officedocument.themeOverride+xml"/>
  <Override PartName="/ppt/theme/themeOverride2156.xml" ContentType="application/vnd.openxmlformats-officedocument.themeOverride+xml"/>
  <Override PartName="/ppt/theme/themeOverride2157.xml" ContentType="application/vnd.openxmlformats-officedocument.themeOverride+xml"/>
  <Override PartName="/ppt/theme/themeOverride2158.xml" ContentType="application/vnd.openxmlformats-officedocument.themeOverride+xml"/>
  <Override PartName="/ppt/theme/themeOverride2159.xml" ContentType="application/vnd.openxmlformats-officedocument.themeOverride+xml"/>
  <Override PartName="/ppt/theme/themeOverride216.xml" ContentType="application/vnd.openxmlformats-officedocument.themeOverride+xml"/>
  <Override PartName="/ppt/theme/themeOverride2160.xml" ContentType="application/vnd.openxmlformats-officedocument.themeOverride+xml"/>
  <Override PartName="/ppt/theme/themeOverride2161.xml" ContentType="application/vnd.openxmlformats-officedocument.themeOverride+xml"/>
  <Override PartName="/ppt/theme/themeOverride2162.xml" ContentType="application/vnd.openxmlformats-officedocument.themeOverride+xml"/>
  <Override PartName="/ppt/theme/themeOverride2163.xml" ContentType="application/vnd.openxmlformats-officedocument.themeOverride+xml"/>
  <Override PartName="/ppt/theme/themeOverride2164.xml" ContentType="application/vnd.openxmlformats-officedocument.themeOverride+xml"/>
  <Override PartName="/ppt/theme/themeOverride2165.xml" ContentType="application/vnd.openxmlformats-officedocument.themeOverride+xml"/>
  <Override PartName="/ppt/theme/themeOverride2166.xml" ContentType="application/vnd.openxmlformats-officedocument.themeOverride+xml"/>
  <Override PartName="/ppt/theme/themeOverride2167.xml" ContentType="application/vnd.openxmlformats-officedocument.themeOverride+xml"/>
  <Override PartName="/ppt/theme/themeOverride2168.xml" ContentType="application/vnd.openxmlformats-officedocument.themeOverride+xml"/>
  <Override PartName="/ppt/theme/themeOverride2169.xml" ContentType="application/vnd.openxmlformats-officedocument.themeOverride+xml"/>
  <Override PartName="/ppt/theme/themeOverride217.xml" ContentType="application/vnd.openxmlformats-officedocument.themeOverride+xml"/>
  <Override PartName="/ppt/theme/themeOverride2170.xml" ContentType="application/vnd.openxmlformats-officedocument.themeOverride+xml"/>
  <Override PartName="/ppt/theme/themeOverride2171.xml" ContentType="application/vnd.openxmlformats-officedocument.themeOverride+xml"/>
  <Override PartName="/ppt/theme/themeOverride2172.xml" ContentType="application/vnd.openxmlformats-officedocument.themeOverride+xml"/>
  <Override PartName="/ppt/theme/themeOverride2173.xml" ContentType="application/vnd.openxmlformats-officedocument.themeOverride+xml"/>
  <Override PartName="/ppt/theme/themeOverride2174.xml" ContentType="application/vnd.openxmlformats-officedocument.themeOverride+xml"/>
  <Override PartName="/ppt/theme/themeOverride2175.xml" ContentType="application/vnd.openxmlformats-officedocument.themeOverride+xml"/>
  <Override PartName="/ppt/theme/themeOverride2176.xml" ContentType="application/vnd.openxmlformats-officedocument.themeOverride+xml"/>
  <Override PartName="/ppt/theme/themeOverride2177.xml" ContentType="application/vnd.openxmlformats-officedocument.themeOverride+xml"/>
  <Override PartName="/ppt/theme/themeOverride2178.xml" ContentType="application/vnd.openxmlformats-officedocument.themeOverride+xml"/>
  <Override PartName="/ppt/theme/themeOverride2179.xml" ContentType="application/vnd.openxmlformats-officedocument.themeOverride+xml"/>
  <Override PartName="/ppt/theme/themeOverride218.xml" ContentType="application/vnd.openxmlformats-officedocument.themeOverride+xml"/>
  <Override PartName="/ppt/theme/themeOverride2180.xml" ContentType="application/vnd.openxmlformats-officedocument.themeOverride+xml"/>
  <Override PartName="/ppt/theme/themeOverride2181.xml" ContentType="application/vnd.openxmlformats-officedocument.themeOverride+xml"/>
  <Override PartName="/ppt/theme/themeOverride2182.xml" ContentType="application/vnd.openxmlformats-officedocument.themeOverride+xml"/>
  <Override PartName="/ppt/theme/themeOverride2183.xml" ContentType="application/vnd.openxmlformats-officedocument.themeOverride+xml"/>
  <Override PartName="/ppt/theme/themeOverride2184.xml" ContentType="application/vnd.openxmlformats-officedocument.themeOverride+xml"/>
  <Override PartName="/ppt/theme/themeOverride2185.xml" ContentType="application/vnd.openxmlformats-officedocument.themeOverride+xml"/>
  <Override PartName="/ppt/theme/themeOverride2186.xml" ContentType="application/vnd.openxmlformats-officedocument.themeOverride+xml"/>
  <Override PartName="/ppt/theme/themeOverride2187.xml" ContentType="application/vnd.openxmlformats-officedocument.themeOverride+xml"/>
  <Override PartName="/ppt/theme/themeOverride2188.xml" ContentType="application/vnd.openxmlformats-officedocument.themeOverride+xml"/>
  <Override PartName="/ppt/theme/themeOverride2189.xml" ContentType="application/vnd.openxmlformats-officedocument.themeOverride+xml"/>
  <Override PartName="/ppt/theme/themeOverride219.xml" ContentType="application/vnd.openxmlformats-officedocument.themeOverride+xml"/>
  <Override PartName="/ppt/theme/themeOverride2190.xml" ContentType="application/vnd.openxmlformats-officedocument.themeOverride+xml"/>
  <Override PartName="/ppt/theme/themeOverride2191.xml" ContentType="application/vnd.openxmlformats-officedocument.themeOverride+xml"/>
  <Override PartName="/ppt/theme/themeOverride2192.xml" ContentType="application/vnd.openxmlformats-officedocument.themeOverride+xml"/>
  <Override PartName="/ppt/theme/themeOverride2193.xml" ContentType="application/vnd.openxmlformats-officedocument.themeOverride+xml"/>
  <Override PartName="/ppt/theme/themeOverride2194.xml" ContentType="application/vnd.openxmlformats-officedocument.themeOverride+xml"/>
  <Override PartName="/ppt/theme/themeOverride2195.xml" ContentType="application/vnd.openxmlformats-officedocument.themeOverride+xml"/>
  <Override PartName="/ppt/theme/themeOverride2196.xml" ContentType="application/vnd.openxmlformats-officedocument.themeOverride+xml"/>
  <Override PartName="/ppt/theme/themeOverride2197.xml" ContentType="application/vnd.openxmlformats-officedocument.themeOverride+xml"/>
  <Override PartName="/ppt/theme/themeOverride2198.xml" ContentType="application/vnd.openxmlformats-officedocument.themeOverride+xml"/>
  <Override PartName="/ppt/theme/themeOverride2199.xml" ContentType="application/vnd.openxmlformats-officedocument.themeOverride+xml"/>
  <Override PartName="/ppt/theme/themeOverride22.xml" ContentType="application/vnd.openxmlformats-officedocument.themeOverride+xml"/>
  <Override PartName="/ppt/theme/themeOverride220.xml" ContentType="application/vnd.openxmlformats-officedocument.themeOverride+xml"/>
  <Override PartName="/ppt/theme/themeOverride2200.xml" ContentType="application/vnd.openxmlformats-officedocument.themeOverride+xml"/>
  <Override PartName="/ppt/theme/themeOverride2201.xml" ContentType="application/vnd.openxmlformats-officedocument.themeOverride+xml"/>
  <Override PartName="/ppt/theme/themeOverride2202.xml" ContentType="application/vnd.openxmlformats-officedocument.themeOverride+xml"/>
  <Override PartName="/ppt/theme/themeOverride2203.xml" ContentType="application/vnd.openxmlformats-officedocument.themeOverride+xml"/>
  <Override PartName="/ppt/theme/themeOverride2204.xml" ContentType="application/vnd.openxmlformats-officedocument.themeOverride+xml"/>
  <Override PartName="/ppt/theme/themeOverride2205.xml" ContentType="application/vnd.openxmlformats-officedocument.themeOverride+xml"/>
  <Override PartName="/ppt/theme/themeOverride2206.xml" ContentType="application/vnd.openxmlformats-officedocument.themeOverride+xml"/>
  <Override PartName="/ppt/theme/themeOverride2207.xml" ContentType="application/vnd.openxmlformats-officedocument.themeOverride+xml"/>
  <Override PartName="/ppt/theme/themeOverride2208.xml" ContentType="application/vnd.openxmlformats-officedocument.themeOverride+xml"/>
  <Override PartName="/ppt/theme/themeOverride2209.xml" ContentType="application/vnd.openxmlformats-officedocument.themeOverride+xml"/>
  <Override PartName="/ppt/theme/themeOverride221.xml" ContentType="application/vnd.openxmlformats-officedocument.themeOverride+xml"/>
  <Override PartName="/ppt/theme/themeOverride2210.xml" ContentType="application/vnd.openxmlformats-officedocument.themeOverride+xml"/>
  <Override PartName="/ppt/theme/themeOverride2211.xml" ContentType="application/vnd.openxmlformats-officedocument.themeOverride+xml"/>
  <Override PartName="/ppt/theme/themeOverride2212.xml" ContentType="application/vnd.openxmlformats-officedocument.themeOverride+xml"/>
  <Override PartName="/ppt/theme/themeOverride2213.xml" ContentType="application/vnd.openxmlformats-officedocument.themeOverride+xml"/>
  <Override PartName="/ppt/theme/themeOverride2214.xml" ContentType="application/vnd.openxmlformats-officedocument.themeOverride+xml"/>
  <Override PartName="/ppt/theme/themeOverride2215.xml" ContentType="application/vnd.openxmlformats-officedocument.themeOverride+xml"/>
  <Override PartName="/ppt/theme/themeOverride2216.xml" ContentType="application/vnd.openxmlformats-officedocument.themeOverride+xml"/>
  <Override PartName="/ppt/theme/themeOverride2217.xml" ContentType="application/vnd.openxmlformats-officedocument.themeOverride+xml"/>
  <Override PartName="/ppt/theme/themeOverride2218.xml" ContentType="application/vnd.openxmlformats-officedocument.themeOverride+xml"/>
  <Override PartName="/ppt/theme/themeOverride2219.xml" ContentType="application/vnd.openxmlformats-officedocument.themeOverride+xml"/>
  <Override PartName="/ppt/theme/themeOverride222.xml" ContentType="application/vnd.openxmlformats-officedocument.themeOverride+xml"/>
  <Override PartName="/ppt/theme/themeOverride2220.xml" ContentType="application/vnd.openxmlformats-officedocument.themeOverride+xml"/>
  <Override PartName="/ppt/theme/themeOverride2221.xml" ContentType="application/vnd.openxmlformats-officedocument.themeOverride+xml"/>
  <Override PartName="/ppt/theme/themeOverride2222.xml" ContentType="application/vnd.openxmlformats-officedocument.themeOverride+xml"/>
  <Override PartName="/ppt/theme/themeOverride2223.xml" ContentType="application/vnd.openxmlformats-officedocument.themeOverride+xml"/>
  <Override PartName="/ppt/theme/themeOverride2224.xml" ContentType="application/vnd.openxmlformats-officedocument.themeOverride+xml"/>
  <Override PartName="/ppt/theme/themeOverride2225.xml" ContentType="application/vnd.openxmlformats-officedocument.themeOverride+xml"/>
  <Override PartName="/ppt/theme/themeOverride2226.xml" ContentType="application/vnd.openxmlformats-officedocument.themeOverride+xml"/>
  <Override PartName="/ppt/theme/themeOverride2227.xml" ContentType="application/vnd.openxmlformats-officedocument.themeOverride+xml"/>
  <Override PartName="/ppt/theme/themeOverride2228.xml" ContentType="application/vnd.openxmlformats-officedocument.themeOverride+xml"/>
  <Override PartName="/ppt/theme/themeOverride2229.xml" ContentType="application/vnd.openxmlformats-officedocument.themeOverride+xml"/>
  <Override PartName="/ppt/theme/themeOverride223.xml" ContentType="application/vnd.openxmlformats-officedocument.themeOverride+xml"/>
  <Override PartName="/ppt/theme/themeOverride2230.xml" ContentType="application/vnd.openxmlformats-officedocument.themeOverride+xml"/>
  <Override PartName="/ppt/theme/themeOverride2231.xml" ContentType="application/vnd.openxmlformats-officedocument.themeOverride+xml"/>
  <Override PartName="/ppt/theme/themeOverride2232.xml" ContentType="application/vnd.openxmlformats-officedocument.themeOverride+xml"/>
  <Override PartName="/ppt/theme/themeOverride2233.xml" ContentType="application/vnd.openxmlformats-officedocument.themeOverride+xml"/>
  <Override PartName="/ppt/theme/themeOverride2234.xml" ContentType="application/vnd.openxmlformats-officedocument.themeOverride+xml"/>
  <Override PartName="/ppt/theme/themeOverride2235.xml" ContentType="application/vnd.openxmlformats-officedocument.themeOverride+xml"/>
  <Override PartName="/ppt/theme/themeOverride2236.xml" ContentType="application/vnd.openxmlformats-officedocument.themeOverride+xml"/>
  <Override PartName="/ppt/theme/themeOverride2237.xml" ContentType="application/vnd.openxmlformats-officedocument.themeOverride+xml"/>
  <Override PartName="/ppt/theme/themeOverride2238.xml" ContentType="application/vnd.openxmlformats-officedocument.themeOverride+xml"/>
  <Override PartName="/ppt/theme/themeOverride2239.xml" ContentType="application/vnd.openxmlformats-officedocument.themeOverride+xml"/>
  <Override PartName="/ppt/theme/themeOverride224.xml" ContentType="application/vnd.openxmlformats-officedocument.themeOverride+xml"/>
  <Override PartName="/ppt/theme/themeOverride2240.xml" ContentType="application/vnd.openxmlformats-officedocument.themeOverride+xml"/>
  <Override PartName="/ppt/theme/themeOverride2241.xml" ContentType="application/vnd.openxmlformats-officedocument.themeOverride+xml"/>
  <Override PartName="/ppt/theme/themeOverride2242.xml" ContentType="application/vnd.openxmlformats-officedocument.themeOverride+xml"/>
  <Override PartName="/ppt/theme/themeOverride2243.xml" ContentType="application/vnd.openxmlformats-officedocument.themeOverride+xml"/>
  <Override PartName="/ppt/theme/themeOverride2244.xml" ContentType="application/vnd.openxmlformats-officedocument.themeOverride+xml"/>
  <Override PartName="/ppt/theme/themeOverride2245.xml" ContentType="application/vnd.openxmlformats-officedocument.themeOverride+xml"/>
  <Override PartName="/ppt/theme/themeOverride2246.xml" ContentType="application/vnd.openxmlformats-officedocument.themeOverride+xml"/>
  <Override PartName="/ppt/theme/themeOverride2247.xml" ContentType="application/vnd.openxmlformats-officedocument.themeOverride+xml"/>
  <Override PartName="/ppt/theme/themeOverride2248.xml" ContentType="application/vnd.openxmlformats-officedocument.themeOverride+xml"/>
  <Override PartName="/ppt/theme/themeOverride2249.xml" ContentType="application/vnd.openxmlformats-officedocument.themeOverride+xml"/>
  <Override PartName="/ppt/theme/themeOverride225.xml" ContentType="application/vnd.openxmlformats-officedocument.themeOverride+xml"/>
  <Override PartName="/ppt/theme/themeOverride2250.xml" ContentType="application/vnd.openxmlformats-officedocument.themeOverride+xml"/>
  <Override PartName="/ppt/theme/themeOverride2251.xml" ContentType="application/vnd.openxmlformats-officedocument.themeOverride+xml"/>
  <Override PartName="/ppt/theme/themeOverride2252.xml" ContentType="application/vnd.openxmlformats-officedocument.themeOverride+xml"/>
  <Override PartName="/ppt/theme/themeOverride2253.xml" ContentType="application/vnd.openxmlformats-officedocument.themeOverride+xml"/>
  <Override PartName="/ppt/theme/themeOverride2254.xml" ContentType="application/vnd.openxmlformats-officedocument.themeOverride+xml"/>
  <Override PartName="/ppt/theme/themeOverride2255.xml" ContentType="application/vnd.openxmlformats-officedocument.themeOverride+xml"/>
  <Override PartName="/ppt/theme/themeOverride2256.xml" ContentType="application/vnd.openxmlformats-officedocument.themeOverride+xml"/>
  <Override PartName="/ppt/theme/themeOverride2257.xml" ContentType="application/vnd.openxmlformats-officedocument.themeOverride+xml"/>
  <Override PartName="/ppt/theme/themeOverride2258.xml" ContentType="application/vnd.openxmlformats-officedocument.themeOverride+xml"/>
  <Override PartName="/ppt/theme/themeOverride2259.xml" ContentType="application/vnd.openxmlformats-officedocument.themeOverride+xml"/>
  <Override PartName="/ppt/theme/themeOverride226.xml" ContentType="application/vnd.openxmlformats-officedocument.themeOverride+xml"/>
  <Override PartName="/ppt/theme/themeOverride2260.xml" ContentType="application/vnd.openxmlformats-officedocument.themeOverride+xml"/>
  <Override PartName="/ppt/theme/themeOverride2261.xml" ContentType="application/vnd.openxmlformats-officedocument.themeOverride+xml"/>
  <Override PartName="/ppt/theme/themeOverride2262.xml" ContentType="application/vnd.openxmlformats-officedocument.themeOverride+xml"/>
  <Override PartName="/ppt/theme/themeOverride2263.xml" ContentType="application/vnd.openxmlformats-officedocument.themeOverride+xml"/>
  <Override PartName="/ppt/theme/themeOverride2264.xml" ContentType="application/vnd.openxmlformats-officedocument.themeOverride+xml"/>
  <Override PartName="/ppt/theme/themeOverride2265.xml" ContentType="application/vnd.openxmlformats-officedocument.themeOverride+xml"/>
  <Override PartName="/ppt/theme/themeOverride2266.xml" ContentType="application/vnd.openxmlformats-officedocument.themeOverride+xml"/>
  <Override PartName="/ppt/theme/themeOverride2267.xml" ContentType="application/vnd.openxmlformats-officedocument.themeOverride+xml"/>
  <Override PartName="/ppt/theme/themeOverride2268.xml" ContentType="application/vnd.openxmlformats-officedocument.themeOverride+xml"/>
  <Override PartName="/ppt/theme/themeOverride2269.xml" ContentType="application/vnd.openxmlformats-officedocument.themeOverride+xml"/>
  <Override PartName="/ppt/theme/themeOverride227.xml" ContentType="application/vnd.openxmlformats-officedocument.themeOverride+xml"/>
  <Override PartName="/ppt/theme/themeOverride2270.xml" ContentType="application/vnd.openxmlformats-officedocument.themeOverride+xml"/>
  <Override PartName="/ppt/theme/themeOverride2271.xml" ContentType="application/vnd.openxmlformats-officedocument.themeOverride+xml"/>
  <Override PartName="/ppt/theme/themeOverride2272.xml" ContentType="application/vnd.openxmlformats-officedocument.themeOverride+xml"/>
  <Override PartName="/ppt/theme/themeOverride2273.xml" ContentType="application/vnd.openxmlformats-officedocument.themeOverride+xml"/>
  <Override PartName="/ppt/theme/themeOverride2274.xml" ContentType="application/vnd.openxmlformats-officedocument.themeOverride+xml"/>
  <Override PartName="/ppt/theme/themeOverride2275.xml" ContentType="application/vnd.openxmlformats-officedocument.themeOverride+xml"/>
  <Override PartName="/ppt/theme/themeOverride2276.xml" ContentType="application/vnd.openxmlformats-officedocument.themeOverride+xml"/>
  <Override PartName="/ppt/theme/themeOverride2277.xml" ContentType="application/vnd.openxmlformats-officedocument.themeOverride+xml"/>
  <Override PartName="/ppt/theme/themeOverride2278.xml" ContentType="application/vnd.openxmlformats-officedocument.themeOverride+xml"/>
  <Override PartName="/ppt/theme/themeOverride2279.xml" ContentType="application/vnd.openxmlformats-officedocument.themeOverride+xml"/>
  <Override PartName="/ppt/theme/themeOverride228.xml" ContentType="application/vnd.openxmlformats-officedocument.themeOverride+xml"/>
  <Override PartName="/ppt/theme/themeOverride2280.xml" ContentType="application/vnd.openxmlformats-officedocument.themeOverride+xml"/>
  <Override PartName="/ppt/theme/themeOverride2281.xml" ContentType="application/vnd.openxmlformats-officedocument.themeOverride+xml"/>
  <Override PartName="/ppt/theme/themeOverride2282.xml" ContentType="application/vnd.openxmlformats-officedocument.themeOverride+xml"/>
  <Override PartName="/ppt/theme/themeOverride2283.xml" ContentType="application/vnd.openxmlformats-officedocument.themeOverride+xml"/>
  <Override PartName="/ppt/theme/themeOverride2284.xml" ContentType="application/vnd.openxmlformats-officedocument.themeOverride+xml"/>
  <Override PartName="/ppt/theme/themeOverride2285.xml" ContentType="application/vnd.openxmlformats-officedocument.themeOverride+xml"/>
  <Override PartName="/ppt/theme/themeOverride2286.xml" ContentType="application/vnd.openxmlformats-officedocument.themeOverride+xml"/>
  <Override PartName="/ppt/theme/themeOverride2287.xml" ContentType="application/vnd.openxmlformats-officedocument.themeOverride+xml"/>
  <Override PartName="/ppt/theme/themeOverride2288.xml" ContentType="application/vnd.openxmlformats-officedocument.themeOverride+xml"/>
  <Override PartName="/ppt/theme/themeOverride2289.xml" ContentType="application/vnd.openxmlformats-officedocument.themeOverride+xml"/>
  <Override PartName="/ppt/theme/themeOverride229.xml" ContentType="application/vnd.openxmlformats-officedocument.themeOverride+xml"/>
  <Override PartName="/ppt/theme/themeOverride2290.xml" ContentType="application/vnd.openxmlformats-officedocument.themeOverride+xml"/>
  <Override PartName="/ppt/theme/themeOverride2291.xml" ContentType="application/vnd.openxmlformats-officedocument.themeOverride+xml"/>
  <Override PartName="/ppt/theme/themeOverride2292.xml" ContentType="application/vnd.openxmlformats-officedocument.themeOverride+xml"/>
  <Override PartName="/ppt/theme/themeOverride2293.xml" ContentType="application/vnd.openxmlformats-officedocument.themeOverride+xml"/>
  <Override PartName="/ppt/theme/themeOverride2294.xml" ContentType="application/vnd.openxmlformats-officedocument.themeOverride+xml"/>
  <Override PartName="/ppt/theme/themeOverride2295.xml" ContentType="application/vnd.openxmlformats-officedocument.themeOverride+xml"/>
  <Override PartName="/ppt/theme/themeOverride2296.xml" ContentType="application/vnd.openxmlformats-officedocument.themeOverride+xml"/>
  <Override PartName="/ppt/theme/themeOverride2297.xml" ContentType="application/vnd.openxmlformats-officedocument.themeOverride+xml"/>
  <Override PartName="/ppt/theme/themeOverride2298.xml" ContentType="application/vnd.openxmlformats-officedocument.themeOverride+xml"/>
  <Override PartName="/ppt/theme/themeOverride2299.xml" ContentType="application/vnd.openxmlformats-officedocument.themeOverride+xml"/>
  <Override PartName="/ppt/theme/themeOverride23.xml" ContentType="application/vnd.openxmlformats-officedocument.themeOverride+xml"/>
  <Override PartName="/ppt/theme/themeOverride230.xml" ContentType="application/vnd.openxmlformats-officedocument.themeOverride+xml"/>
  <Override PartName="/ppt/theme/themeOverride2300.xml" ContentType="application/vnd.openxmlformats-officedocument.themeOverride+xml"/>
  <Override PartName="/ppt/theme/themeOverride2301.xml" ContentType="application/vnd.openxmlformats-officedocument.themeOverride+xml"/>
  <Override PartName="/ppt/theme/themeOverride2302.xml" ContentType="application/vnd.openxmlformats-officedocument.themeOverride+xml"/>
  <Override PartName="/ppt/theme/themeOverride2303.xml" ContentType="application/vnd.openxmlformats-officedocument.themeOverride+xml"/>
  <Override PartName="/ppt/theme/themeOverride2304.xml" ContentType="application/vnd.openxmlformats-officedocument.themeOverride+xml"/>
  <Override PartName="/ppt/theme/themeOverride2305.xml" ContentType="application/vnd.openxmlformats-officedocument.themeOverride+xml"/>
  <Override PartName="/ppt/theme/themeOverride2306.xml" ContentType="application/vnd.openxmlformats-officedocument.themeOverride+xml"/>
  <Override PartName="/ppt/theme/themeOverride2307.xml" ContentType="application/vnd.openxmlformats-officedocument.themeOverride+xml"/>
  <Override PartName="/ppt/theme/themeOverride2308.xml" ContentType="application/vnd.openxmlformats-officedocument.themeOverride+xml"/>
  <Override PartName="/ppt/theme/themeOverride2309.xml" ContentType="application/vnd.openxmlformats-officedocument.themeOverride+xml"/>
  <Override PartName="/ppt/theme/themeOverride231.xml" ContentType="application/vnd.openxmlformats-officedocument.themeOverride+xml"/>
  <Override PartName="/ppt/theme/themeOverride2310.xml" ContentType="application/vnd.openxmlformats-officedocument.themeOverride+xml"/>
  <Override PartName="/ppt/theme/themeOverride2311.xml" ContentType="application/vnd.openxmlformats-officedocument.themeOverride+xml"/>
  <Override PartName="/ppt/theme/themeOverride2312.xml" ContentType="application/vnd.openxmlformats-officedocument.themeOverride+xml"/>
  <Override PartName="/ppt/theme/themeOverride2313.xml" ContentType="application/vnd.openxmlformats-officedocument.themeOverride+xml"/>
  <Override PartName="/ppt/theme/themeOverride2314.xml" ContentType="application/vnd.openxmlformats-officedocument.themeOverride+xml"/>
  <Override PartName="/ppt/theme/themeOverride2315.xml" ContentType="application/vnd.openxmlformats-officedocument.themeOverride+xml"/>
  <Override PartName="/ppt/theme/themeOverride2316.xml" ContentType="application/vnd.openxmlformats-officedocument.themeOverride+xml"/>
  <Override PartName="/ppt/theme/themeOverride2317.xml" ContentType="application/vnd.openxmlformats-officedocument.themeOverride+xml"/>
  <Override PartName="/ppt/theme/themeOverride2318.xml" ContentType="application/vnd.openxmlformats-officedocument.themeOverride+xml"/>
  <Override PartName="/ppt/theme/themeOverride2319.xml" ContentType="application/vnd.openxmlformats-officedocument.themeOverride+xml"/>
  <Override PartName="/ppt/theme/themeOverride232.xml" ContentType="application/vnd.openxmlformats-officedocument.themeOverride+xml"/>
  <Override PartName="/ppt/theme/themeOverride2320.xml" ContentType="application/vnd.openxmlformats-officedocument.themeOverride+xml"/>
  <Override PartName="/ppt/theme/themeOverride2321.xml" ContentType="application/vnd.openxmlformats-officedocument.themeOverride+xml"/>
  <Override PartName="/ppt/theme/themeOverride2322.xml" ContentType="application/vnd.openxmlformats-officedocument.themeOverride+xml"/>
  <Override PartName="/ppt/theme/themeOverride2323.xml" ContentType="application/vnd.openxmlformats-officedocument.themeOverride+xml"/>
  <Override PartName="/ppt/theme/themeOverride2324.xml" ContentType="application/vnd.openxmlformats-officedocument.themeOverride+xml"/>
  <Override PartName="/ppt/theme/themeOverride2325.xml" ContentType="application/vnd.openxmlformats-officedocument.themeOverride+xml"/>
  <Override PartName="/ppt/theme/themeOverride2326.xml" ContentType="application/vnd.openxmlformats-officedocument.themeOverride+xml"/>
  <Override PartName="/ppt/theme/themeOverride2327.xml" ContentType="application/vnd.openxmlformats-officedocument.themeOverride+xml"/>
  <Override PartName="/ppt/theme/themeOverride2328.xml" ContentType="application/vnd.openxmlformats-officedocument.themeOverride+xml"/>
  <Override PartName="/ppt/theme/themeOverride2329.xml" ContentType="application/vnd.openxmlformats-officedocument.themeOverride+xml"/>
  <Override PartName="/ppt/theme/themeOverride233.xml" ContentType="application/vnd.openxmlformats-officedocument.themeOverride+xml"/>
  <Override PartName="/ppt/theme/themeOverride2330.xml" ContentType="application/vnd.openxmlformats-officedocument.themeOverride+xml"/>
  <Override PartName="/ppt/theme/themeOverride2331.xml" ContentType="application/vnd.openxmlformats-officedocument.themeOverride+xml"/>
  <Override PartName="/ppt/theme/themeOverride2332.xml" ContentType="application/vnd.openxmlformats-officedocument.themeOverride+xml"/>
  <Override PartName="/ppt/theme/themeOverride2333.xml" ContentType="application/vnd.openxmlformats-officedocument.themeOverride+xml"/>
  <Override PartName="/ppt/theme/themeOverride2334.xml" ContentType="application/vnd.openxmlformats-officedocument.themeOverride+xml"/>
  <Override PartName="/ppt/theme/themeOverride2335.xml" ContentType="application/vnd.openxmlformats-officedocument.themeOverride+xml"/>
  <Override PartName="/ppt/theme/themeOverride2336.xml" ContentType="application/vnd.openxmlformats-officedocument.themeOverride+xml"/>
  <Override PartName="/ppt/theme/themeOverride2337.xml" ContentType="application/vnd.openxmlformats-officedocument.themeOverride+xml"/>
  <Override PartName="/ppt/theme/themeOverride2338.xml" ContentType="application/vnd.openxmlformats-officedocument.themeOverride+xml"/>
  <Override PartName="/ppt/theme/themeOverride2339.xml" ContentType="application/vnd.openxmlformats-officedocument.themeOverride+xml"/>
  <Override PartName="/ppt/theme/themeOverride234.xml" ContentType="application/vnd.openxmlformats-officedocument.themeOverride+xml"/>
  <Override PartName="/ppt/theme/themeOverride2340.xml" ContentType="application/vnd.openxmlformats-officedocument.themeOverride+xml"/>
  <Override PartName="/ppt/theme/themeOverride2341.xml" ContentType="application/vnd.openxmlformats-officedocument.themeOverride+xml"/>
  <Override PartName="/ppt/theme/themeOverride2342.xml" ContentType="application/vnd.openxmlformats-officedocument.themeOverride+xml"/>
  <Override PartName="/ppt/theme/themeOverride2343.xml" ContentType="application/vnd.openxmlformats-officedocument.themeOverride+xml"/>
  <Override PartName="/ppt/theme/themeOverride2344.xml" ContentType="application/vnd.openxmlformats-officedocument.themeOverride+xml"/>
  <Override PartName="/ppt/theme/themeOverride2345.xml" ContentType="application/vnd.openxmlformats-officedocument.themeOverride+xml"/>
  <Override PartName="/ppt/theme/themeOverride2346.xml" ContentType="application/vnd.openxmlformats-officedocument.themeOverride+xml"/>
  <Override PartName="/ppt/theme/themeOverride2347.xml" ContentType="application/vnd.openxmlformats-officedocument.themeOverride+xml"/>
  <Override PartName="/ppt/theme/themeOverride2348.xml" ContentType="application/vnd.openxmlformats-officedocument.themeOverride+xml"/>
  <Override PartName="/ppt/theme/themeOverride2349.xml" ContentType="application/vnd.openxmlformats-officedocument.themeOverride+xml"/>
  <Override PartName="/ppt/theme/themeOverride235.xml" ContentType="application/vnd.openxmlformats-officedocument.themeOverride+xml"/>
  <Override PartName="/ppt/theme/themeOverride2350.xml" ContentType="application/vnd.openxmlformats-officedocument.themeOverride+xml"/>
  <Override PartName="/ppt/theme/themeOverride2351.xml" ContentType="application/vnd.openxmlformats-officedocument.themeOverride+xml"/>
  <Override PartName="/ppt/theme/themeOverride2352.xml" ContentType="application/vnd.openxmlformats-officedocument.themeOverride+xml"/>
  <Override PartName="/ppt/theme/themeOverride2353.xml" ContentType="application/vnd.openxmlformats-officedocument.themeOverride+xml"/>
  <Override PartName="/ppt/theme/themeOverride2354.xml" ContentType="application/vnd.openxmlformats-officedocument.themeOverride+xml"/>
  <Override PartName="/ppt/theme/themeOverride2355.xml" ContentType="application/vnd.openxmlformats-officedocument.themeOverride+xml"/>
  <Override PartName="/ppt/theme/themeOverride2356.xml" ContentType="application/vnd.openxmlformats-officedocument.themeOverride+xml"/>
  <Override PartName="/ppt/theme/themeOverride2357.xml" ContentType="application/vnd.openxmlformats-officedocument.themeOverride+xml"/>
  <Override PartName="/ppt/theme/themeOverride2358.xml" ContentType="application/vnd.openxmlformats-officedocument.themeOverride+xml"/>
  <Override PartName="/ppt/theme/themeOverride2359.xml" ContentType="application/vnd.openxmlformats-officedocument.themeOverride+xml"/>
  <Override PartName="/ppt/theme/themeOverride236.xml" ContentType="application/vnd.openxmlformats-officedocument.themeOverride+xml"/>
  <Override PartName="/ppt/theme/themeOverride2360.xml" ContentType="application/vnd.openxmlformats-officedocument.themeOverride+xml"/>
  <Override PartName="/ppt/theme/themeOverride2361.xml" ContentType="application/vnd.openxmlformats-officedocument.themeOverride+xml"/>
  <Override PartName="/ppt/theme/themeOverride2362.xml" ContentType="application/vnd.openxmlformats-officedocument.themeOverride+xml"/>
  <Override PartName="/ppt/theme/themeOverride2363.xml" ContentType="application/vnd.openxmlformats-officedocument.themeOverride+xml"/>
  <Override PartName="/ppt/theme/themeOverride2364.xml" ContentType="application/vnd.openxmlformats-officedocument.themeOverride+xml"/>
  <Override PartName="/ppt/theme/themeOverride2365.xml" ContentType="application/vnd.openxmlformats-officedocument.themeOverride+xml"/>
  <Override PartName="/ppt/theme/themeOverride2366.xml" ContentType="application/vnd.openxmlformats-officedocument.themeOverride+xml"/>
  <Override PartName="/ppt/theme/themeOverride2367.xml" ContentType="application/vnd.openxmlformats-officedocument.themeOverride+xml"/>
  <Override PartName="/ppt/theme/themeOverride2368.xml" ContentType="application/vnd.openxmlformats-officedocument.themeOverride+xml"/>
  <Override PartName="/ppt/theme/themeOverride2369.xml" ContentType="application/vnd.openxmlformats-officedocument.themeOverride+xml"/>
  <Override PartName="/ppt/theme/themeOverride237.xml" ContentType="application/vnd.openxmlformats-officedocument.themeOverride+xml"/>
  <Override PartName="/ppt/theme/themeOverride2370.xml" ContentType="application/vnd.openxmlformats-officedocument.themeOverride+xml"/>
  <Override PartName="/ppt/theme/themeOverride2371.xml" ContentType="application/vnd.openxmlformats-officedocument.themeOverride+xml"/>
  <Override PartName="/ppt/theme/themeOverride2372.xml" ContentType="application/vnd.openxmlformats-officedocument.themeOverride+xml"/>
  <Override PartName="/ppt/theme/themeOverride2373.xml" ContentType="application/vnd.openxmlformats-officedocument.themeOverride+xml"/>
  <Override PartName="/ppt/theme/themeOverride2374.xml" ContentType="application/vnd.openxmlformats-officedocument.themeOverride+xml"/>
  <Override PartName="/ppt/theme/themeOverride2375.xml" ContentType="application/vnd.openxmlformats-officedocument.themeOverride+xml"/>
  <Override PartName="/ppt/theme/themeOverride2376.xml" ContentType="application/vnd.openxmlformats-officedocument.themeOverride+xml"/>
  <Override PartName="/ppt/theme/themeOverride2377.xml" ContentType="application/vnd.openxmlformats-officedocument.themeOverride+xml"/>
  <Override PartName="/ppt/theme/themeOverride2378.xml" ContentType="application/vnd.openxmlformats-officedocument.themeOverride+xml"/>
  <Override PartName="/ppt/theme/themeOverride2379.xml" ContentType="application/vnd.openxmlformats-officedocument.themeOverride+xml"/>
  <Override PartName="/ppt/theme/themeOverride238.xml" ContentType="application/vnd.openxmlformats-officedocument.themeOverride+xml"/>
  <Override PartName="/ppt/theme/themeOverride2380.xml" ContentType="application/vnd.openxmlformats-officedocument.themeOverride+xml"/>
  <Override PartName="/ppt/theme/themeOverride2381.xml" ContentType="application/vnd.openxmlformats-officedocument.themeOverride+xml"/>
  <Override PartName="/ppt/theme/themeOverride2382.xml" ContentType="application/vnd.openxmlformats-officedocument.themeOverride+xml"/>
  <Override PartName="/ppt/theme/themeOverride2383.xml" ContentType="application/vnd.openxmlformats-officedocument.themeOverride+xml"/>
  <Override PartName="/ppt/theme/themeOverride2384.xml" ContentType="application/vnd.openxmlformats-officedocument.themeOverride+xml"/>
  <Override PartName="/ppt/theme/themeOverride2385.xml" ContentType="application/vnd.openxmlformats-officedocument.themeOverride+xml"/>
  <Override PartName="/ppt/theme/themeOverride2386.xml" ContentType="application/vnd.openxmlformats-officedocument.themeOverride+xml"/>
  <Override PartName="/ppt/theme/themeOverride2387.xml" ContentType="application/vnd.openxmlformats-officedocument.themeOverride+xml"/>
  <Override PartName="/ppt/theme/themeOverride2388.xml" ContentType="application/vnd.openxmlformats-officedocument.themeOverride+xml"/>
  <Override PartName="/ppt/theme/themeOverride2389.xml" ContentType="application/vnd.openxmlformats-officedocument.themeOverride+xml"/>
  <Override PartName="/ppt/theme/themeOverride239.xml" ContentType="application/vnd.openxmlformats-officedocument.themeOverride+xml"/>
  <Override PartName="/ppt/theme/themeOverride2390.xml" ContentType="application/vnd.openxmlformats-officedocument.themeOverride+xml"/>
  <Override PartName="/ppt/theme/themeOverride2391.xml" ContentType="application/vnd.openxmlformats-officedocument.themeOverride+xml"/>
  <Override PartName="/ppt/theme/themeOverride2392.xml" ContentType="application/vnd.openxmlformats-officedocument.themeOverride+xml"/>
  <Override PartName="/ppt/theme/themeOverride2393.xml" ContentType="application/vnd.openxmlformats-officedocument.themeOverride+xml"/>
  <Override PartName="/ppt/theme/themeOverride2394.xml" ContentType="application/vnd.openxmlformats-officedocument.themeOverride+xml"/>
  <Override PartName="/ppt/theme/themeOverride2395.xml" ContentType="application/vnd.openxmlformats-officedocument.themeOverride+xml"/>
  <Override PartName="/ppt/theme/themeOverride2396.xml" ContentType="application/vnd.openxmlformats-officedocument.themeOverride+xml"/>
  <Override PartName="/ppt/theme/themeOverride2397.xml" ContentType="application/vnd.openxmlformats-officedocument.themeOverride+xml"/>
  <Override PartName="/ppt/theme/themeOverride2398.xml" ContentType="application/vnd.openxmlformats-officedocument.themeOverride+xml"/>
  <Override PartName="/ppt/theme/themeOverride2399.xml" ContentType="application/vnd.openxmlformats-officedocument.themeOverride+xml"/>
  <Override PartName="/ppt/theme/themeOverride24.xml" ContentType="application/vnd.openxmlformats-officedocument.themeOverride+xml"/>
  <Override PartName="/ppt/theme/themeOverride240.xml" ContentType="application/vnd.openxmlformats-officedocument.themeOverride+xml"/>
  <Override PartName="/ppt/theme/themeOverride2400.xml" ContentType="application/vnd.openxmlformats-officedocument.themeOverride+xml"/>
  <Override PartName="/ppt/theme/themeOverride2401.xml" ContentType="application/vnd.openxmlformats-officedocument.themeOverride+xml"/>
  <Override PartName="/ppt/theme/themeOverride2402.xml" ContentType="application/vnd.openxmlformats-officedocument.themeOverride+xml"/>
  <Override PartName="/ppt/theme/themeOverride2403.xml" ContentType="application/vnd.openxmlformats-officedocument.themeOverride+xml"/>
  <Override PartName="/ppt/theme/themeOverride2404.xml" ContentType="application/vnd.openxmlformats-officedocument.themeOverride+xml"/>
  <Override PartName="/ppt/theme/themeOverride2405.xml" ContentType="application/vnd.openxmlformats-officedocument.themeOverride+xml"/>
  <Override PartName="/ppt/theme/themeOverride2406.xml" ContentType="application/vnd.openxmlformats-officedocument.themeOverride+xml"/>
  <Override PartName="/ppt/theme/themeOverride2407.xml" ContentType="application/vnd.openxmlformats-officedocument.themeOverride+xml"/>
  <Override PartName="/ppt/theme/themeOverride2408.xml" ContentType="application/vnd.openxmlformats-officedocument.themeOverride+xml"/>
  <Override PartName="/ppt/theme/themeOverride2409.xml" ContentType="application/vnd.openxmlformats-officedocument.themeOverride+xml"/>
  <Override PartName="/ppt/theme/themeOverride241.xml" ContentType="application/vnd.openxmlformats-officedocument.themeOverride+xml"/>
  <Override PartName="/ppt/theme/themeOverride2410.xml" ContentType="application/vnd.openxmlformats-officedocument.themeOverride+xml"/>
  <Override PartName="/ppt/theme/themeOverride2411.xml" ContentType="application/vnd.openxmlformats-officedocument.themeOverride+xml"/>
  <Override PartName="/ppt/theme/themeOverride2412.xml" ContentType="application/vnd.openxmlformats-officedocument.themeOverride+xml"/>
  <Override PartName="/ppt/theme/themeOverride2413.xml" ContentType="application/vnd.openxmlformats-officedocument.themeOverride+xml"/>
  <Override PartName="/ppt/theme/themeOverride2414.xml" ContentType="application/vnd.openxmlformats-officedocument.themeOverride+xml"/>
  <Override PartName="/ppt/theme/themeOverride2415.xml" ContentType="application/vnd.openxmlformats-officedocument.themeOverride+xml"/>
  <Override PartName="/ppt/theme/themeOverride2416.xml" ContentType="application/vnd.openxmlformats-officedocument.themeOverride+xml"/>
  <Override PartName="/ppt/theme/themeOverride2417.xml" ContentType="application/vnd.openxmlformats-officedocument.themeOverride+xml"/>
  <Override PartName="/ppt/theme/themeOverride2418.xml" ContentType="application/vnd.openxmlformats-officedocument.themeOverride+xml"/>
  <Override PartName="/ppt/theme/themeOverride2419.xml" ContentType="application/vnd.openxmlformats-officedocument.themeOverride+xml"/>
  <Override PartName="/ppt/theme/themeOverride242.xml" ContentType="application/vnd.openxmlformats-officedocument.themeOverride+xml"/>
  <Override PartName="/ppt/theme/themeOverride2420.xml" ContentType="application/vnd.openxmlformats-officedocument.themeOverride+xml"/>
  <Override PartName="/ppt/theme/themeOverride2421.xml" ContentType="application/vnd.openxmlformats-officedocument.themeOverride+xml"/>
  <Override PartName="/ppt/theme/themeOverride2422.xml" ContentType="application/vnd.openxmlformats-officedocument.themeOverride+xml"/>
  <Override PartName="/ppt/theme/themeOverride2423.xml" ContentType="application/vnd.openxmlformats-officedocument.themeOverride+xml"/>
  <Override PartName="/ppt/theme/themeOverride2424.xml" ContentType="application/vnd.openxmlformats-officedocument.themeOverride+xml"/>
  <Override PartName="/ppt/theme/themeOverride2425.xml" ContentType="application/vnd.openxmlformats-officedocument.themeOverride+xml"/>
  <Override PartName="/ppt/theme/themeOverride2426.xml" ContentType="application/vnd.openxmlformats-officedocument.themeOverride+xml"/>
  <Override PartName="/ppt/theme/themeOverride2427.xml" ContentType="application/vnd.openxmlformats-officedocument.themeOverride+xml"/>
  <Override PartName="/ppt/theme/themeOverride2428.xml" ContentType="application/vnd.openxmlformats-officedocument.themeOverride+xml"/>
  <Override PartName="/ppt/theme/themeOverride2429.xml" ContentType="application/vnd.openxmlformats-officedocument.themeOverride+xml"/>
  <Override PartName="/ppt/theme/themeOverride243.xml" ContentType="application/vnd.openxmlformats-officedocument.themeOverride+xml"/>
  <Override PartName="/ppt/theme/themeOverride2430.xml" ContentType="application/vnd.openxmlformats-officedocument.themeOverride+xml"/>
  <Override PartName="/ppt/theme/themeOverride2431.xml" ContentType="application/vnd.openxmlformats-officedocument.themeOverride+xml"/>
  <Override PartName="/ppt/theme/themeOverride2432.xml" ContentType="application/vnd.openxmlformats-officedocument.themeOverride+xml"/>
  <Override PartName="/ppt/theme/themeOverride2433.xml" ContentType="application/vnd.openxmlformats-officedocument.themeOverride+xml"/>
  <Override PartName="/ppt/theme/themeOverride2434.xml" ContentType="application/vnd.openxmlformats-officedocument.themeOverride+xml"/>
  <Override PartName="/ppt/theme/themeOverride2435.xml" ContentType="application/vnd.openxmlformats-officedocument.themeOverride+xml"/>
  <Override PartName="/ppt/theme/themeOverride2436.xml" ContentType="application/vnd.openxmlformats-officedocument.themeOverride+xml"/>
  <Override PartName="/ppt/theme/themeOverride2437.xml" ContentType="application/vnd.openxmlformats-officedocument.themeOverride+xml"/>
  <Override PartName="/ppt/theme/themeOverride2438.xml" ContentType="application/vnd.openxmlformats-officedocument.themeOverride+xml"/>
  <Override PartName="/ppt/theme/themeOverride2439.xml" ContentType="application/vnd.openxmlformats-officedocument.themeOverride+xml"/>
  <Override PartName="/ppt/theme/themeOverride244.xml" ContentType="application/vnd.openxmlformats-officedocument.themeOverride+xml"/>
  <Override PartName="/ppt/theme/themeOverride2440.xml" ContentType="application/vnd.openxmlformats-officedocument.themeOverride+xml"/>
  <Override PartName="/ppt/theme/themeOverride2441.xml" ContentType="application/vnd.openxmlformats-officedocument.themeOverride+xml"/>
  <Override PartName="/ppt/theme/themeOverride2442.xml" ContentType="application/vnd.openxmlformats-officedocument.themeOverride+xml"/>
  <Override PartName="/ppt/theme/themeOverride2443.xml" ContentType="application/vnd.openxmlformats-officedocument.themeOverride+xml"/>
  <Override PartName="/ppt/theme/themeOverride2444.xml" ContentType="application/vnd.openxmlformats-officedocument.themeOverride+xml"/>
  <Override PartName="/ppt/theme/themeOverride2445.xml" ContentType="application/vnd.openxmlformats-officedocument.themeOverride+xml"/>
  <Override PartName="/ppt/theme/themeOverride2446.xml" ContentType="application/vnd.openxmlformats-officedocument.themeOverride+xml"/>
  <Override PartName="/ppt/theme/themeOverride2447.xml" ContentType="application/vnd.openxmlformats-officedocument.themeOverride+xml"/>
  <Override PartName="/ppt/theme/themeOverride2448.xml" ContentType="application/vnd.openxmlformats-officedocument.themeOverride+xml"/>
  <Override PartName="/ppt/theme/themeOverride2449.xml" ContentType="application/vnd.openxmlformats-officedocument.themeOverride+xml"/>
  <Override PartName="/ppt/theme/themeOverride245.xml" ContentType="application/vnd.openxmlformats-officedocument.themeOverride+xml"/>
  <Override PartName="/ppt/theme/themeOverride2450.xml" ContentType="application/vnd.openxmlformats-officedocument.themeOverride+xml"/>
  <Override PartName="/ppt/theme/themeOverride2451.xml" ContentType="application/vnd.openxmlformats-officedocument.themeOverride+xml"/>
  <Override PartName="/ppt/theme/themeOverride2452.xml" ContentType="application/vnd.openxmlformats-officedocument.themeOverride+xml"/>
  <Override PartName="/ppt/theme/themeOverride2453.xml" ContentType="application/vnd.openxmlformats-officedocument.themeOverride+xml"/>
  <Override PartName="/ppt/theme/themeOverride2454.xml" ContentType="application/vnd.openxmlformats-officedocument.themeOverride+xml"/>
  <Override PartName="/ppt/theme/themeOverride2455.xml" ContentType="application/vnd.openxmlformats-officedocument.themeOverride+xml"/>
  <Override PartName="/ppt/theme/themeOverride2456.xml" ContentType="application/vnd.openxmlformats-officedocument.themeOverride+xml"/>
  <Override PartName="/ppt/theme/themeOverride2457.xml" ContentType="application/vnd.openxmlformats-officedocument.themeOverride+xml"/>
  <Override PartName="/ppt/theme/themeOverride2458.xml" ContentType="application/vnd.openxmlformats-officedocument.themeOverride+xml"/>
  <Override PartName="/ppt/theme/themeOverride2459.xml" ContentType="application/vnd.openxmlformats-officedocument.themeOverride+xml"/>
  <Override PartName="/ppt/theme/themeOverride246.xml" ContentType="application/vnd.openxmlformats-officedocument.themeOverride+xml"/>
  <Override PartName="/ppt/theme/themeOverride2460.xml" ContentType="application/vnd.openxmlformats-officedocument.themeOverride+xml"/>
  <Override PartName="/ppt/theme/themeOverride2461.xml" ContentType="application/vnd.openxmlformats-officedocument.themeOverride+xml"/>
  <Override PartName="/ppt/theme/themeOverride2462.xml" ContentType="application/vnd.openxmlformats-officedocument.themeOverride+xml"/>
  <Override PartName="/ppt/theme/themeOverride2463.xml" ContentType="application/vnd.openxmlformats-officedocument.themeOverride+xml"/>
  <Override PartName="/ppt/theme/themeOverride2464.xml" ContentType="application/vnd.openxmlformats-officedocument.themeOverride+xml"/>
  <Override PartName="/ppt/theme/themeOverride2465.xml" ContentType="application/vnd.openxmlformats-officedocument.themeOverride+xml"/>
  <Override PartName="/ppt/theme/themeOverride2466.xml" ContentType="application/vnd.openxmlformats-officedocument.themeOverride+xml"/>
  <Override PartName="/ppt/theme/themeOverride2467.xml" ContentType="application/vnd.openxmlformats-officedocument.themeOverride+xml"/>
  <Override PartName="/ppt/theme/themeOverride2468.xml" ContentType="application/vnd.openxmlformats-officedocument.themeOverride+xml"/>
  <Override PartName="/ppt/theme/themeOverride2469.xml" ContentType="application/vnd.openxmlformats-officedocument.themeOverride+xml"/>
  <Override PartName="/ppt/theme/themeOverride247.xml" ContentType="application/vnd.openxmlformats-officedocument.themeOverride+xml"/>
  <Override PartName="/ppt/theme/themeOverride2470.xml" ContentType="application/vnd.openxmlformats-officedocument.themeOverride+xml"/>
  <Override PartName="/ppt/theme/themeOverride2471.xml" ContentType="application/vnd.openxmlformats-officedocument.themeOverride+xml"/>
  <Override PartName="/ppt/theme/themeOverride2472.xml" ContentType="application/vnd.openxmlformats-officedocument.themeOverride+xml"/>
  <Override PartName="/ppt/theme/themeOverride2473.xml" ContentType="application/vnd.openxmlformats-officedocument.themeOverride+xml"/>
  <Override PartName="/ppt/theme/themeOverride2474.xml" ContentType="application/vnd.openxmlformats-officedocument.themeOverride+xml"/>
  <Override PartName="/ppt/theme/themeOverride2475.xml" ContentType="application/vnd.openxmlformats-officedocument.themeOverride+xml"/>
  <Override PartName="/ppt/theme/themeOverride2476.xml" ContentType="application/vnd.openxmlformats-officedocument.themeOverride+xml"/>
  <Override PartName="/ppt/theme/themeOverride2477.xml" ContentType="application/vnd.openxmlformats-officedocument.themeOverride+xml"/>
  <Override PartName="/ppt/theme/themeOverride2478.xml" ContentType="application/vnd.openxmlformats-officedocument.themeOverride+xml"/>
  <Override PartName="/ppt/theme/themeOverride2479.xml" ContentType="application/vnd.openxmlformats-officedocument.themeOverride+xml"/>
  <Override PartName="/ppt/theme/themeOverride248.xml" ContentType="application/vnd.openxmlformats-officedocument.themeOverride+xml"/>
  <Override PartName="/ppt/theme/themeOverride2480.xml" ContentType="application/vnd.openxmlformats-officedocument.themeOverride+xml"/>
  <Override PartName="/ppt/theme/themeOverride2481.xml" ContentType="application/vnd.openxmlformats-officedocument.themeOverride+xml"/>
  <Override PartName="/ppt/theme/themeOverride2482.xml" ContentType="application/vnd.openxmlformats-officedocument.themeOverride+xml"/>
  <Override PartName="/ppt/theme/themeOverride2483.xml" ContentType="application/vnd.openxmlformats-officedocument.themeOverride+xml"/>
  <Override PartName="/ppt/theme/themeOverride2484.xml" ContentType="application/vnd.openxmlformats-officedocument.themeOverride+xml"/>
  <Override PartName="/ppt/theme/themeOverride2485.xml" ContentType="application/vnd.openxmlformats-officedocument.themeOverride+xml"/>
  <Override PartName="/ppt/theme/themeOverride2486.xml" ContentType="application/vnd.openxmlformats-officedocument.themeOverride+xml"/>
  <Override PartName="/ppt/theme/themeOverride2487.xml" ContentType="application/vnd.openxmlformats-officedocument.themeOverride+xml"/>
  <Override PartName="/ppt/theme/themeOverride2488.xml" ContentType="application/vnd.openxmlformats-officedocument.themeOverride+xml"/>
  <Override PartName="/ppt/theme/themeOverride2489.xml" ContentType="application/vnd.openxmlformats-officedocument.themeOverride+xml"/>
  <Override PartName="/ppt/theme/themeOverride249.xml" ContentType="application/vnd.openxmlformats-officedocument.themeOverride+xml"/>
  <Override PartName="/ppt/theme/themeOverride2490.xml" ContentType="application/vnd.openxmlformats-officedocument.themeOverride+xml"/>
  <Override PartName="/ppt/theme/themeOverride2491.xml" ContentType="application/vnd.openxmlformats-officedocument.themeOverride+xml"/>
  <Override PartName="/ppt/theme/themeOverride2492.xml" ContentType="application/vnd.openxmlformats-officedocument.themeOverride+xml"/>
  <Override PartName="/ppt/theme/themeOverride2493.xml" ContentType="application/vnd.openxmlformats-officedocument.themeOverride+xml"/>
  <Override PartName="/ppt/theme/themeOverride2494.xml" ContentType="application/vnd.openxmlformats-officedocument.themeOverride+xml"/>
  <Override PartName="/ppt/theme/themeOverride2495.xml" ContentType="application/vnd.openxmlformats-officedocument.themeOverride+xml"/>
  <Override PartName="/ppt/theme/themeOverride2496.xml" ContentType="application/vnd.openxmlformats-officedocument.themeOverride+xml"/>
  <Override PartName="/ppt/theme/themeOverride2497.xml" ContentType="application/vnd.openxmlformats-officedocument.themeOverride+xml"/>
  <Override PartName="/ppt/theme/themeOverride2498.xml" ContentType="application/vnd.openxmlformats-officedocument.themeOverride+xml"/>
  <Override PartName="/ppt/theme/themeOverride2499.xml" ContentType="application/vnd.openxmlformats-officedocument.themeOverride+xml"/>
  <Override PartName="/ppt/theme/themeOverride25.xml" ContentType="application/vnd.openxmlformats-officedocument.themeOverride+xml"/>
  <Override PartName="/ppt/theme/themeOverride250.xml" ContentType="application/vnd.openxmlformats-officedocument.themeOverride+xml"/>
  <Override PartName="/ppt/theme/themeOverride2500.xml" ContentType="application/vnd.openxmlformats-officedocument.themeOverride+xml"/>
  <Override PartName="/ppt/theme/themeOverride2501.xml" ContentType="application/vnd.openxmlformats-officedocument.themeOverride+xml"/>
  <Override PartName="/ppt/theme/themeOverride2502.xml" ContentType="application/vnd.openxmlformats-officedocument.themeOverride+xml"/>
  <Override PartName="/ppt/theme/themeOverride2503.xml" ContentType="application/vnd.openxmlformats-officedocument.themeOverride+xml"/>
  <Override PartName="/ppt/theme/themeOverride2504.xml" ContentType="application/vnd.openxmlformats-officedocument.themeOverride+xml"/>
  <Override PartName="/ppt/theme/themeOverride2505.xml" ContentType="application/vnd.openxmlformats-officedocument.themeOverride+xml"/>
  <Override PartName="/ppt/theme/themeOverride2506.xml" ContentType="application/vnd.openxmlformats-officedocument.themeOverride+xml"/>
  <Override PartName="/ppt/theme/themeOverride2507.xml" ContentType="application/vnd.openxmlformats-officedocument.themeOverride+xml"/>
  <Override PartName="/ppt/theme/themeOverride2508.xml" ContentType="application/vnd.openxmlformats-officedocument.themeOverride+xml"/>
  <Override PartName="/ppt/theme/themeOverride2509.xml" ContentType="application/vnd.openxmlformats-officedocument.themeOverride+xml"/>
  <Override PartName="/ppt/theme/themeOverride251.xml" ContentType="application/vnd.openxmlformats-officedocument.themeOverride+xml"/>
  <Override PartName="/ppt/theme/themeOverride2510.xml" ContentType="application/vnd.openxmlformats-officedocument.themeOverride+xml"/>
  <Override PartName="/ppt/theme/themeOverride2511.xml" ContentType="application/vnd.openxmlformats-officedocument.themeOverride+xml"/>
  <Override PartName="/ppt/theme/themeOverride2512.xml" ContentType="application/vnd.openxmlformats-officedocument.themeOverride+xml"/>
  <Override PartName="/ppt/theme/themeOverride2513.xml" ContentType="application/vnd.openxmlformats-officedocument.themeOverride+xml"/>
  <Override PartName="/ppt/theme/themeOverride2514.xml" ContentType="application/vnd.openxmlformats-officedocument.themeOverride+xml"/>
  <Override PartName="/ppt/theme/themeOverride2515.xml" ContentType="application/vnd.openxmlformats-officedocument.themeOverride+xml"/>
  <Override PartName="/ppt/theme/themeOverride2516.xml" ContentType="application/vnd.openxmlformats-officedocument.themeOverride+xml"/>
  <Override PartName="/ppt/theme/themeOverride2517.xml" ContentType="application/vnd.openxmlformats-officedocument.themeOverride+xml"/>
  <Override PartName="/ppt/theme/themeOverride2518.xml" ContentType="application/vnd.openxmlformats-officedocument.themeOverride+xml"/>
  <Override PartName="/ppt/theme/themeOverride2519.xml" ContentType="application/vnd.openxmlformats-officedocument.themeOverride+xml"/>
  <Override PartName="/ppt/theme/themeOverride252.xml" ContentType="application/vnd.openxmlformats-officedocument.themeOverride+xml"/>
  <Override PartName="/ppt/theme/themeOverride2520.xml" ContentType="application/vnd.openxmlformats-officedocument.themeOverride+xml"/>
  <Override PartName="/ppt/theme/themeOverride2521.xml" ContentType="application/vnd.openxmlformats-officedocument.themeOverride+xml"/>
  <Override PartName="/ppt/theme/themeOverride2522.xml" ContentType="application/vnd.openxmlformats-officedocument.themeOverride+xml"/>
  <Override PartName="/ppt/theme/themeOverride2523.xml" ContentType="application/vnd.openxmlformats-officedocument.themeOverride+xml"/>
  <Override PartName="/ppt/theme/themeOverride2524.xml" ContentType="application/vnd.openxmlformats-officedocument.themeOverride+xml"/>
  <Override PartName="/ppt/theme/themeOverride2525.xml" ContentType="application/vnd.openxmlformats-officedocument.themeOverride+xml"/>
  <Override PartName="/ppt/theme/themeOverride2526.xml" ContentType="application/vnd.openxmlformats-officedocument.themeOverride+xml"/>
  <Override PartName="/ppt/theme/themeOverride2527.xml" ContentType="application/vnd.openxmlformats-officedocument.themeOverride+xml"/>
  <Override PartName="/ppt/theme/themeOverride2528.xml" ContentType="application/vnd.openxmlformats-officedocument.themeOverride+xml"/>
  <Override PartName="/ppt/theme/themeOverride2529.xml" ContentType="application/vnd.openxmlformats-officedocument.themeOverride+xml"/>
  <Override PartName="/ppt/theme/themeOverride253.xml" ContentType="application/vnd.openxmlformats-officedocument.themeOverride+xml"/>
  <Override PartName="/ppt/theme/themeOverride2530.xml" ContentType="application/vnd.openxmlformats-officedocument.themeOverride+xml"/>
  <Override PartName="/ppt/theme/themeOverride2531.xml" ContentType="application/vnd.openxmlformats-officedocument.themeOverride+xml"/>
  <Override PartName="/ppt/theme/themeOverride2532.xml" ContentType="application/vnd.openxmlformats-officedocument.themeOverride+xml"/>
  <Override PartName="/ppt/theme/themeOverride2533.xml" ContentType="application/vnd.openxmlformats-officedocument.themeOverride+xml"/>
  <Override PartName="/ppt/theme/themeOverride2534.xml" ContentType="application/vnd.openxmlformats-officedocument.themeOverride+xml"/>
  <Override PartName="/ppt/theme/themeOverride2535.xml" ContentType="application/vnd.openxmlformats-officedocument.themeOverride+xml"/>
  <Override PartName="/ppt/theme/themeOverride2536.xml" ContentType="application/vnd.openxmlformats-officedocument.themeOverride+xml"/>
  <Override PartName="/ppt/theme/themeOverride2537.xml" ContentType="application/vnd.openxmlformats-officedocument.themeOverride+xml"/>
  <Override PartName="/ppt/theme/themeOverride2538.xml" ContentType="application/vnd.openxmlformats-officedocument.themeOverride+xml"/>
  <Override PartName="/ppt/theme/themeOverride2539.xml" ContentType="application/vnd.openxmlformats-officedocument.themeOverride+xml"/>
  <Override PartName="/ppt/theme/themeOverride254.xml" ContentType="application/vnd.openxmlformats-officedocument.themeOverride+xml"/>
  <Override PartName="/ppt/theme/themeOverride2540.xml" ContentType="application/vnd.openxmlformats-officedocument.themeOverride+xml"/>
  <Override PartName="/ppt/theme/themeOverride2541.xml" ContentType="application/vnd.openxmlformats-officedocument.themeOverride+xml"/>
  <Override PartName="/ppt/theme/themeOverride2542.xml" ContentType="application/vnd.openxmlformats-officedocument.themeOverride+xml"/>
  <Override PartName="/ppt/theme/themeOverride2543.xml" ContentType="application/vnd.openxmlformats-officedocument.themeOverride+xml"/>
  <Override PartName="/ppt/theme/themeOverride2544.xml" ContentType="application/vnd.openxmlformats-officedocument.themeOverride+xml"/>
  <Override PartName="/ppt/theme/themeOverride2545.xml" ContentType="application/vnd.openxmlformats-officedocument.themeOverride+xml"/>
  <Override PartName="/ppt/theme/themeOverride2546.xml" ContentType="application/vnd.openxmlformats-officedocument.themeOverride+xml"/>
  <Override PartName="/ppt/theme/themeOverride2547.xml" ContentType="application/vnd.openxmlformats-officedocument.themeOverride+xml"/>
  <Override PartName="/ppt/theme/themeOverride2548.xml" ContentType="application/vnd.openxmlformats-officedocument.themeOverride+xml"/>
  <Override PartName="/ppt/theme/themeOverride2549.xml" ContentType="application/vnd.openxmlformats-officedocument.themeOverride+xml"/>
  <Override PartName="/ppt/theme/themeOverride255.xml" ContentType="application/vnd.openxmlformats-officedocument.themeOverride+xml"/>
  <Override PartName="/ppt/theme/themeOverride2550.xml" ContentType="application/vnd.openxmlformats-officedocument.themeOverride+xml"/>
  <Override PartName="/ppt/theme/themeOverride2551.xml" ContentType="application/vnd.openxmlformats-officedocument.themeOverride+xml"/>
  <Override PartName="/ppt/theme/themeOverride2552.xml" ContentType="application/vnd.openxmlformats-officedocument.themeOverride+xml"/>
  <Override PartName="/ppt/theme/themeOverride2553.xml" ContentType="application/vnd.openxmlformats-officedocument.themeOverride+xml"/>
  <Override PartName="/ppt/theme/themeOverride2554.xml" ContentType="application/vnd.openxmlformats-officedocument.themeOverride+xml"/>
  <Override PartName="/ppt/theme/themeOverride2555.xml" ContentType="application/vnd.openxmlformats-officedocument.themeOverride+xml"/>
  <Override PartName="/ppt/theme/themeOverride2556.xml" ContentType="application/vnd.openxmlformats-officedocument.themeOverride+xml"/>
  <Override PartName="/ppt/theme/themeOverride2557.xml" ContentType="application/vnd.openxmlformats-officedocument.themeOverride+xml"/>
  <Override PartName="/ppt/theme/themeOverride2558.xml" ContentType="application/vnd.openxmlformats-officedocument.themeOverride+xml"/>
  <Override PartName="/ppt/theme/themeOverride2559.xml" ContentType="application/vnd.openxmlformats-officedocument.themeOverride+xml"/>
  <Override PartName="/ppt/theme/themeOverride256.xml" ContentType="application/vnd.openxmlformats-officedocument.themeOverride+xml"/>
  <Override PartName="/ppt/theme/themeOverride2560.xml" ContentType="application/vnd.openxmlformats-officedocument.themeOverride+xml"/>
  <Override PartName="/ppt/theme/themeOverride2561.xml" ContentType="application/vnd.openxmlformats-officedocument.themeOverride+xml"/>
  <Override PartName="/ppt/theme/themeOverride2562.xml" ContentType="application/vnd.openxmlformats-officedocument.themeOverride+xml"/>
  <Override PartName="/ppt/theme/themeOverride2563.xml" ContentType="application/vnd.openxmlformats-officedocument.themeOverride+xml"/>
  <Override PartName="/ppt/theme/themeOverride2564.xml" ContentType="application/vnd.openxmlformats-officedocument.themeOverride+xml"/>
  <Override PartName="/ppt/theme/themeOverride2565.xml" ContentType="application/vnd.openxmlformats-officedocument.themeOverride+xml"/>
  <Override PartName="/ppt/theme/themeOverride2566.xml" ContentType="application/vnd.openxmlformats-officedocument.themeOverride+xml"/>
  <Override PartName="/ppt/theme/themeOverride2567.xml" ContentType="application/vnd.openxmlformats-officedocument.themeOverride+xml"/>
  <Override PartName="/ppt/theme/themeOverride2568.xml" ContentType="application/vnd.openxmlformats-officedocument.themeOverride+xml"/>
  <Override PartName="/ppt/theme/themeOverride2569.xml" ContentType="application/vnd.openxmlformats-officedocument.themeOverride+xml"/>
  <Override PartName="/ppt/theme/themeOverride257.xml" ContentType="application/vnd.openxmlformats-officedocument.themeOverride+xml"/>
  <Override PartName="/ppt/theme/themeOverride2570.xml" ContentType="application/vnd.openxmlformats-officedocument.themeOverride+xml"/>
  <Override PartName="/ppt/theme/themeOverride2571.xml" ContentType="application/vnd.openxmlformats-officedocument.themeOverride+xml"/>
  <Override PartName="/ppt/theme/themeOverride2572.xml" ContentType="application/vnd.openxmlformats-officedocument.themeOverride+xml"/>
  <Override PartName="/ppt/theme/themeOverride2573.xml" ContentType="application/vnd.openxmlformats-officedocument.themeOverride+xml"/>
  <Override PartName="/ppt/theme/themeOverride2574.xml" ContentType="application/vnd.openxmlformats-officedocument.themeOverride+xml"/>
  <Override PartName="/ppt/theme/themeOverride2575.xml" ContentType="application/vnd.openxmlformats-officedocument.themeOverride+xml"/>
  <Override PartName="/ppt/theme/themeOverride2576.xml" ContentType="application/vnd.openxmlformats-officedocument.themeOverride+xml"/>
  <Override PartName="/ppt/theme/themeOverride2577.xml" ContentType="application/vnd.openxmlformats-officedocument.themeOverride+xml"/>
  <Override PartName="/ppt/theme/themeOverride2578.xml" ContentType="application/vnd.openxmlformats-officedocument.themeOverride+xml"/>
  <Override PartName="/ppt/theme/themeOverride2579.xml" ContentType="application/vnd.openxmlformats-officedocument.themeOverride+xml"/>
  <Override PartName="/ppt/theme/themeOverride258.xml" ContentType="application/vnd.openxmlformats-officedocument.themeOverride+xml"/>
  <Override PartName="/ppt/theme/themeOverride2580.xml" ContentType="application/vnd.openxmlformats-officedocument.themeOverride+xml"/>
  <Override PartName="/ppt/theme/themeOverride2581.xml" ContentType="application/vnd.openxmlformats-officedocument.themeOverride+xml"/>
  <Override PartName="/ppt/theme/themeOverride2582.xml" ContentType="application/vnd.openxmlformats-officedocument.themeOverride+xml"/>
  <Override PartName="/ppt/theme/themeOverride2583.xml" ContentType="application/vnd.openxmlformats-officedocument.themeOverride+xml"/>
  <Override PartName="/ppt/theme/themeOverride2584.xml" ContentType="application/vnd.openxmlformats-officedocument.themeOverride+xml"/>
  <Override PartName="/ppt/theme/themeOverride2585.xml" ContentType="application/vnd.openxmlformats-officedocument.themeOverride+xml"/>
  <Override PartName="/ppt/theme/themeOverride2586.xml" ContentType="application/vnd.openxmlformats-officedocument.themeOverride+xml"/>
  <Override PartName="/ppt/theme/themeOverride2587.xml" ContentType="application/vnd.openxmlformats-officedocument.themeOverride+xml"/>
  <Override PartName="/ppt/theme/themeOverride2588.xml" ContentType="application/vnd.openxmlformats-officedocument.themeOverride+xml"/>
  <Override PartName="/ppt/theme/themeOverride2589.xml" ContentType="application/vnd.openxmlformats-officedocument.themeOverride+xml"/>
  <Override PartName="/ppt/theme/themeOverride259.xml" ContentType="application/vnd.openxmlformats-officedocument.themeOverride+xml"/>
  <Override PartName="/ppt/theme/themeOverride2590.xml" ContentType="application/vnd.openxmlformats-officedocument.themeOverride+xml"/>
  <Override PartName="/ppt/theme/themeOverride2591.xml" ContentType="application/vnd.openxmlformats-officedocument.themeOverride+xml"/>
  <Override PartName="/ppt/theme/themeOverride2592.xml" ContentType="application/vnd.openxmlformats-officedocument.themeOverride+xml"/>
  <Override PartName="/ppt/theme/themeOverride2593.xml" ContentType="application/vnd.openxmlformats-officedocument.themeOverride+xml"/>
  <Override PartName="/ppt/theme/themeOverride2594.xml" ContentType="application/vnd.openxmlformats-officedocument.themeOverride+xml"/>
  <Override PartName="/ppt/theme/themeOverride2595.xml" ContentType="application/vnd.openxmlformats-officedocument.themeOverride+xml"/>
  <Override PartName="/ppt/theme/themeOverride2596.xml" ContentType="application/vnd.openxmlformats-officedocument.themeOverride+xml"/>
  <Override PartName="/ppt/theme/themeOverride2597.xml" ContentType="application/vnd.openxmlformats-officedocument.themeOverride+xml"/>
  <Override PartName="/ppt/theme/themeOverride2598.xml" ContentType="application/vnd.openxmlformats-officedocument.themeOverride+xml"/>
  <Override PartName="/ppt/theme/themeOverride2599.xml" ContentType="application/vnd.openxmlformats-officedocument.themeOverride+xml"/>
  <Override PartName="/ppt/theme/themeOverride26.xml" ContentType="application/vnd.openxmlformats-officedocument.themeOverride+xml"/>
  <Override PartName="/ppt/theme/themeOverride260.xml" ContentType="application/vnd.openxmlformats-officedocument.themeOverride+xml"/>
  <Override PartName="/ppt/theme/themeOverride2600.xml" ContentType="application/vnd.openxmlformats-officedocument.themeOverride+xml"/>
  <Override PartName="/ppt/theme/themeOverride2601.xml" ContentType="application/vnd.openxmlformats-officedocument.themeOverride+xml"/>
  <Override PartName="/ppt/theme/themeOverride2602.xml" ContentType="application/vnd.openxmlformats-officedocument.themeOverride+xml"/>
  <Override PartName="/ppt/theme/themeOverride2603.xml" ContentType="application/vnd.openxmlformats-officedocument.themeOverride+xml"/>
  <Override PartName="/ppt/theme/themeOverride2604.xml" ContentType="application/vnd.openxmlformats-officedocument.themeOverride+xml"/>
  <Override PartName="/ppt/theme/themeOverride2605.xml" ContentType="application/vnd.openxmlformats-officedocument.themeOverride+xml"/>
  <Override PartName="/ppt/theme/themeOverride2606.xml" ContentType="application/vnd.openxmlformats-officedocument.themeOverride+xml"/>
  <Override PartName="/ppt/theme/themeOverride2607.xml" ContentType="application/vnd.openxmlformats-officedocument.themeOverride+xml"/>
  <Override PartName="/ppt/theme/themeOverride2608.xml" ContentType="application/vnd.openxmlformats-officedocument.themeOverride+xml"/>
  <Override PartName="/ppt/theme/themeOverride2609.xml" ContentType="application/vnd.openxmlformats-officedocument.themeOverride+xml"/>
  <Override PartName="/ppt/theme/themeOverride261.xml" ContentType="application/vnd.openxmlformats-officedocument.themeOverride+xml"/>
  <Override PartName="/ppt/theme/themeOverride2610.xml" ContentType="application/vnd.openxmlformats-officedocument.themeOverride+xml"/>
  <Override PartName="/ppt/theme/themeOverride2611.xml" ContentType="application/vnd.openxmlformats-officedocument.themeOverride+xml"/>
  <Override PartName="/ppt/theme/themeOverride2612.xml" ContentType="application/vnd.openxmlformats-officedocument.themeOverride+xml"/>
  <Override PartName="/ppt/theme/themeOverride2613.xml" ContentType="application/vnd.openxmlformats-officedocument.themeOverride+xml"/>
  <Override PartName="/ppt/theme/themeOverride2614.xml" ContentType="application/vnd.openxmlformats-officedocument.themeOverride+xml"/>
  <Override PartName="/ppt/theme/themeOverride2615.xml" ContentType="application/vnd.openxmlformats-officedocument.themeOverride+xml"/>
  <Override PartName="/ppt/theme/themeOverride2616.xml" ContentType="application/vnd.openxmlformats-officedocument.themeOverride+xml"/>
  <Override PartName="/ppt/theme/themeOverride2617.xml" ContentType="application/vnd.openxmlformats-officedocument.themeOverride+xml"/>
  <Override PartName="/ppt/theme/themeOverride2618.xml" ContentType="application/vnd.openxmlformats-officedocument.themeOverride+xml"/>
  <Override PartName="/ppt/theme/themeOverride2619.xml" ContentType="application/vnd.openxmlformats-officedocument.themeOverride+xml"/>
  <Override PartName="/ppt/theme/themeOverride262.xml" ContentType="application/vnd.openxmlformats-officedocument.themeOverride+xml"/>
  <Override PartName="/ppt/theme/themeOverride2620.xml" ContentType="application/vnd.openxmlformats-officedocument.themeOverride+xml"/>
  <Override PartName="/ppt/theme/themeOverride2621.xml" ContentType="application/vnd.openxmlformats-officedocument.themeOverride+xml"/>
  <Override PartName="/ppt/theme/themeOverride2622.xml" ContentType="application/vnd.openxmlformats-officedocument.themeOverride+xml"/>
  <Override PartName="/ppt/theme/themeOverride2623.xml" ContentType="application/vnd.openxmlformats-officedocument.themeOverride+xml"/>
  <Override PartName="/ppt/theme/themeOverride2624.xml" ContentType="application/vnd.openxmlformats-officedocument.themeOverride+xml"/>
  <Override PartName="/ppt/theme/themeOverride2625.xml" ContentType="application/vnd.openxmlformats-officedocument.themeOverride+xml"/>
  <Override PartName="/ppt/theme/themeOverride2626.xml" ContentType="application/vnd.openxmlformats-officedocument.themeOverride+xml"/>
  <Override PartName="/ppt/theme/themeOverride2627.xml" ContentType="application/vnd.openxmlformats-officedocument.themeOverride+xml"/>
  <Override PartName="/ppt/theme/themeOverride2628.xml" ContentType="application/vnd.openxmlformats-officedocument.themeOverride+xml"/>
  <Override PartName="/ppt/theme/themeOverride2629.xml" ContentType="application/vnd.openxmlformats-officedocument.themeOverride+xml"/>
  <Override PartName="/ppt/theme/themeOverride263.xml" ContentType="application/vnd.openxmlformats-officedocument.themeOverride+xml"/>
  <Override PartName="/ppt/theme/themeOverride2630.xml" ContentType="application/vnd.openxmlformats-officedocument.themeOverride+xml"/>
  <Override PartName="/ppt/theme/themeOverride2631.xml" ContentType="application/vnd.openxmlformats-officedocument.themeOverride+xml"/>
  <Override PartName="/ppt/theme/themeOverride2632.xml" ContentType="application/vnd.openxmlformats-officedocument.themeOverride+xml"/>
  <Override PartName="/ppt/theme/themeOverride2633.xml" ContentType="application/vnd.openxmlformats-officedocument.themeOverride+xml"/>
  <Override PartName="/ppt/theme/themeOverride2634.xml" ContentType="application/vnd.openxmlformats-officedocument.themeOverride+xml"/>
  <Override PartName="/ppt/theme/themeOverride2635.xml" ContentType="application/vnd.openxmlformats-officedocument.themeOverride+xml"/>
  <Override PartName="/ppt/theme/themeOverride2636.xml" ContentType="application/vnd.openxmlformats-officedocument.themeOverride+xml"/>
  <Override PartName="/ppt/theme/themeOverride2637.xml" ContentType="application/vnd.openxmlformats-officedocument.themeOverride+xml"/>
  <Override PartName="/ppt/theme/themeOverride2638.xml" ContentType="application/vnd.openxmlformats-officedocument.themeOverride+xml"/>
  <Override PartName="/ppt/theme/themeOverride2639.xml" ContentType="application/vnd.openxmlformats-officedocument.themeOverride+xml"/>
  <Override PartName="/ppt/theme/themeOverride264.xml" ContentType="application/vnd.openxmlformats-officedocument.themeOverride+xml"/>
  <Override PartName="/ppt/theme/themeOverride2640.xml" ContentType="application/vnd.openxmlformats-officedocument.themeOverride+xml"/>
  <Override PartName="/ppt/theme/themeOverride2641.xml" ContentType="application/vnd.openxmlformats-officedocument.themeOverride+xml"/>
  <Override PartName="/ppt/theme/themeOverride2642.xml" ContentType="application/vnd.openxmlformats-officedocument.themeOverride+xml"/>
  <Override PartName="/ppt/theme/themeOverride2643.xml" ContentType="application/vnd.openxmlformats-officedocument.themeOverride+xml"/>
  <Override PartName="/ppt/theme/themeOverride2644.xml" ContentType="application/vnd.openxmlformats-officedocument.themeOverride+xml"/>
  <Override PartName="/ppt/theme/themeOverride2645.xml" ContentType="application/vnd.openxmlformats-officedocument.themeOverride+xml"/>
  <Override PartName="/ppt/theme/themeOverride2646.xml" ContentType="application/vnd.openxmlformats-officedocument.themeOverride+xml"/>
  <Override PartName="/ppt/theme/themeOverride2647.xml" ContentType="application/vnd.openxmlformats-officedocument.themeOverride+xml"/>
  <Override PartName="/ppt/theme/themeOverride2648.xml" ContentType="application/vnd.openxmlformats-officedocument.themeOverride+xml"/>
  <Override PartName="/ppt/theme/themeOverride2649.xml" ContentType="application/vnd.openxmlformats-officedocument.themeOverride+xml"/>
  <Override PartName="/ppt/theme/themeOverride265.xml" ContentType="application/vnd.openxmlformats-officedocument.themeOverride+xml"/>
  <Override PartName="/ppt/theme/themeOverride2650.xml" ContentType="application/vnd.openxmlformats-officedocument.themeOverride+xml"/>
  <Override PartName="/ppt/theme/themeOverride2651.xml" ContentType="application/vnd.openxmlformats-officedocument.themeOverride+xml"/>
  <Override PartName="/ppt/theme/themeOverride2652.xml" ContentType="application/vnd.openxmlformats-officedocument.themeOverride+xml"/>
  <Override PartName="/ppt/theme/themeOverride2653.xml" ContentType="application/vnd.openxmlformats-officedocument.themeOverride+xml"/>
  <Override PartName="/ppt/theme/themeOverride2654.xml" ContentType="application/vnd.openxmlformats-officedocument.themeOverride+xml"/>
  <Override PartName="/ppt/theme/themeOverride2655.xml" ContentType="application/vnd.openxmlformats-officedocument.themeOverride+xml"/>
  <Override PartName="/ppt/theme/themeOverride2656.xml" ContentType="application/vnd.openxmlformats-officedocument.themeOverride+xml"/>
  <Override PartName="/ppt/theme/themeOverride2657.xml" ContentType="application/vnd.openxmlformats-officedocument.themeOverride+xml"/>
  <Override PartName="/ppt/theme/themeOverride2658.xml" ContentType="application/vnd.openxmlformats-officedocument.themeOverride+xml"/>
  <Override PartName="/ppt/theme/themeOverride2659.xml" ContentType="application/vnd.openxmlformats-officedocument.themeOverride+xml"/>
  <Override PartName="/ppt/theme/themeOverride266.xml" ContentType="application/vnd.openxmlformats-officedocument.themeOverride+xml"/>
  <Override PartName="/ppt/theme/themeOverride2660.xml" ContentType="application/vnd.openxmlformats-officedocument.themeOverride+xml"/>
  <Override PartName="/ppt/theme/themeOverride2661.xml" ContentType="application/vnd.openxmlformats-officedocument.themeOverride+xml"/>
  <Override PartName="/ppt/theme/themeOverride2662.xml" ContentType="application/vnd.openxmlformats-officedocument.themeOverride+xml"/>
  <Override PartName="/ppt/theme/themeOverride2663.xml" ContentType="application/vnd.openxmlformats-officedocument.themeOverride+xml"/>
  <Override PartName="/ppt/theme/themeOverride2664.xml" ContentType="application/vnd.openxmlformats-officedocument.themeOverride+xml"/>
  <Override PartName="/ppt/theme/themeOverride2665.xml" ContentType="application/vnd.openxmlformats-officedocument.themeOverride+xml"/>
  <Override PartName="/ppt/theme/themeOverride2666.xml" ContentType="application/vnd.openxmlformats-officedocument.themeOverride+xml"/>
  <Override PartName="/ppt/theme/themeOverride2667.xml" ContentType="application/vnd.openxmlformats-officedocument.themeOverride+xml"/>
  <Override PartName="/ppt/theme/themeOverride2668.xml" ContentType="application/vnd.openxmlformats-officedocument.themeOverride+xml"/>
  <Override PartName="/ppt/theme/themeOverride2669.xml" ContentType="application/vnd.openxmlformats-officedocument.themeOverride+xml"/>
  <Override PartName="/ppt/theme/themeOverride267.xml" ContentType="application/vnd.openxmlformats-officedocument.themeOverride+xml"/>
  <Override PartName="/ppt/theme/themeOverride2670.xml" ContentType="application/vnd.openxmlformats-officedocument.themeOverride+xml"/>
  <Override PartName="/ppt/theme/themeOverride2671.xml" ContentType="application/vnd.openxmlformats-officedocument.themeOverride+xml"/>
  <Override PartName="/ppt/theme/themeOverride2672.xml" ContentType="application/vnd.openxmlformats-officedocument.themeOverride+xml"/>
  <Override PartName="/ppt/theme/themeOverride2673.xml" ContentType="application/vnd.openxmlformats-officedocument.themeOverride+xml"/>
  <Override PartName="/ppt/theme/themeOverride2674.xml" ContentType="application/vnd.openxmlformats-officedocument.themeOverride+xml"/>
  <Override PartName="/ppt/theme/themeOverride2675.xml" ContentType="application/vnd.openxmlformats-officedocument.themeOverride+xml"/>
  <Override PartName="/ppt/theme/themeOverride2676.xml" ContentType="application/vnd.openxmlformats-officedocument.themeOverride+xml"/>
  <Override PartName="/ppt/theme/themeOverride2677.xml" ContentType="application/vnd.openxmlformats-officedocument.themeOverride+xml"/>
  <Override PartName="/ppt/theme/themeOverride2678.xml" ContentType="application/vnd.openxmlformats-officedocument.themeOverride+xml"/>
  <Override PartName="/ppt/theme/themeOverride2679.xml" ContentType="application/vnd.openxmlformats-officedocument.themeOverride+xml"/>
  <Override PartName="/ppt/theme/themeOverride268.xml" ContentType="application/vnd.openxmlformats-officedocument.themeOverride+xml"/>
  <Override PartName="/ppt/theme/themeOverride2680.xml" ContentType="application/vnd.openxmlformats-officedocument.themeOverride+xml"/>
  <Override PartName="/ppt/theme/themeOverride2681.xml" ContentType="application/vnd.openxmlformats-officedocument.themeOverride+xml"/>
  <Override PartName="/ppt/theme/themeOverride2682.xml" ContentType="application/vnd.openxmlformats-officedocument.themeOverride+xml"/>
  <Override PartName="/ppt/theme/themeOverride2683.xml" ContentType="application/vnd.openxmlformats-officedocument.themeOverride+xml"/>
  <Override PartName="/ppt/theme/themeOverride2684.xml" ContentType="application/vnd.openxmlformats-officedocument.themeOverride+xml"/>
  <Override PartName="/ppt/theme/themeOverride2685.xml" ContentType="application/vnd.openxmlformats-officedocument.themeOverride+xml"/>
  <Override PartName="/ppt/theme/themeOverride2686.xml" ContentType="application/vnd.openxmlformats-officedocument.themeOverride+xml"/>
  <Override PartName="/ppt/theme/themeOverride2687.xml" ContentType="application/vnd.openxmlformats-officedocument.themeOverride+xml"/>
  <Override PartName="/ppt/theme/themeOverride2688.xml" ContentType="application/vnd.openxmlformats-officedocument.themeOverride+xml"/>
  <Override PartName="/ppt/theme/themeOverride2689.xml" ContentType="application/vnd.openxmlformats-officedocument.themeOverride+xml"/>
  <Override PartName="/ppt/theme/themeOverride269.xml" ContentType="application/vnd.openxmlformats-officedocument.themeOverride+xml"/>
  <Override PartName="/ppt/theme/themeOverride2690.xml" ContentType="application/vnd.openxmlformats-officedocument.themeOverride+xml"/>
  <Override PartName="/ppt/theme/themeOverride2691.xml" ContentType="application/vnd.openxmlformats-officedocument.themeOverride+xml"/>
  <Override PartName="/ppt/theme/themeOverride2692.xml" ContentType="application/vnd.openxmlformats-officedocument.themeOverride+xml"/>
  <Override PartName="/ppt/theme/themeOverride2693.xml" ContentType="application/vnd.openxmlformats-officedocument.themeOverride+xml"/>
  <Override PartName="/ppt/theme/themeOverride2694.xml" ContentType="application/vnd.openxmlformats-officedocument.themeOverride+xml"/>
  <Override PartName="/ppt/theme/themeOverride2695.xml" ContentType="application/vnd.openxmlformats-officedocument.themeOverride+xml"/>
  <Override PartName="/ppt/theme/themeOverride2696.xml" ContentType="application/vnd.openxmlformats-officedocument.themeOverride+xml"/>
  <Override PartName="/ppt/theme/themeOverride2697.xml" ContentType="application/vnd.openxmlformats-officedocument.themeOverride+xml"/>
  <Override PartName="/ppt/theme/themeOverride2698.xml" ContentType="application/vnd.openxmlformats-officedocument.themeOverride+xml"/>
  <Override PartName="/ppt/theme/themeOverride2699.xml" ContentType="application/vnd.openxmlformats-officedocument.themeOverride+xml"/>
  <Override PartName="/ppt/theme/themeOverride27.xml" ContentType="application/vnd.openxmlformats-officedocument.themeOverride+xml"/>
  <Override PartName="/ppt/theme/themeOverride270.xml" ContentType="application/vnd.openxmlformats-officedocument.themeOverride+xml"/>
  <Override PartName="/ppt/theme/themeOverride2700.xml" ContentType="application/vnd.openxmlformats-officedocument.themeOverride+xml"/>
  <Override PartName="/ppt/theme/themeOverride2701.xml" ContentType="application/vnd.openxmlformats-officedocument.themeOverride+xml"/>
  <Override PartName="/ppt/theme/themeOverride2702.xml" ContentType="application/vnd.openxmlformats-officedocument.themeOverride+xml"/>
  <Override PartName="/ppt/theme/themeOverride2703.xml" ContentType="application/vnd.openxmlformats-officedocument.themeOverride+xml"/>
  <Override PartName="/ppt/theme/themeOverride2704.xml" ContentType="application/vnd.openxmlformats-officedocument.themeOverride+xml"/>
  <Override PartName="/ppt/theme/themeOverride2705.xml" ContentType="application/vnd.openxmlformats-officedocument.themeOverride+xml"/>
  <Override PartName="/ppt/theme/themeOverride2706.xml" ContentType="application/vnd.openxmlformats-officedocument.themeOverride+xml"/>
  <Override PartName="/ppt/theme/themeOverride2707.xml" ContentType="application/vnd.openxmlformats-officedocument.themeOverride+xml"/>
  <Override PartName="/ppt/theme/themeOverride2708.xml" ContentType="application/vnd.openxmlformats-officedocument.themeOverride+xml"/>
  <Override PartName="/ppt/theme/themeOverride2709.xml" ContentType="application/vnd.openxmlformats-officedocument.themeOverride+xml"/>
  <Override PartName="/ppt/theme/themeOverride271.xml" ContentType="application/vnd.openxmlformats-officedocument.themeOverride+xml"/>
  <Override PartName="/ppt/theme/themeOverride2710.xml" ContentType="application/vnd.openxmlformats-officedocument.themeOverride+xml"/>
  <Override PartName="/ppt/theme/themeOverride2711.xml" ContentType="application/vnd.openxmlformats-officedocument.themeOverride+xml"/>
  <Override PartName="/ppt/theme/themeOverride2712.xml" ContentType="application/vnd.openxmlformats-officedocument.themeOverride+xml"/>
  <Override PartName="/ppt/theme/themeOverride2713.xml" ContentType="application/vnd.openxmlformats-officedocument.themeOverride+xml"/>
  <Override PartName="/ppt/theme/themeOverride2714.xml" ContentType="application/vnd.openxmlformats-officedocument.themeOverride+xml"/>
  <Override PartName="/ppt/theme/themeOverride2715.xml" ContentType="application/vnd.openxmlformats-officedocument.themeOverride+xml"/>
  <Override PartName="/ppt/theme/themeOverride2716.xml" ContentType="application/vnd.openxmlformats-officedocument.themeOverride+xml"/>
  <Override PartName="/ppt/theme/themeOverride2717.xml" ContentType="application/vnd.openxmlformats-officedocument.themeOverride+xml"/>
  <Override PartName="/ppt/theme/themeOverride2718.xml" ContentType="application/vnd.openxmlformats-officedocument.themeOverride+xml"/>
  <Override PartName="/ppt/theme/themeOverride2719.xml" ContentType="application/vnd.openxmlformats-officedocument.themeOverride+xml"/>
  <Override PartName="/ppt/theme/themeOverride272.xml" ContentType="application/vnd.openxmlformats-officedocument.themeOverride+xml"/>
  <Override PartName="/ppt/theme/themeOverride2720.xml" ContentType="application/vnd.openxmlformats-officedocument.themeOverride+xml"/>
  <Override PartName="/ppt/theme/themeOverride2721.xml" ContentType="application/vnd.openxmlformats-officedocument.themeOverride+xml"/>
  <Override PartName="/ppt/theme/themeOverride2722.xml" ContentType="application/vnd.openxmlformats-officedocument.themeOverride+xml"/>
  <Override PartName="/ppt/theme/themeOverride2723.xml" ContentType="application/vnd.openxmlformats-officedocument.themeOverride+xml"/>
  <Override PartName="/ppt/theme/themeOverride2724.xml" ContentType="application/vnd.openxmlformats-officedocument.themeOverride+xml"/>
  <Override PartName="/ppt/theme/themeOverride2725.xml" ContentType="application/vnd.openxmlformats-officedocument.themeOverride+xml"/>
  <Override PartName="/ppt/theme/themeOverride2726.xml" ContentType="application/vnd.openxmlformats-officedocument.themeOverride+xml"/>
  <Override PartName="/ppt/theme/themeOverride2727.xml" ContentType="application/vnd.openxmlformats-officedocument.themeOverride+xml"/>
  <Override PartName="/ppt/theme/themeOverride2728.xml" ContentType="application/vnd.openxmlformats-officedocument.themeOverride+xml"/>
  <Override PartName="/ppt/theme/themeOverride2729.xml" ContentType="application/vnd.openxmlformats-officedocument.themeOverride+xml"/>
  <Override PartName="/ppt/theme/themeOverride273.xml" ContentType="application/vnd.openxmlformats-officedocument.themeOverride+xml"/>
  <Override PartName="/ppt/theme/themeOverride2730.xml" ContentType="application/vnd.openxmlformats-officedocument.themeOverride+xml"/>
  <Override PartName="/ppt/theme/themeOverride2731.xml" ContentType="application/vnd.openxmlformats-officedocument.themeOverride+xml"/>
  <Override PartName="/ppt/theme/themeOverride2732.xml" ContentType="application/vnd.openxmlformats-officedocument.themeOverride+xml"/>
  <Override PartName="/ppt/theme/themeOverride2733.xml" ContentType="application/vnd.openxmlformats-officedocument.themeOverride+xml"/>
  <Override PartName="/ppt/theme/themeOverride2734.xml" ContentType="application/vnd.openxmlformats-officedocument.themeOverride+xml"/>
  <Override PartName="/ppt/theme/themeOverride2735.xml" ContentType="application/vnd.openxmlformats-officedocument.themeOverride+xml"/>
  <Override PartName="/ppt/theme/themeOverride2736.xml" ContentType="application/vnd.openxmlformats-officedocument.themeOverride+xml"/>
  <Override PartName="/ppt/theme/themeOverride2737.xml" ContentType="application/vnd.openxmlformats-officedocument.themeOverride+xml"/>
  <Override PartName="/ppt/theme/themeOverride2738.xml" ContentType="application/vnd.openxmlformats-officedocument.themeOverride+xml"/>
  <Override PartName="/ppt/theme/themeOverride2739.xml" ContentType="application/vnd.openxmlformats-officedocument.themeOverride+xml"/>
  <Override PartName="/ppt/theme/themeOverride274.xml" ContentType="application/vnd.openxmlformats-officedocument.themeOverride+xml"/>
  <Override PartName="/ppt/theme/themeOverride2740.xml" ContentType="application/vnd.openxmlformats-officedocument.themeOverride+xml"/>
  <Override PartName="/ppt/theme/themeOverride2741.xml" ContentType="application/vnd.openxmlformats-officedocument.themeOverride+xml"/>
  <Override PartName="/ppt/theme/themeOverride2742.xml" ContentType="application/vnd.openxmlformats-officedocument.themeOverride+xml"/>
  <Override PartName="/ppt/theme/themeOverride2743.xml" ContentType="application/vnd.openxmlformats-officedocument.themeOverride+xml"/>
  <Override PartName="/ppt/theme/themeOverride2744.xml" ContentType="application/vnd.openxmlformats-officedocument.themeOverride+xml"/>
  <Override PartName="/ppt/theme/themeOverride2745.xml" ContentType="application/vnd.openxmlformats-officedocument.themeOverride+xml"/>
  <Override PartName="/ppt/theme/themeOverride2746.xml" ContentType="application/vnd.openxmlformats-officedocument.themeOverride+xml"/>
  <Override PartName="/ppt/theme/themeOverride2747.xml" ContentType="application/vnd.openxmlformats-officedocument.themeOverride+xml"/>
  <Override PartName="/ppt/theme/themeOverride2748.xml" ContentType="application/vnd.openxmlformats-officedocument.themeOverride+xml"/>
  <Override PartName="/ppt/theme/themeOverride2749.xml" ContentType="application/vnd.openxmlformats-officedocument.themeOverride+xml"/>
  <Override PartName="/ppt/theme/themeOverride275.xml" ContentType="application/vnd.openxmlformats-officedocument.themeOverride+xml"/>
  <Override PartName="/ppt/theme/themeOverride2750.xml" ContentType="application/vnd.openxmlformats-officedocument.themeOverride+xml"/>
  <Override PartName="/ppt/theme/themeOverride2751.xml" ContentType="application/vnd.openxmlformats-officedocument.themeOverride+xml"/>
  <Override PartName="/ppt/theme/themeOverride2752.xml" ContentType="application/vnd.openxmlformats-officedocument.themeOverride+xml"/>
  <Override PartName="/ppt/theme/themeOverride2753.xml" ContentType="application/vnd.openxmlformats-officedocument.themeOverride+xml"/>
  <Override PartName="/ppt/theme/themeOverride2754.xml" ContentType="application/vnd.openxmlformats-officedocument.themeOverride+xml"/>
  <Override PartName="/ppt/theme/themeOverride2755.xml" ContentType="application/vnd.openxmlformats-officedocument.themeOverride+xml"/>
  <Override PartName="/ppt/theme/themeOverride2756.xml" ContentType="application/vnd.openxmlformats-officedocument.themeOverride+xml"/>
  <Override PartName="/ppt/theme/themeOverride2757.xml" ContentType="application/vnd.openxmlformats-officedocument.themeOverride+xml"/>
  <Override PartName="/ppt/theme/themeOverride2758.xml" ContentType="application/vnd.openxmlformats-officedocument.themeOverride+xml"/>
  <Override PartName="/ppt/theme/themeOverride2759.xml" ContentType="application/vnd.openxmlformats-officedocument.themeOverride+xml"/>
  <Override PartName="/ppt/theme/themeOverride276.xml" ContentType="application/vnd.openxmlformats-officedocument.themeOverride+xml"/>
  <Override PartName="/ppt/theme/themeOverride2760.xml" ContentType="application/vnd.openxmlformats-officedocument.themeOverride+xml"/>
  <Override PartName="/ppt/theme/themeOverride2761.xml" ContentType="application/vnd.openxmlformats-officedocument.themeOverride+xml"/>
  <Override PartName="/ppt/theme/themeOverride2762.xml" ContentType="application/vnd.openxmlformats-officedocument.themeOverride+xml"/>
  <Override PartName="/ppt/theme/themeOverride2763.xml" ContentType="application/vnd.openxmlformats-officedocument.themeOverride+xml"/>
  <Override PartName="/ppt/theme/themeOverride2764.xml" ContentType="application/vnd.openxmlformats-officedocument.themeOverride+xml"/>
  <Override PartName="/ppt/theme/themeOverride2765.xml" ContentType="application/vnd.openxmlformats-officedocument.themeOverride+xml"/>
  <Override PartName="/ppt/theme/themeOverride2766.xml" ContentType="application/vnd.openxmlformats-officedocument.themeOverride+xml"/>
  <Override PartName="/ppt/theme/themeOverride2767.xml" ContentType="application/vnd.openxmlformats-officedocument.themeOverride+xml"/>
  <Override PartName="/ppt/theme/themeOverride2768.xml" ContentType="application/vnd.openxmlformats-officedocument.themeOverride+xml"/>
  <Override PartName="/ppt/theme/themeOverride2769.xml" ContentType="application/vnd.openxmlformats-officedocument.themeOverride+xml"/>
  <Override PartName="/ppt/theme/themeOverride277.xml" ContentType="application/vnd.openxmlformats-officedocument.themeOverride+xml"/>
  <Override PartName="/ppt/theme/themeOverride2770.xml" ContentType="application/vnd.openxmlformats-officedocument.themeOverride+xml"/>
  <Override PartName="/ppt/theme/themeOverride2771.xml" ContentType="application/vnd.openxmlformats-officedocument.themeOverride+xml"/>
  <Override PartName="/ppt/theme/themeOverride2772.xml" ContentType="application/vnd.openxmlformats-officedocument.themeOverride+xml"/>
  <Override PartName="/ppt/theme/themeOverride2773.xml" ContentType="application/vnd.openxmlformats-officedocument.themeOverride+xml"/>
  <Override PartName="/ppt/theme/themeOverride2774.xml" ContentType="application/vnd.openxmlformats-officedocument.themeOverride+xml"/>
  <Override PartName="/ppt/theme/themeOverride2775.xml" ContentType="application/vnd.openxmlformats-officedocument.themeOverride+xml"/>
  <Override PartName="/ppt/theme/themeOverride2776.xml" ContentType="application/vnd.openxmlformats-officedocument.themeOverride+xml"/>
  <Override PartName="/ppt/theme/themeOverride2777.xml" ContentType="application/vnd.openxmlformats-officedocument.themeOverride+xml"/>
  <Override PartName="/ppt/theme/themeOverride2778.xml" ContentType="application/vnd.openxmlformats-officedocument.themeOverride+xml"/>
  <Override PartName="/ppt/theme/themeOverride2779.xml" ContentType="application/vnd.openxmlformats-officedocument.themeOverride+xml"/>
  <Override PartName="/ppt/theme/themeOverride278.xml" ContentType="application/vnd.openxmlformats-officedocument.themeOverride+xml"/>
  <Override PartName="/ppt/theme/themeOverride2780.xml" ContentType="application/vnd.openxmlformats-officedocument.themeOverride+xml"/>
  <Override PartName="/ppt/theme/themeOverride2781.xml" ContentType="application/vnd.openxmlformats-officedocument.themeOverride+xml"/>
  <Override PartName="/ppt/theme/themeOverride2782.xml" ContentType="application/vnd.openxmlformats-officedocument.themeOverride+xml"/>
  <Override PartName="/ppt/theme/themeOverride2783.xml" ContentType="application/vnd.openxmlformats-officedocument.themeOverride+xml"/>
  <Override PartName="/ppt/theme/themeOverride2784.xml" ContentType="application/vnd.openxmlformats-officedocument.themeOverride+xml"/>
  <Override PartName="/ppt/theme/themeOverride2785.xml" ContentType="application/vnd.openxmlformats-officedocument.themeOverride+xml"/>
  <Override PartName="/ppt/theme/themeOverride2786.xml" ContentType="application/vnd.openxmlformats-officedocument.themeOverride+xml"/>
  <Override PartName="/ppt/theme/themeOverride2787.xml" ContentType="application/vnd.openxmlformats-officedocument.themeOverride+xml"/>
  <Override PartName="/ppt/theme/themeOverride2788.xml" ContentType="application/vnd.openxmlformats-officedocument.themeOverride+xml"/>
  <Override PartName="/ppt/theme/themeOverride2789.xml" ContentType="application/vnd.openxmlformats-officedocument.themeOverride+xml"/>
  <Override PartName="/ppt/theme/themeOverride279.xml" ContentType="application/vnd.openxmlformats-officedocument.themeOverride+xml"/>
  <Override PartName="/ppt/theme/themeOverride2790.xml" ContentType="application/vnd.openxmlformats-officedocument.themeOverride+xml"/>
  <Override PartName="/ppt/theme/themeOverride2791.xml" ContentType="application/vnd.openxmlformats-officedocument.themeOverride+xml"/>
  <Override PartName="/ppt/theme/themeOverride2792.xml" ContentType="application/vnd.openxmlformats-officedocument.themeOverride+xml"/>
  <Override PartName="/ppt/theme/themeOverride2793.xml" ContentType="application/vnd.openxmlformats-officedocument.themeOverride+xml"/>
  <Override PartName="/ppt/theme/themeOverride2794.xml" ContentType="application/vnd.openxmlformats-officedocument.themeOverride+xml"/>
  <Override PartName="/ppt/theme/themeOverride2795.xml" ContentType="application/vnd.openxmlformats-officedocument.themeOverride+xml"/>
  <Override PartName="/ppt/theme/themeOverride2796.xml" ContentType="application/vnd.openxmlformats-officedocument.themeOverride+xml"/>
  <Override PartName="/ppt/theme/themeOverride2797.xml" ContentType="application/vnd.openxmlformats-officedocument.themeOverride+xml"/>
  <Override PartName="/ppt/theme/themeOverride2798.xml" ContentType="application/vnd.openxmlformats-officedocument.themeOverride+xml"/>
  <Override PartName="/ppt/theme/themeOverride2799.xml" ContentType="application/vnd.openxmlformats-officedocument.themeOverride+xml"/>
  <Override PartName="/ppt/theme/themeOverride28.xml" ContentType="application/vnd.openxmlformats-officedocument.themeOverride+xml"/>
  <Override PartName="/ppt/theme/themeOverride280.xml" ContentType="application/vnd.openxmlformats-officedocument.themeOverride+xml"/>
  <Override PartName="/ppt/theme/themeOverride2800.xml" ContentType="application/vnd.openxmlformats-officedocument.themeOverride+xml"/>
  <Override PartName="/ppt/theme/themeOverride2801.xml" ContentType="application/vnd.openxmlformats-officedocument.themeOverride+xml"/>
  <Override PartName="/ppt/theme/themeOverride2802.xml" ContentType="application/vnd.openxmlformats-officedocument.themeOverride+xml"/>
  <Override PartName="/ppt/theme/themeOverride2803.xml" ContentType="application/vnd.openxmlformats-officedocument.themeOverride+xml"/>
  <Override PartName="/ppt/theme/themeOverride2804.xml" ContentType="application/vnd.openxmlformats-officedocument.themeOverride+xml"/>
  <Override PartName="/ppt/theme/themeOverride2805.xml" ContentType="application/vnd.openxmlformats-officedocument.themeOverride+xml"/>
  <Override PartName="/ppt/theme/themeOverride2806.xml" ContentType="application/vnd.openxmlformats-officedocument.themeOverride+xml"/>
  <Override PartName="/ppt/theme/themeOverride2807.xml" ContentType="application/vnd.openxmlformats-officedocument.themeOverride+xml"/>
  <Override PartName="/ppt/theme/themeOverride2808.xml" ContentType="application/vnd.openxmlformats-officedocument.themeOverride+xml"/>
  <Override PartName="/ppt/theme/themeOverride2809.xml" ContentType="application/vnd.openxmlformats-officedocument.themeOverride+xml"/>
  <Override PartName="/ppt/theme/themeOverride281.xml" ContentType="application/vnd.openxmlformats-officedocument.themeOverride+xml"/>
  <Override PartName="/ppt/theme/themeOverride2810.xml" ContentType="application/vnd.openxmlformats-officedocument.themeOverride+xml"/>
  <Override PartName="/ppt/theme/themeOverride2811.xml" ContentType="application/vnd.openxmlformats-officedocument.themeOverride+xml"/>
  <Override PartName="/ppt/theme/themeOverride2812.xml" ContentType="application/vnd.openxmlformats-officedocument.themeOverride+xml"/>
  <Override PartName="/ppt/theme/themeOverride2813.xml" ContentType="application/vnd.openxmlformats-officedocument.themeOverride+xml"/>
  <Override PartName="/ppt/theme/themeOverride2814.xml" ContentType="application/vnd.openxmlformats-officedocument.themeOverride+xml"/>
  <Override PartName="/ppt/theme/themeOverride2815.xml" ContentType="application/vnd.openxmlformats-officedocument.themeOverride+xml"/>
  <Override PartName="/ppt/theme/themeOverride2816.xml" ContentType="application/vnd.openxmlformats-officedocument.themeOverride+xml"/>
  <Override PartName="/ppt/theme/themeOverride2817.xml" ContentType="application/vnd.openxmlformats-officedocument.themeOverride+xml"/>
  <Override PartName="/ppt/theme/themeOverride2818.xml" ContentType="application/vnd.openxmlformats-officedocument.themeOverride+xml"/>
  <Override PartName="/ppt/theme/themeOverride2819.xml" ContentType="application/vnd.openxmlformats-officedocument.themeOverride+xml"/>
  <Override PartName="/ppt/theme/themeOverride282.xml" ContentType="application/vnd.openxmlformats-officedocument.themeOverride+xml"/>
  <Override PartName="/ppt/theme/themeOverride2820.xml" ContentType="application/vnd.openxmlformats-officedocument.themeOverride+xml"/>
  <Override PartName="/ppt/theme/themeOverride2821.xml" ContentType="application/vnd.openxmlformats-officedocument.themeOverride+xml"/>
  <Override PartName="/ppt/theme/themeOverride2822.xml" ContentType="application/vnd.openxmlformats-officedocument.themeOverride+xml"/>
  <Override PartName="/ppt/theme/themeOverride2823.xml" ContentType="application/vnd.openxmlformats-officedocument.themeOverride+xml"/>
  <Override PartName="/ppt/theme/themeOverride2824.xml" ContentType="application/vnd.openxmlformats-officedocument.themeOverride+xml"/>
  <Override PartName="/ppt/theme/themeOverride2825.xml" ContentType="application/vnd.openxmlformats-officedocument.themeOverride+xml"/>
  <Override PartName="/ppt/theme/themeOverride2826.xml" ContentType="application/vnd.openxmlformats-officedocument.themeOverride+xml"/>
  <Override PartName="/ppt/theme/themeOverride2827.xml" ContentType="application/vnd.openxmlformats-officedocument.themeOverride+xml"/>
  <Override PartName="/ppt/theme/themeOverride2828.xml" ContentType="application/vnd.openxmlformats-officedocument.themeOverride+xml"/>
  <Override PartName="/ppt/theme/themeOverride2829.xml" ContentType="application/vnd.openxmlformats-officedocument.themeOverride+xml"/>
  <Override PartName="/ppt/theme/themeOverride283.xml" ContentType="application/vnd.openxmlformats-officedocument.themeOverride+xml"/>
  <Override PartName="/ppt/theme/themeOverride2830.xml" ContentType="application/vnd.openxmlformats-officedocument.themeOverride+xml"/>
  <Override PartName="/ppt/theme/themeOverride2831.xml" ContentType="application/vnd.openxmlformats-officedocument.themeOverride+xml"/>
  <Override PartName="/ppt/theme/themeOverride2832.xml" ContentType="application/vnd.openxmlformats-officedocument.themeOverride+xml"/>
  <Override PartName="/ppt/theme/themeOverride2833.xml" ContentType="application/vnd.openxmlformats-officedocument.themeOverride+xml"/>
  <Override PartName="/ppt/theme/themeOverride2834.xml" ContentType="application/vnd.openxmlformats-officedocument.themeOverride+xml"/>
  <Override PartName="/ppt/theme/themeOverride2835.xml" ContentType="application/vnd.openxmlformats-officedocument.themeOverride+xml"/>
  <Override PartName="/ppt/theme/themeOverride2836.xml" ContentType="application/vnd.openxmlformats-officedocument.themeOverride+xml"/>
  <Override PartName="/ppt/theme/themeOverride2837.xml" ContentType="application/vnd.openxmlformats-officedocument.themeOverride+xml"/>
  <Override PartName="/ppt/theme/themeOverride2838.xml" ContentType="application/vnd.openxmlformats-officedocument.themeOverride+xml"/>
  <Override PartName="/ppt/theme/themeOverride2839.xml" ContentType="application/vnd.openxmlformats-officedocument.themeOverride+xml"/>
  <Override PartName="/ppt/theme/themeOverride284.xml" ContentType="application/vnd.openxmlformats-officedocument.themeOverride+xml"/>
  <Override PartName="/ppt/theme/themeOverride2840.xml" ContentType="application/vnd.openxmlformats-officedocument.themeOverride+xml"/>
  <Override PartName="/ppt/theme/themeOverride2841.xml" ContentType="application/vnd.openxmlformats-officedocument.themeOverride+xml"/>
  <Override PartName="/ppt/theme/themeOverride2842.xml" ContentType="application/vnd.openxmlformats-officedocument.themeOverride+xml"/>
  <Override PartName="/ppt/theme/themeOverride2843.xml" ContentType="application/vnd.openxmlformats-officedocument.themeOverride+xml"/>
  <Override PartName="/ppt/theme/themeOverride2844.xml" ContentType="application/vnd.openxmlformats-officedocument.themeOverride+xml"/>
  <Override PartName="/ppt/theme/themeOverride2845.xml" ContentType="application/vnd.openxmlformats-officedocument.themeOverride+xml"/>
  <Override PartName="/ppt/theme/themeOverride2846.xml" ContentType="application/vnd.openxmlformats-officedocument.themeOverride+xml"/>
  <Override PartName="/ppt/theme/themeOverride2847.xml" ContentType="application/vnd.openxmlformats-officedocument.themeOverride+xml"/>
  <Override PartName="/ppt/theme/themeOverride2848.xml" ContentType="application/vnd.openxmlformats-officedocument.themeOverride+xml"/>
  <Override PartName="/ppt/theme/themeOverride2849.xml" ContentType="application/vnd.openxmlformats-officedocument.themeOverride+xml"/>
  <Override PartName="/ppt/theme/themeOverride285.xml" ContentType="application/vnd.openxmlformats-officedocument.themeOverride+xml"/>
  <Override PartName="/ppt/theme/themeOverride2850.xml" ContentType="application/vnd.openxmlformats-officedocument.themeOverride+xml"/>
  <Override PartName="/ppt/theme/themeOverride2851.xml" ContentType="application/vnd.openxmlformats-officedocument.themeOverride+xml"/>
  <Override PartName="/ppt/theme/themeOverride2852.xml" ContentType="application/vnd.openxmlformats-officedocument.themeOverride+xml"/>
  <Override PartName="/ppt/theme/themeOverride2853.xml" ContentType="application/vnd.openxmlformats-officedocument.themeOverride+xml"/>
  <Override PartName="/ppt/theme/themeOverride2854.xml" ContentType="application/vnd.openxmlformats-officedocument.themeOverride+xml"/>
  <Override PartName="/ppt/theme/themeOverride2855.xml" ContentType="application/vnd.openxmlformats-officedocument.themeOverride+xml"/>
  <Override PartName="/ppt/theme/themeOverride2856.xml" ContentType="application/vnd.openxmlformats-officedocument.themeOverride+xml"/>
  <Override PartName="/ppt/theme/themeOverride2857.xml" ContentType="application/vnd.openxmlformats-officedocument.themeOverride+xml"/>
  <Override PartName="/ppt/theme/themeOverride2858.xml" ContentType="application/vnd.openxmlformats-officedocument.themeOverride+xml"/>
  <Override PartName="/ppt/theme/themeOverride2859.xml" ContentType="application/vnd.openxmlformats-officedocument.themeOverride+xml"/>
  <Override PartName="/ppt/theme/themeOverride286.xml" ContentType="application/vnd.openxmlformats-officedocument.themeOverride+xml"/>
  <Override PartName="/ppt/theme/themeOverride2860.xml" ContentType="application/vnd.openxmlformats-officedocument.themeOverride+xml"/>
  <Override PartName="/ppt/theme/themeOverride2861.xml" ContentType="application/vnd.openxmlformats-officedocument.themeOverride+xml"/>
  <Override PartName="/ppt/theme/themeOverride2862.xml" ContentType="application/vnd.openxmlformats-officedocument.themeOverride+xml"/>
  <Override PartName="/ppt/theme/themeOverride2863.xml" ContentType="application/vnd.openxmlformats-officedocument.themeOverride+xml"/>
  <Override PartName="/ppt/theme/themeOverride2864.xml" ContentType="application/vnd.openxmlformats-officedocument.themeOverride+xml"/>
  <Override PartName="/ppt/theme/themeOverride2865.xml" ContentType="application/vnd.openxmlformats-officedocument.themeOverride+xml"/>
  <Override PartName="/ppt/theme/themeOverride2866.xml" ContentType="application/vnd.openxmlformats-officedocument.themeOverride+xml"/>
  <Override PartName="/ppt/theme/themeOverride2867.xml" ContentType="application/vnd.openxmlformats-officedocument.themeOverride+xml"/>
  <Override PartName="/ppt/theme/themeOverride2868.xml" ContentType="application/vnd.openxmlformats-officedocument.themeOverride+xml"/>
  <Override PartName="/ppt/theme/themeOverride2869.xml" ContentType="application/vnd.openxmlformats-officedocument.themeOverride+xml"/>
  <Override PartName="/ppt/theme/themeOverride287.xml" ContentType="application/vnd.openxmlformats-officedocument.themeOverride+xml"/>
  <Override PartName="/ppt/theme/themeOverride2870.xml" ContentType="application/vnd.openxmlformats-officedocument.themeOverride+xml"/>
  <Override PartName="/ppt/theme/themeOverride2871.xml" ContentType="application/vnd.openxmlformats-officedocument.themeOverride+xml"/>
  <Override PartName="/ppt/theme/themeOverride2872.xml" ContentType="application/vnd.openxmlformats-officedocument.themeOverride+xml"/>
  <Override PartName="/ppt/theme/themeOverride2873.xml" ContentType="application/vnd.openxmlformats-officedocument.themeOverride+xml"/>
  <Override PartName="/ppt/theme/themeOverride2874.xml" ContentType="application/vnd.openxmlformats-officedocument.themeOverride+xml"/>
  <Override PartName="/ppt/theme/themeOverride2875.xml" ContentType="application/vnd.openxmlformats-officedocument.themeOverride+xml"/>
  <Override PartName="/ppt/theme/themeOverride2876.xml" ContentType="application/vnd.openxmlformats-officedocument.themeOverride+xml"/>
  <Override PartName="/ppt/theme/themeOverride2877.xml" ContentType="application/vnd.openxmlformats-officedocument.themeOverride+xml"/>
  <Override PartName="/ppt/theme/themeOverride2878.xml" ContentType="application/vnd.openxmlformats-officedocument.themeOverride+xml"/>
  <Override PartName="/ppt/theme/themeOverride2879.xml" ContentType="application/vnd.openxmlformats-officedocument.themeOverride+xml"/>
  <Override PartName="/ppt/theme/themeOverride288.xml" ContentType="application/vnd.openxmlformats-officedocument.themeOverride+xml"/>
  <Override PartName="/ppt/theme/themeOverride2880.xml" ContentType="application/vnd.openxmlformats-officedocument.themeOverride+xml"/>
  <Override PartName="/ppt/theme/themeOverride2881.xml" ContentType="application/vnd.openxmlformats-officedocument.themeOverride+xml"/>
  <Override PartName="/ppt/theme/themeOverride2882.xml" ContentType="application/vnd.openxmlformats-officedocument.themeOverride+xml"/>
  <Override PartName="/ppt/theme/themeOverride2883.xml" ContentType="application/vnd.openxmlformats-officedocument.themeOverride+xml"/>
  <Override PartName="/ppt/theme/themeOverride2884.xml" ContentType="application/vnd.openxmlformats-officedocument.themeOverride+xml"/>
  <Override PartName="/ppt/theme/themeOverride2885.xml" ContentType="application/vnd.openxmlformats-officedocument.themeOverride+xml"/>
  <Override PartName="/ppt/theme/themeOverride2886.xml" ContentType="application/vnd.openxmlformats-officedocument.themeOverride+xml"/>
  <Override PartName="/ppt/theme/themeOverride2887.xml" ContentType="application/vnd.openxmlformats-officedocument.themeOverride+xml"/>
  <Override PartName="/ppt/theme/themeOverride2888.xml" ContentType="application/vnd.openxmlformats-officedocument.themeOverride+xml"/>
  <Override PartName="/ppt/theme/themeOverride2889.xml" ContentType="application/vnd.openxmlformats-officedocument.themeOverride+xml"/>
  <Override PartName="/ppt/theme/themeOverride289.xml" ContentType="application/vnd.openxmlformats-officedocument.themeOverride+xml"/>
  <Override PartName="/ppt/theme/themeOverride2890.xml" ContentType="application/vnd.openxmlformats-officedocument.themeOverride+xml"/>
  <Override PartName="/ppt/theme/themeOverride2891.xml" ContentType="application/vnd.openxmlformats-officedocument.themeOverride+xml"/>
  <Override PartName="/ppt/theme/themeOverride2892.xml" ContentType="application/vnd.openxmlformats-officedocument.themeOverride+xml"/>
  <Override PartName="/ppt/theme/themeOverride2893.xml" ContentType="application/vnd.openxmlformats-officedocument.themeOverride+xml"/>
  <Override PartName="/ppt/theme/themeOverride2894.xml" ContentType="application/vnd.openxmlformats-officedocument.themeOverride+xml"/>
  <Override PartName="/ppt/theme/themeOverride2895.xml" ContentType="application/vnd.openxmlformats-officedocument.themeOverride+xml"/>
  <Override PartName="/ppt/theme/themeOverride2896.xml" ContentType="application/vnd.openxmlformats-officedocument.themeOverride+xml"/>
  <Override PartName="/ppt/theme/themeOverride2897.xml" ContentType="application/vnd.openxmlformats-officedocument.themeOverride+xml"/>
  <Override PartName="/ppt/theme/themeOverride2898.xml" ContentType="application/vnd.openxmlformats-officedocument.themeOverride+xml"/>
  <Override PartName="/ppt/theme/themeOverride2899.xml" ContentType="application/vnd.openxmlformats-officedocument.themeOverride+xml"/>
  <Override PartName="/ppt/theme/themeOverride29.xml" ContentType="application/vnd.openxmlformats-officedocument.themeOverride+xml"/>
  <Override PartName="/ppt/theme/themeOverride290.xml" ContentType="application/vnd.openxmlformats-officedocument.themeOverride+xml"/>
  <Override PartName="/ppt/theme/themeOverride2900.xml" ContentType="application/vnd.openxmlformats-officedocument.themeOverride+xml"/>
  <Override PartName="/ppt/theme/themeOverride2901.xml" ContentType="application/vnd.openxmlformats-officedocument.themeOverride+xml"/>
  <Override PartName="/ppt/theme/themeOverride2902.xml" ContentType="application/vnd.openxmlformats-officedocument.themeOverride+xml"/>
  <Override PartName="/ppt/theme/themeOverride2903.xml" ContentType="application/vnd.openxmlformats-officedocument.themeOverride+xml"/>
  <Override PartName="/ppt/theme/themeOverride2904.xml" ContentType="application/vnd.openxmlformats-officedocument.themeOverride+xml"/>
  <Override PartName="/ppt/theme/themeOverride2905.xml" ContentType="application/vnd.openxmlformats-officedocument.themeOverride+xml"/>
  <Override PartName="/ppt/theme/themeOverride2906.xml" ContentType="application/vnd.openxmlformats-officedocument.themeOverride+xml"/>
  <Override PartName="/ppt/theme/themeOverride2907.xml" ContentType="application/vnd.openxmlformats-officedocument.themeOverride+xml"/>
  <Override PartName="/ppt/theme/themeOverride2908.xml" ContentType="application/vnd.openxmlformats-officedocument.themeOverride+xml"/>
  <Override PartName="/ppt/theme/themeOverride2909.xml" ContentType="application/vnd.openxmlformats-officedocument.themeOverride+xml"/>
  <Override PartName="/ppt/theme/themeOverride291.xml" ContentType="application/vnd.openxmlformats-officedocument.themeOverride+xml"/>
  <Override PartName="/ppt/theme/themeOverride2910.xml" ContentType="application/vnd.openxmlformats-officedocument.themeOverride+xml"/>
  <Override PartName="/ppt/theme/themeOverride2911.xml" ContentType="application/vnd.openxmlformats-officedocument.themeOverride+xml"/>
  <Override PartName="/ppt/theme/themeOverride2912.xml" ContentType="application/vnd.openxmlformats-officedocument.themeOverride+xml"/>
  <Override PartName="/ppt/theme/themeOverride2913.xml" ContentType="application/vnd.openxmlformats-officedocument.themeOverride+xml"/>
  <Override PartName="/ppt/theme/themeOverride2914.xml" ContentType="application/vnd.openxmlformats-officedocument.themeOverride+xml"/>
  <Override PartName="/ppt/theme/themeOverride2915.xml" ContentType="application/vnd.openxmlformats-officedocument.themeOverride+xml"/>
  <Override PartName="/ppt/theme/themeOverride2916.xml" ContentType="application/vnd.openxmlformats-officedocument.themeOverride+xml"/>
  <Override PartName="/ppt/theme/themeOverride2917.xml" ContentType="application/vnd.openxmlformats-officedocument.themeOverride+xml"/>
  <Override PartName="/ppt/theme/themeOverride2918.xml" ContentType="application/vnd.openxmlformats-officedocument.themeOverride+xml"/>
  <Override PartName="/ppt/theme/themeOverride2919.xml" ContentType="application/vnd.openxmlformats-officedocument.themeOverride+xml"/>
  <Override PartName="/ppt/theme/themeOverride292.xml" ContentType="application/vnd.openxmlformats-officedocument.themeOverride+xml"/>
  <Override PartName="/ppt/theme/themeOverride2920.xml" ContentType="application/vnd.openxmlformats-officedocument.themeOverride+xml"/>
  <Override PartName="/ppt/theme/themeOverride2921.xml" ContentType="application/vnd.openxmlformats-officedocument.themeOverride+xml"/>
  <Override PartName="/ppt/theme/themeOverride2922.xml" ContentType="application/vnd.openxmlformats-officedocument.themeOverride+xml"/>
  <Override PartName="/ppt/theme/themeOverride2923.xml" ContentType="application/vnd.openxmlformats-officedocument.themeOverride+xml"/>
  <Override PartName="/ppt/theme/themeOverride2924.xml" ContentType="application/vnd.openxmlformats-officedocument.themeOverride+xml"/>
  <Override PartName="/ppt/theme/themeOverride2925.xml" ContentType="application/vnd.openxmlformats-officedocument.themeOverride+xml"/>
  <Override PartName="/ppt/theme/themeOverride2926.xml" ContentType="application/vnd.openxmlformats-officedocument.themeOverride+xml"/>
  <Override PartName="/ppt/theme/themeOverride2927.xml" ContentType="application/vnd.openxmlformats-officedocument.themeOverride+xml"/>
  <Override PartName="/ppt/theme/themeOverride2928.xml" ContentType="application/vnd.openxmlformats-officedocument.themeOverride+xml"/>
  <Override PartName="/ppt/theme/themeOverride2929.xml" ContentType="application/vnd.openxmlformats-officedocument.themeOverride+xml"/>
  <Override PartName="/ppt/theme/themeOverride293.xml" ContentType="application/vnd.openxmlformats-officedocument.themeOverride+xml"/>
  <Override PartName="/ppt/theme/themeOverride2930.xml" ContentType="application/vnd.openxmlformats-officedocument.themeOverride+xml"/>
  <Override PartName="/ppt/theme/themeOverride2931.xml" ContentType="application/vnd.openxmlformats-officedocument.themeOverride+xml"/>
  <Override PartName="/ppt/theme/themeOverride2932.xml" ContentType="application/vnd.openxmlformats-officedocument.themeOverride+xml"/>
  <Override PartName="/ppt/theme/themeOverride2933.xml" ContentType="application/vnd.openxmlformats-officedocument.themeOverride+xml"/>
  <Override PartName="/ppt/theme/themeOverride2934.xml" ContentType="application/vnd.openxmlformats-officedocument.themeOverride+xml"/>
  <Override PartName="/ppt/theme/themeOverride2935.xml" ContentType="application/vnd.openxmlformats-officedocument.themeOverride+xml"/>
  <Override PartName="/ppt/theme/themeOverride2936.xml" ContentType="application/vnd.openxmlformats-officedocument.themeOverride+xml"/>
  <Override PartName="/ppt/theme/themeOverride2937.xml" ContentType="application/vnd.openxmlformats-officedocument.themeOverride+xml"/>
  <Override PartName="/ppt/theme/themeOverride2938.xml" ContentType="application/vnd.openxmlformats-officedocument.themeOverride+xml"/>
  <Override PartName="/ppt/theme/themeOverride2939.xml" ContentType="application/vnd.openxmlformats-officedocument.themeOverride+xml"/>
  <Override PartName="/ppt/theme/themeOverride294.xml" ContentType="application/vnd.openxmlformats-officedocument.themeOverride+xml"/>
  <Override PartName="/ppt/theme/themeOverride2940.xml" ContentType="application/vnd.openxmlformats-officedocument.themeOverride+xml"/>
  <Override PartName="/ppt/theme/themeOverride2941.xml" ContentType="application/vnd.openxmlformats-officedocument.themeOverride+xml"/>
  <Override PartName="/ppt/theme/themeOverride2942.xml" ContentType="application/vnd.openxmlformats-officedocument.themeOverride+xml"/>
  <Override PartName="/ppt/theme/themeOverride2943.xml" ContentType="application/vnd.openxmlformats-officedocument.themeOverride+xml"/>
  <Override PartName="/ppt/theme/themeOverride2944.xml" ContentType="application/vnd.openxmlformats-officedocument.themeOverride+xml"/>
  <Override PartName="/ppt/theme/themeOverride2945.xml" ContentType="application/vnd.openxmlformats-officedocument.themeOverride+xml"/>
  <Override PartName="/ppt/theme/themeOverride2946.xml" ContentType="application/vnd.openxmlformats-officedocument.themeOverride+xml"/>
  <Override PartName="/ppt/theme/themeOverride2947.xml" ContentType="application/vnd.openxmlformats-officedocument.themeOverride+xml"/>
  <Override PartName="/ppt/theme/themeOverride2948.xml" ContentType="application/vnd.openxmlformats-officedocument.themeOverride+xml"/>
  <Override PartName="/ppt/theme/themeOverride2949.xml" ContentType="application/vnd.openxmlformats-officedocument.themeOverride+xml"/>
  <Override PartName="/ppt/theme/themeOverride295.xml" ContentType="application/vnd.openxmlformats-officedocument.themeOverride+xml"/>
  <Override PartName="/ppt/theme/themeOverride2950.xml" ContentType="application/vnd.openxmlformats-officedocument.themeOverride+xml"/>
  <Override PartName="/ppt/theme/themeOverride2951.xml" ContentType="application/vnd.openxmlformats-officedocument.themeOverride+xml"/>
  <Override PartName="/ppt/theme/themeOverride2952.xml" ContentType="application/vnd.openxmlformats-officedocument.themeOverride+xml"/>
  <Override PartName="/ppt/theme/themeOverride2953.xml" ContentType="application/vnd.openxmlformats-officedocument.themeOverride+xml"/>
  <Override PartName="/ppt/theme/themeOverride2954.xml" ContentType="application/vnd.openxmlformats-officedocument.themeOverride+xml"/>
  <Override PartName="/ppt/theme/themeOverride2955.xml" ContentType="application/vnd.openxmlformats-officedocument.themeOverride+xml"/>
  <Override PartName="/ppt/theme/themeOverride2956.xml" ContentType="application/vnd.openxmlformats-officedocument.themeOverride+xml"/>
  <Override PartName="/ppt/theme/themeOverride2957.xml" ContentType="application/vnd.openxmlformats-officedocument.themeOverride+xml"/>
  <Override PartName="/ppt/theme/themeOverride2958.xml" ContentType="application/vnd.openxmlformats-officedocument.themeOverride+xml"/>
  <Override PartName="/ppt/theme/themeOverride2959.xml" ContentType="application/vnd.openxmlformats-officedocument.themeOverride+xml"/>
  <Override PartName="/ppt/theme/themeOverride296.xml" ContentType="application/vnd.openxmlformats-officedocument.themeOverride+xml"/>
  <Override PartName="/ppt/theme/themeOverride2960.xml" ContentType="application/vnd.openxmlformats-officedocument.themeOverride+xml"/>
  <Override PartName="/ppt/theme/themeOverride2961.xml" ContentType="application/vnd.openxmlformats-officedocument.themeOverride+xml"/>
  <Override PartName="/ppt/theme/themeOverride2962.xml" ContentType="application/vnd.openxmlformats-officedocument.themeOverride+xml"/>
  <Override PartName="/ppt/theme/themeOverride2963.xml" ContentType="application/vnd.openxmlformats-officedocument.themeOverride+xml"/>
  <Override PartName="/ppt/theme/themeOverride2964.xml" ContentType="application/vnd.openxmlformats-officedocument.themeOverride+xml"/>
  <Override PartName="/ppt/theme/themeOverride2965.xml" ContentType="application/vnd.openxmlformats-officedocument.themeOverride+xml"/>
  <Override PartName="/ppt/theme/themeOverride2966.xml" ContentType="application/vnd.openxmlformats-officedocument.themeOverride+xml"/>
  <Override PartName="/ppt/theme/themeOverride2967.xml" ContentType="application/vnd.openxmlformats-officedocument.themeOverride+xml"/>
  <Override PartName="/ppt/theme/themeOverride2968.xml" ContentType="application/vnd.openxmlformats-officedocument.themeOverride+xml"/>
  <Override PartName="/ppt/theme/themeOverride2969.xml" ContentType="application/vnd.openxmlformats-officedocument.themeOverride+xml"/>
  <Override PartName="/ppt/theme/themeOverride297.xml" ContentType="application/vnd.openxmlformats-officedocument.themeOverride+xml"/>
  <Override PartName="/ppt/theme/themeOverride2970.xml" ContentType="application/vnd.openxmlformats-officedocument.themeOverride+xml"/>
  <Override PartName="/ppt/theme/themeOverride2971.xml" ContentType="application/vnd.openxmlformats-officedocument.themeOverride+xml"/>
  <Override PartName="/ppt/theme/themeOverride2972.xml" ContentType="application/vnd.openxmlformats-officedocument.themeOverride+xml"/>
  <Override PartName="/ppt/theme/themeOverride2973.xml" ContentType="application/vnd.openxmlformats-officedocument.themeOverride+xml"/>
  <Override PartName="/ppt/theme/themeOverride2974.xml" ContentType="application/vnd.openxmlformats-officedocument.themeOverride+xml"/>
  <Override PartName="/ppt/theme/themeOverride2975.xml" ContentType="application/vnd.openxmlformats-officedocument.themeOverride+xml"/>
  <Override PartName="/ppt/theme/themeOverride2976.xml" ContentType="application/vnd.openxmlformats-officedocument.themeOverride+xml"/>
  <Override PartName="/ppt/theme/themeOverride2977.xml" ContentType="application/vnd.openxmlformats-officedocument.themeOverride+xml"/>
  <Override PartName="/ppt/theme/themeOverride2978.xml" ContentType="application/vnd.openxmlformats-officedocument.themeOverride+xml"/>
  <Override PartName="/ppt/theme/themeOverride2979.xml" ContentType="application/vnd.openxmlformats-officedocument.themeOverride+xml"/>
  <Override PartName="/ppt/theme/themeOverride298.xml" ContentType="application/vnd.openxmlformats-officedocument.themeOverride+xml"/>
  <Override PartName="/ppt/theme/themeOverride2980.xml" ContentType="application/vnd.openxmlformats-officedocument.themeOverride+xml"/>
  <Override PartName="/ppt/theme/themeOverride2981.xml" ContentType="application/vnd.openxmlformats-officedocument.themeOverride+xml"/>
  <Override PartName="/ppt/theme/themeOverride2982.xml" ContentType="application/vnd.openxmlformats-officedocument.themeOverride+xml"/>
  <Override PartName="/ppt/theme/themeOverride2983.xml" ContentType="application/vnd.openxmlformats-officedocument.themeOverride+xml"/>
  <Override PartName="/ppt/theme/themeOverride2984.xml" ContentType="application/vnd.openxmlformats-officedocument.themeOverride+xml"/>
  <Override PartName="/ppt/theme/themeOverride2985.xml" ContentType="application/vnd.openxmlformats-officedocument.themeOverride+xml"/>
  <Override PartName="/ppt/theme/themeOverride2986.xml" ContentType="application/vnd.openxmlformats-officedocument.themeOverride+xml"/>
  <Override PartName="/ppt/theme/themeOverride2987.xml" ContentType="application/vnd.openxmlformats-officedocument.themeOverride+xml"/>
  <Override PartName="/ppt/theme/themeOverride2988.xml" ContentType="application/vnd.openxmlformats-officedocument.themeOverride+xml"/>
  <Override PartName="/ppt/theme/themeOverride2989.xml" ContentType="application/vnd.openxmlformats-officedocument.themeOverride+xml"/>
  <Override PartName="/ppt/theme/themeOverride299.xml" ContentType="application/vnd.openxmlformats-officedocument.themeOverride+xml"/>
  <Override PartName="/ppt/theme/themeOverride2990.xml" ContentType="application/vnd.openxmlformats-officedocument.themeOverride+xml"/>
  <Override PartName="/ppt/theme/themeOverride2991.xml" ContentType="application/vnd.openxmlformats-officedocument.themeOverride+xml"/>
  <Override PartName="/ppt/theme/themeOverride2992.xml" ContentType="application/vnd.openxmlformats-officedocument.themeOverride+xml"/>
  <Override PartName="/ppt/theme/themeOverride2993.xml" ContentType="application/vnd.openxmlformats-officedocument.themeOverride+xml"/>
  <Override PartName="/ppt/theme/themeOverride2994.xml" ContentType="application/vnd.openxmlformats-officedocument.themeOverride+xml"/>
  <Override PartName="/ppt/theme/themeOverride2995.xml" ContentType="application/vnd.openxmlformats-officedocument.themeOverride+xml"/>
  <Override PartName="/ppt/theme/themeOverride2996.xml" ContentType="application/vnd.openxmlformats-officedocument.themeOverride+xml"/>
  <Override PartName="/ppt/theme/themeOverride2997.xml" ContentType="application/vnd.openxmlformats-officedocument.themeOverride+xml"/>
  <Override PartName="/ppt/theme/themeOverride2998.xml" ContentType="application/vnd.openxmlformats-officedocument.themeOverride+xml"/>
  <Override PartName="/ppt/theme/themeOverride299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00.xml" ContentType="application/vnd.openxmlformats-officedocument.themeOverride+xml"/>
  <Override PartName="/ppt/theme/themeOverride3000.xml" ContentType="application/vnd.openxmlformats-officedocument.themeOverride+xml"/>
  <Override PartName="/ppt/theme/themeOverride3001.xml" ContentType="application/vnd.openxmlformats-officedocument.themeOverride+xml"/>
  <Override PartName="/ppt/theme/themeOverride3002.xml" ContentType="application/vnd.openxmlformats-officedocument.themeOverride+xml"/>
  <Override PartName="/ppt/theme/themeOverride3003.xml" ContentType="application/vnd.openxmlformats-officedocument.themeOverride+xml"/>
  <Override PartName="/ppt/theme/themeOverride3004.xml" ContentType="application/vnd.openxmlformats-officedocument.themeOverride+xml"/>
  <Override PartName="/ppt/theme/themeOverride3005.xml" ContentType="application/vnd.openxmlformats-officedocument.themeOverride+xml"/>
  <Override PartName="/ppt/theme/themeOverride3006.xml" ContentType="application/vnd.openxmlformats-officedocument.themeOverride+xml"/>
  <Override PartName="/ppt/theme/themeOverride3007.xml" ContentType="application/vnd.openxmlformats-officedocument.themeOverride+xml"/>
  <Override PartName="/ppt/theme/themeOverride3008.xml" ContentType="application/vnd.openxmlformats-officedocument.themeOverride+xml"/>
  <Override PartName="/ppt/theme/themeOverride3009.xml" ContentType="application/vnd.openxmlformats-officedocument.themeOverride+xml"/>
  <Override PartName="/ppt/theme/themeOverride301.xml" ContentType="application/vnd.openxmlformats-officedocument.themeOverride+xml"/>
  <Override PartName="/ppt/theme/themeOverride3010.xml" ContentType="application/vnd.openxmlformats-officedocument.themeOverride+xml"/>
  <Override PartName="/ppt/theme/themeOverride3011.xml" ContentType="application/vnd.openxmlformats-officedocument.themeOverride+xml"/>
  <Override PartName="/ppt/theme/themeOverride3012.xml" ContentType="application/vnd.openxmlformats-officedocument.themeOverride+xml"/>
  <Override PartName="/ppt/theme/themeOverride3013.xml" ContentType="application/vnd.openxmlformats-officedocument.themeOverride+xml"/>
  <Override PartName="/ppt/theme/themeOverride3014.xml" ContentType="application/vnd.openxmlformats-officedocument.themeOverride+xml"/>
  <Override PartName="/ppt/theme/themeOverride3015.xml" ContentType="application/vnd.openxmlformats-officedocument.themeOverride+xml"/>
  <Override PartName="/ppt/theme/themeOverride3016.xml" ContentType="application/vnd.openxmlformats-officedocument.themeOverride+xml"/>
  <Override PartName="/ppt/theme/themeOverride3017.xml" ContentType="application/vnd.openxmlformats-officedocument.themeOverride+xml"/>
  <Override PartName="/ppt/theme/themeOverride3018.xml" ContentType="application/vnd.openxmlformats-officedocument.themeOverride+xml"/>
  <Override PartName="/ppt/theme/themeOverride3019.xml" ContentType="application/vnd.openxmlformats-officedocument.themeOverride+xml"/>
  <Override PartName="/ppt/theme/themeOverride302.xml" ContentType="application/vnd.openxmlformats-officedocument.themeOverride+xml"/>
  <Override PartName="/ppt/theme/themeOverride3020.xml" ContentType="application/vnd.openxmlformats-officedocument.themeOverride+xml"/>
  <Override PartName="/ppt/theme/themeOverride3021.xml" ContentType="application/vnd.openxmlformats-officedocument.themeOverride+xml"/>
  <Override PartName="/ppt/theme/themeOverride3022.xml" ContentType="application/vnd.openxmlformats-officedocument.themeOverride+xml"/>
  <Override PartName="/ppt/theme/themeOverride3023.xml" ContentType="application/vnd.openxmlformats-officedocument.themeOverride+xml"/>
  <Override PartName="/ppt/theme/themeOverride3024.xml" ContentType="application/vnd.openxmlformats-officedocument.themeOverride+xml"/>
  <Override PartName="/ppt/theme/themeOverride3025.xml" ContentType="application/vnd.openxmlformats-officedocument.themeOverride+xml"/>
  <Override PartName="/ppt/theme/themeOverride3026.xml" ContentType="application/vnd.openxmlformats-officedocument.themeOverride+xml"/>
  <Override PartName="/ppt/theme/themeOverride3027.xml" ContentType="application/vnd.openxmlformats-officedocument.themeOverride+xml"/>
  <Override PartName="/ppt/theme/themeOverride3028.xml" ContentType="application/vnd.openxmlformats-officedocument.themeOverride+xml"/>
  <Override PartName="/ppt/theme/themeOverride3029.xml" ContentType="application/vnd.openxmlformats-officedocument.themeOverride+xml"/>
  <Override PartName="/ppt/theme/themeOverride303.xml" ContentType="application/vnd.openxmlformats-officedocument.themeOverride+xml"/>
  <Override PartName="/ppt/theme/themeOverride3030.xml" ContentType="application/vnd.openxmlformats-officedocument.themeOverride+xml"/>
  <Override PartName="/ppt/theme/themeOverride3031.xml" ContentType="application/vnd.openxmlformats-officedocument.themeOverride+xml"/>
  <Override PartName="/ppt/theme/themeOverride3032.xml" ContentType="application/vnd.openxmlformats-officedocument.themeOverride+xml"/>
  <Override PartName="/ppt/theme/themeOverride3033.xml" ContentType="application/vnd.openxmlformats-officedocument.themeOverride+xml"/>
  <Override PartName="/ppt/theme/themeOverride3034.xml" ContentType="application/vnd.openxmlformats-officedocument.themeOverride+xml"/>
  <Override PartName="/ppt/theme/themeOverride3035.xml" ContentType="application/vnd.openxmlformats-officedocument.themeOverride+xml"/>
  <Override PartName="/ppt/theme/themeOverride3036.xml" ContentType="application/vnd.openxmlformats-officedocument.themeOverride+xml"/>
  <Override PartName="/ppt/theme/themeOverride3037.xml" ContentType="application/vnd.openxmlformats-officedocument.themeOverride+xml"/>
  <Override PartName="/ppt/theme/themeOverride3038.xml" ContentType="application/vnd.openxmlformats-officedocument.themeOverride+xml"/>
  <Override PartName="/ppt/theme/themeOverride3039.xml" ContentType="application/vnd.openxmlformats-officedocument.themeOverride+xml"/>
  <Override PartName="/ppt/theme/themeOverride304.xml" ContentType="application/vnd.openxmlformats-officedocument.themeOverride+xml"/>
  <Override PartName="/ppt/theme/themeOverride3040.xml" ContentType="application/vnd.openxmlformats-officedocument.themeOverride+xml"/>
  <Override PartName="/ppt/theme/themeOverride3041.xml" ContentType="application/vnd.openxmlformats-officedocument.themeOverride+xml"/>
  <Override PartName="/ppt/theme/themeOverride3042.xml" ContentType="application/vnd.openxmlformats-officedocument.themeOverride+xml"/>
  <Override PartName="/ppt/theme/themeOverride3043.xml" ContentType="application/vnd.openxmlformats-officedocument.themeOverride+xml"/>
  <Override PartName="/ppt/theme/themeOverride3044.xml" ContentType="application/vnd.openxmlformats-officedocument.themeOverride+xml"/>
  <Override PartName="/ppt/theme/themeOverride3045.xml" ContentType="application/vnd.openxmlformats-officedocument.themeOverride+xml"/>
  <Override PartName="/ppt/theme/themeOverride3046.xml" ContentType="application/vnd.openxmlformats-officedocument.themeOverride+xml"/>
  <Override PartName="/ppt/theme/themeOverride3047.xml" ContentType="application/vnd.openxmlformats-officedocument.themeOverride+xml"/>
  <Override PartName="/ppt/theme/themeOverride3048.xml" ContentType="application/vnd.openxmlformats-officedocument.themeOverride+xml"/>
  <Override PartName="/ppt/theme/themeOverride3049.xml" ContentType="application/vnd.openxmlformats-officedocument.themeOverride+xml"/>
  <Override PartName="/ppt/theme/themeOverride305.xml" ContentType="application/vnd.openxmlformats-officedocument.themeOverride+xml"/>
  <Override PartName="/ppt/theme/themeOverride3050.xml" ContentType="application/vnd.openxmlformats-officedocument.themeOverride+xml"/>
  <Override PartName="/ppt/theme/themeOverride3051.xml" ContentType="application/vnd.openxmlformats-officedocument.themeOverride+xml"/>
  <Override PartName="/ppt/theme/themeOverride3052.xml" ContentType="application/vnd.openxmlformats-officedocument.themeOverride+xml"/>
  <Override PartName="/ppt/theme/themeOverride3053.xml" ContentType="application/vnd.openxmlformats-officedocument.themeOverride+xml"/>
  <Override PartName="/ppt/theme/themeOverride3054.xml" ContentType="application/vnd.openxmlformats-officedocument.themeOverride+xml"/>
  <Override PartName="/ppt/theme/themeOverride3055.xml" ContentType="application/vnd.openxmlformats-officedocument.themeOverride+xml"/>
  <Override PartName="/ppt/theme/themeOverride3056.xml" ContentType="application/vnd.openxmlformats-officedocument.themeOverride+xml"/>
  <Override PartName="/ppt/theme/themeOverride3057.xml" ContentType="application/vnd.openxmlformats-officedocument.themeOverride+xml"/>
  <Override PartName="/ppt/theme/themeOverride3058.xml" ContentType="application/vnd.openxmlformats-officedocument.themeOverride+xml"/>
  <Override PartName="/ppt/theme/themeOverride3059.xml" ContentType="application/vnd.openxmlformats-officedocument.themeOverride+xml"/>
  <Override PartName="/ppt/theme/themeOverride306.xml" ContentType="application/vnd.openxmlformats-officedocument.themeOverride+xml"/>
  <Override PartName="/ppt/theme/themeOverride3060.xml" ContentType="application/vnd.openxmlformats-officedocument.themeOverride+xml"/>
  <Override PartName="/ppt/theme/themeOverride3061.xml" ContentType="application/vnd.openxmlformats-officedocument.themeOverride+xml"/>
  <Override PartName="/ppt/theme/themeOverride3062.xml" ContentType="application/vnd.openxmlformats-officedocument.themeOverride+xml"/>
  <Override PartName="/ppt/theme/themeOverride3063.xml" ContentType="application/vnd.openxmlformats-officedocument.themeOverride+xml"/>
  <Override PartName="/ppt/theme/themeOverride3064.xml" ContentType="application/vnd.openxmlformats-officedocument.themeOverride+xml"/>
  <Override PartName="/ppt/theme/themeOverride3065.xml" ContentType="application/vnd.openxmlformats-officedocument.themeOverride+xml"/>
  <Override PartName="/ppt/theme/themeOverride3066.xml" ContentType="application/vnd.openxmlformats-officedocument.themeOverride+xml"/>
  <Override PartName="/ppt/theme/themeOverride3067.xml" ContentType="application/vnd.openxmlformats-officedocument.themeOverride+xml"/>
  <Override PartName="/ppt/theme/themeOverride3068.xml" ContentType="application/vnd.openxmlformats-officedocument.themeOverride+xml"/>
  <Override PartName="/ppt/theme/themeOverride3069.xml" ContentType="application/vnd.openxmlformats-officedocument.themeOverride+xml"/>
  <Override PartName="/ppt/theme/themeOverride307.xml" ContentType="application/vnd.openxmlformats-officedocument.themeOverride+xml"/>
  <Override PartName="/ppt/theme/themeOverride3070.xml" ContentType="application/vnd.openxmlformats-officedocument.themeOverride+xml"/>
  <Override PartName="/ppt/theme/themeOverride3071.xml" ContentType="application/vnd.openxmlformats-officedocument.themeOverride+xml"/>
  <Override PartName="/ppt/theme/themeOverride3072.xml" ContentType="application/vnd.openxmlformats-officedocument.themeOverride+xml"/>
  <Override PartName="/ppt/theme/themeOverride3073.xml" ContentType="application/vnd.openxmlformats-officedocument.themeOverride+xml"/>
  <Override PartName="/ppt/theme/themeOverride3074.xml" ContentType="application/vnd.openxmlformats-officedocument.themeOverride+xml"/>
  <Override PartName="/ppt/theme/themeOverride3075.xml" ContentType="application/vnd.openxmlformats-officedocument.themeOverride+xml"/>
  <Override PartName="/ppt/theme/themeOverride3076.xml" ContentType="application/vnd.openxmlformats-officedocument.themeOverride+xml"/>
  <Override PartName="/ppt/theme/themeOverride3077.xml" ContentType="application/vnd.openxmlformats-officedocument.themeOverride+xml"/>
  <Override PartName="/ppt/theme/themeOverride3078.xml" ContentType="application/vnd.openxmlformats-officedocument.themeOverride+xml"/>
  <Override PartName="/ppt/theme/themeOverride3079.xml" ContentType="application/vnd.openxmlformats-officedocument.themeOverride+xml"/>
  <Override PartName="/ppt/theme/themeOverride308.xml" ContentType="application/vnd.openxmlformats-officedocument.themeOverride+xml"/>
  <Override PartName="/ppt/theme/themeOverride3080.xml" ContentType="application/vnd.openxmlformats-officedocument.themeOverride+xml"/>
  <Override PartName="/ppt/theme/themeOverride3081.xml" ContentType="application/vnd.openxmlformats-officedocument.themeOverride+xml"/>
  <Override PartName="/ppt/theme/themeOverride3082.xml" ContentType="application/vnd.openxmlformats-officedocument.themeOverride+xml"/>
  <Override PartName="/ppt/theme/themeOverride3083.xml" ContentType="application/vnd.openxmlformats-officedocument.themeOverride+xml"/>
  <Override PartName="/ppt/theme/themeOverride3084.xml" ContentType="application/vnd.openxmlformats-officedocument.themeOverride+xml"/>
  <Override PartName="/ppt/theme/themeOverride3085.xml" ContentType="application/vnd.openxmlformats-officedocument.themeOverride+xml"/>
  <Override PartName="/ppt/theme/themeOverride3086.xml" ContentType="application/vnd.openxmlformats-officedocument.themeOverride+xml"/>
  <Override PartName="/ppt/theme/themeOverride3087.xml" ContentType="application/vnd.openxmlformats-officedocument.themeOverride+xml"/>
  <Override PartName="/ppt/theme/themeOverride3088.xml" ContentType="application/vnd.openxmlformats-officedocument.themeOverride+xml"/>
  <Override PartName="/ppt/theme/themeOverride3089.xml" ContentType="application/vnd.openxmlformats-officedocument.themeOverride+xml"/>
  <Override PartName="/ppt/theme/themeOverride309.xml" ContentType="application/vnd.openxmlformats-officedocument.themeOverride+xml"/>
  <Override PartName="/ppt/theme/themeOverride3090.xml" ContentType="application/vnd.openxmlformats-officedocument.themeOverride+xml"/>
  <Override PartName="/ppt/theme/themeOverride3091.xml" ContentType="application/vnd.openxmlformats-officedocument.themeOverride+xml"/>
  <Override PartName="/ppt/theme/themeOverride3092.xml" ContentType="application/vnd.openxmlformats-officedocument.themeOverride+xml"/>
  <Override PartName="/ppt/theme/themeOverride3093.xml" ContentType="application/vnd.openxmlformats-officedocument.themeOverride+xml"/>
  <Override PartName="/ppt/theme/themeOverride3094.xml" ContentType="application/vnd.openxmlformats-officedocument.themeOverride+xml"/>
  <Override PartName="/ppt/theme/themeOverride3095.xml" ContentType="application/vnd.openxmlformats-officedocument.themeOverride+xml"/>
  <Override PartName="/ppt/theme/themeOverride3096.xml" ContentType="application/vnd.openxmlformats-officedocument.themeOverride+xml"/>
  <Override PartName="/ppt/theme/themeOverride3097.xml" ContentType="application/vnd.openxmlformats-officedocument.themeOverride+xml"/>
  <Override PartName="/ppt/theme/themeOverride3098.xml" ContentType="application/vnd.openxmlformats-officedocument.themeOverride+xml"/>
  <Override PartName="/ppt/theme/themeOverride3099.xml" ContentType="application/vnd.openxmlformats-officedocument.themeOverride+xml"/>
  <Override PartName="/ppt/theme/themeOverride31.xml" ContentType="application/vnd.openxmlformats-officedocument.themeOverride+xml"/>
  <Override PartName="/ppt/theme/themeOverride310.xml" ContentType="application/vnd.openxmlformats-officedocument.themeOverride+xml"/>
  <Override PartName="/ppt/theme/themeOverride3100.xml" ContentType="application/vnd.openxmlformats-officedocument.themeOverride+xml"/>
  <Override PartName="/ppt/theme/themeOverride3101.xml" ContentType="application/vnd.openxmlformats-officedocument.themeOverride+xml"/>
  <Override PartName="/ppt/theme/themeOverride3102.xml" ContentType="application/vnd.openxmlformats-officedocument.themeOverride+xml"/>
  <Override PartName="/ppt/theme/themeOverride3103.xml" ContentType="application/vnd.openxmlformats-officedocument.themeOverride+xml"/>
  <Override PartName="/ppt/theme/themeOverride3104.xml" ContentType="application/vnd.openxmlformats-officedocument.themeOverride+xml"/>
  <Override PartName="/ppt/theme/themeOverride3105.xml" ContentType="application/vnd.openxmlformats-officedocument.themeOverride+xml"/>
  <Override PartName="/ppt/theme/themeOverride3106.xml" ContentType="application/vnd.openxmlformats-officedocument.themeOverride+xml"/>
  <Override PartName="/ppt/theme/themeOverride3107.xml" ContentType="application/vnd.openxmlformats-officedocument.themeOverride+xml"/>
  <Override PartName="/ppt/theme/themeOverride3108.xml" ContentType="application/vnd.openxmlformats-officedocument.themeOverride+xml"/>
  <Override PartName="/ppt/theme/themeOverride3109.xml" ContentType="application/vnd.openxmlformats-officedocument.themeOverride+xml"/>
  <Override PartName="/ppt/theme/themeOverride311.xml" ContentType="application/vnd.openxmlformats-officedocument.themeOverride+xml"/>
  <Override PartName="/ppt/theme/themeOverride3110.xml" ContentType="application/vnd.openxmlformats-officedocument.themeOverride+xml"/>
  <Override PartName="/ppt/theme/themeOverride3111.xml" ContentType="application/vnd.openxmlformats-officedocument.themeOverride+xml"/>
  <Override PartName="/ppt/theme/themeOverride3112.xml" ContentType="application/vnd.openxmlformats-officedocument.themeOverride+xml"/>
  <Override PartName="/ppt/theme/themeOverride3113.xml" ContentType="application/vnd.openxmlformats-officedocument.themeOverride+xml"/>
  <Override PartName="/ppt/theme/themeOverride3114.xml" ContentType="application/vnd.openxmlformats-officedocument.themeOverride+xml"/>
  <Override PartName="/ppt/theme/themeOverride3115.xml" ContentType="application/vnd.openxmlformats-officedocument.themeOverride+xml"/>
  <Override PartName="/ppt/theme/themeOverride3116.xml" ContentType="application/vnd.openxmlformats-officedocument.themeOverride+xml"/>
  <Override PartName="/ppt/theme/themeOverride3117.xml" ContentType="application/vnd.openxmlformats-officedocument.themeOverride+xml"/>
  <Override PartName="/ppt/theme/themeOverride3118.xml" ContentType="application/vnd.openxmlformats-officedocument.themeOverride+xml"/>
  <Override PartName="/ppt/theme/themeOverride3119.xml" ContentType="application/vnd.openxmlformats-officedocument.themeOverride+xml"/>
  <Override PartName="/ppt/theme/themeOverride312.xml" ContentType="application/vnd.openxmlformats-officedocument.themeOverride+xml"/>
  <Override PartName="/ppt/theme/themeOverride3120.xml" ContentType="application/vnd.openxmlformats-officedocument.themeOverride+xml"/>
  <Override PartName="/ppt/theme/themeOverride3121.xml" ContentType="application/vnd.openxmlformats-officedocument.themeOverride+xml"/>
  <Override PartName="/ppt/theme/themeOverride3122.xml" ContentType="application/vnd.openxmlformats-officedocument.themeOverride+xml"/>
  <Override PartName="/ppt/theme/themeOverride3123.xml" ContentType="application/vnd.openxmlformats-officedocument.themeOverride+xml"/>
  <Override PartName="/ppt/theme/themeOverride3124.xml" ContentType="application/vnd.openxmlformats-officedocument.themeOverride+xml"/>
  <Override PartName="/ppt/theme/themeOverride3125.xml" ContentType="application/vnd.openxmlformats-officedocument.themeOverride+xml"/>
  <Override PartName="/ppt/theme/themeOverride3126.xml" ContentType="application/vnd.openxmlformats-officedocument.themeOverride+xml"/>
  <Override PartName="/ppt/theme/themeOverride3127.xml" ContentType="application/vnd.openxmlformats-officedocument.themeOverride+xml"/>
  <Override PartName="/ppt/theme/themeOverride3128.xml" ContentType="application/vnd.openxmlformats-officedocument.themeOverride+xml"/>
  <Override PartName="/ppt/theme/themeOverride3129.xml" ContentType="application/vnd.openxmlformats-officedocument.themeOverride+xml"/>
  <Override PartName="/ppt/theme/themeOverride313.xml" ContentType="application/vnd.openxmlformats-officedocument.themeOverride+xml"/>
  <Override PartName="/ppt/theme/themeOverride3130.xml" ContentType="application/vnd.openxmlformats-officedocument.themeOverride+xml"/>
  <Override PartName="/ppt/theme/themeOverride3131.xml" ContentType="application/vnd.openxmlformats-officedocument.themeOverride+xml"/>
  <Override PartName="/ppt/theme/themeOverride3132.xml" ContentType="application/vnd.openxmlformats-officedocument.themeOverride+xml"/>
  <Override PartName="/ppt/theme/themeOverride3133.xml" ContentType="application/vnd.openxmlformats-officedocument.themeOverride+xml"/>
  <Override PartName="/ppt/theme/themeOverride3134.xml" ContentType="application/vnd.openxmlformats-officedocument.themeOverride+xml"/>
  <Override PartName="/ppt/theme/themeOverride3135.xml" ContentType="application/vnd.openxmlformats-officedocument.themeOverride+xml"/>
  <Override PartName="/ppt/theme/themeOverride3136.xml" ContentType="application/vnd.openxmlformats-officedocument.themeOverride+xml"/>
  <Override PartName="/ppt/theme/themeOverride3137.xml" ContentType="application/vnd.openxmlformats-officedocument.themeOverride+xml"/>
  <Override PartName="/ppt/theme/themeOverride3138.xml" ContentType="application/vnd.openxmlformats-officedocument.themeOverride+xml"/>
  <Override PartName="/ppt/theme/themeOverride3139.xml" ContentType="application/vnd.openxmlformats-officedocument.themeOverride+xml"/>
  <Override PartName="/ppt/theme/themeOverride314.xml" ContentType="application/vnd.openxmlformats-officedocument.themeOverride+xml"/>
  <Override PartName="/ppt/theme/themeOverride3140.xml" ContentType="application/vnd.openxmlformats-officedocument.themeOverride+xml"/>
  <Override PartName="/ppt/theme/themeOverride3141.xml" ContentType="application/vnd.openxmlformats-officedocument.themeOverride+xml"/>
  <Override PartName="/ppt/theme/themeOverride3142.xml" ContentType="application/vnd.openxmlformats-officedocument.themeOverride+xml"/>
  <Override PartName="/ppt/theme/themeOverride3143.xml" ContentType="application/vnd.openxmlformats-officedocument.themeOverride+xml"/>
  <Override PartName="/ppt/theme/themeOverride3144.xml" ContentType="application/vnd.openxmlformats-officedocument.themeOverride+xml"/>
  <Override PartName="/ppt/theme/themeOverride3145.xml" ContentType="application/vnd.openxmlformats-officedocument.themeOverride+xml"/>
  <Override PartName="/ppt/theme/themeOverride3146.xml" ContentType="application/vnd.openxmlformats-officedocument.themeOverride+xml"/>
  <Override PartName="/ppt/theme/themeOverride3147.xml" ContentType="application/vnd.openxmlformats-officedocument.themeOverride+xml"/>
  <Override PartName="/ppt/theme/themeOverride3148.xml" ContentType="application/vnd.openxmlformats-officedocument.themeOverride+xml"/>
  <Override PartName="/ppt/theme/themeOverride3149.xml" ContentType="application/vnd.openxmlformats-officedocument.themeOverride+xml"/>
  <Override PartName="/ppt/theme/themeOverride315.xml" ContentType="application/vnd.openxmlformats-officedocument.themeOverride+xml"/>
  <Override PartName="/ppt/theme/themeOverride3150.xml" ContentType="application/vnd.openxmlformats-officedocument.themeOverride+xml"/>
  <Override PartName="/ppt/theme/themeOverride3151.xml" ContentType="application/vnd.openxmlformats-officedocument.themeOverride+xml"/>
  <Override PartName="/ppt/theme/themeOverride3152.xml" ContentType="application/vnd.openxmlformats-officedocument.themeOverride+xml"/>
  <Override PartName="/ppt/theme/themeOverride3153.xml" ContentType="application/vnd.openxmlformats-officedocument.themeOverride+xml"/>
  <Override PartName="/ppt/theme/themeOverride3154.xml" ContentType="application/vnd.openxmlformats-officedocument.themeOverride+xml"/>
  <Override PartName="/ppt/theme/themeOverride3155.xml" ContentType="application/vnd.openxmlformats-officedocument.themeOverride+xml"/>
  <Override PartName="/ppt/theme/themeOverride3156.xml" ContentType="application/vnd.openxmlformats-officedocument.themeOverride+xml"/>
  <Override PartName="/ppt/theme/themeOverride3157.xml" ContentType="application/vnd.openxmlformats-officedocument.themeOverride+xml"/>
  <Override PartName="/ppt/theme/themeOverride3158.xml" ContentType="application/vnd.openxmlformats-officedocument.themeOverride+xml"/>
  <Override PartName="/ppt/theme/themeOverride3159.xml" ContentType="application/vnd.openxmlformats-officedocument.themeOverride+xml"/>
  <Override PartName="/ppt/theme/themeOverride316.xml" ContentType="application/vnd.openxmlformats-officedocument.themeOverride+xml"/>
  <Override PartName="/ppt/theme/themeOverride3160.xml" ContentType="application/vnd.openxmlformats-officedocument.themeOverride+xml"/>
  <Override PartName="/ppt/theme/themeOverride3161.xml" ContentType="application/vnd.openxmlformats-officedocument.themeOverride+xml"/>
  <Override PartName="/ppt/theme/themeOverride3162.xml" ContentType="application/vnd.openxmlformats-officedocument.themeOverride+xml"/>
  <Override PartName="/ppt/theme/themeOverride3163.xml" ContentType="application/vnd.openxmlformats-officedocument.themeOverride+xml"/>
  <Override PartName="/ppt/theme/themeOverride3164.xml" ContentType="application/vnd.openxmlformats-officedocument.themeOverride+xml"/>
  <Override PartName="/ppt/theme/themeOverride3165.xml" ContentType="application/vnd.openxmlformats-officedocument.themeOverride+xml"/>
  <Override PartName="/ppt/theme/themeOverride3166.xml" ContentType="application/vnd.openxmlformats-officedocument.themeOverride+xml"/>
  <Override PartName="/ppt/theme/themeOverride3167.xml" ContentType="application/vnd.openxmlformats-officedocument.themeOverride+xml"/>
  <Override PartName="/ppt/theme/themeOverride3168.xml" ContentType="application/vnd.openxmlformats-officedocument.themeOverride+xml"/>
  <Override PartName="/ppt/theme/themeOverride3169.xml" ContentType="application/vnd.openxmlformats-officedocument.themeOverride+xml"/>
  <Override PartName="/ppt/theme/themeOverride317.xml" ContentType="application/vnd.openxmlformats-officedocument.themeOverride+xml"/>
  <Override PartName="/ppt/theme/themeOverride3170.xml" ContentType="application/vnd.openxmlformats-officedocument.themeOverride+xml"/>
  <Override PartName="/ppt/theme/themeOverride3171.xml" ContentType="application/vnd.openxmlformats-officedocument.themeOverride+xml"/>
  <Override PartName="/ppt/theme/themeOverride3172.xml" ContentType="application/vnd.openxmlformats-officedocument.themeOverride+xml"/>
  <Override PartName="/ppt/theme/themeOverride3173.xml" ContentType="application/vnd.openxmlformats-officedocument.themeOverride+xml"/>
  <Override PartName="/ppt/theme/themeOverride3174.xml" ContentType="application/vnd.openxmlformats-officedocument.themeOverride+xml"/>
  <Override PartName="/ppt/theme/themeOverride3175.xml" ContentType="application/vnd.openxmlformats-officedocument.themeOverride+xml"/>
  <Override PartName="/ppt/theme/themeOverride3176.xml" ContentType="application/vnd.openxmlformats-officedocument.themeOverride+xml"/>
  <Override PartName="/ppt/theme/themeOverride3177.xml" ContentType="application/vnd.openxmlformats-officedocument.themeOverride+xml"/>
  <Override PartName="/ppt/theme/themeOverride3178.xml" ContentType="application/vnd.openxmlformats-officedocument.themeOverride+xml"/>
  <Override PartName="/ppt/theme/themeOverride3179.xml" ContentType="application/vnd.openxmlformats-officedocument.themeOverride+xml"/>
  <Override PartName="/ppt/theme/themeOverride318.xml" ContentType="application/vnd.openxmlformats-officedocument.themeOverride+xml"/>
  <Override PartName="/ppt/theme/themeOverride3180.xml" ContentType="application/vnd.openxmlformats-officedocument.themeOverride+xml"/>
  <Override PartName="/ppt/theme/themeOverride3181.xml" ContentType="application/vnd.openxmlformats-officedocument.themeOverride+xml"/>
  <Override PartName="/ppt/theme/themeOverride3182.xml" ContentType="application/vnd.openxmlformats-officedocument.themeOverride+xml"/>
  <Override PartName="/ppt/theme/themeOverride3183.xml" ContentType="application/vnd.openxmlformats-officedocument.themeOverride+xml"/>
  <Override PartName="/ppt/theme/themeOverride3184.xml" ContentType="application/vnd.openxmlformats-officedocument.themeOverride+xml"/>
  <Override PartName="/ppt/theme/themeOverride3185.xml" ContentType="application/vnd.openxmlformats-officedocument.themeOverride+xml"/>
  <Override PartName="/ppt/theme/themeOverride3186.xml" ContentType="application/vnd.openxmlformats-officedocument.themeOverride+xml"/>
  <Override PartName="/ppt/theme/themeOverride3187.xml" ContentType="application/vnd.openxmlformats-officedocument.themeOverride+xml"/>
  <Override PartName="/ppt/theme/themeOverride3188.xml" ContentType="application/vnd.openxmlformats-officedocument.themeOverride+xml"/>
  <Override PartName="/ppt/theme/themeOverride3189.xml" ContentType="application/vnd.openxmlformats-officedocument.themeOverride+xml"/>
  <Override PartName="/ppt/theme/themeOverride319.xml" ContentType="application/vnd.openxmlformats-officedocument.themeOverride+xml"/>
  <Override PartName="/ppt/theme/themeOverride3190.xml" ContentType="application/vnd.openxmlformats-officedocument.themeOverride+xml"/>
  <Override PartName="/ppt/theme/themeOverride3191.xml" ContentType="application/vnd.openxmlformats-officedocument.themeOverride+xml"/>
  <Override PartName="/ppt/theme/themeOverride3192.xml" ContentType="application/vnd.openxmlformats-officedocument.themeOverride+xml"/>
  <Override PartName="/ppt/theme/themeOverride3193.xml" ContentType="application/vnd.openxmlformats-officedocument.themeOverride+xml"/>
  <Override PartName="/ppt/theme/themeOverride3194.xml" ContentType="application/vnd.openxmlformats-officedocument.themeOverride+xml"/>
  <Override PartName="/ppt/theme/themeOverride3195.xml" ContentType="application/vnd.openxmlformats-officedocument.themeOverride+xml"/>
  <Override PartName="/ppt/theme/themeOverride3196.xml" ContentType="application/vnd.openxmlformats-officedocument.themeOverride+xml"/>
  <Override PartName="/ppt/theme/themeOverride3197.xml" ContentType="application/vnd.openxmlformats-officedocument.themeOverride+xml"/>
  <Override PartName="/ppt/theme/themeOverride3198.xml" ContentType="application/vnd.openxmlformats-officedocument.themeOverride+xml"/>
  <Override PartName="/ppt/theme/themeOverride3199.xml" ContentType="application/vnd.openxmlformats-officedocument.themeOverride+xml"/>
  <Override PartName="/ppt/theme/themeOverride32.xml" ContentType="application/vnd.openxmlformats-officedocument.themeOverride+xml"/>
  <Override PartName="/ppt/theme/themeOverride320.xml" ContentType="application/vnd.openxmlformats-officedocument.themeOverride+xml"/>
  <Override PartName="/ppt/theme/themeOverride3200.xml" ContentType="application/vnd.openxmlformats-officedocument.themeOverride+xml"/>
  <Override PartName="/ppt/theme/themeOverride3201.xml" ContentType="application/vnd.openxmlformats-officedocument.themeOverride+xml"/>
  <Override PartName="/ppt/theme/themeOverride3202.xml" ContentType="application/vnd.openxmlformats-officedocument.themeOverride+xml"/>
  <Override PartName="/ppt/theme/themeOverride3203.xml" ContentType="application/vnd.openxmlformats-officedocument.themeOverride+xml"/>
  <Override PartName="/ppt/theme/themeOverride3204.xml" ContentType="application/vnd.openxmlformats-officedocument.themeOverride+xml"/>
  <Override PartName="/ppt/theme/themeOverride3205.xml" ContentType="application/vnd.openxmlformats-officedocument.themeOverride+xml"/>
  <Override PartName="/ppt/theme/themeOverride3206.xml" ContentType="application/vnd.openxmlformats-officedocument.themeOverride+xml"/>
  <Override PartName="/ppt/theme/themeOverride3207.xml" ContentType="application/vnd.openxmlformats-officedocument.themeOverride+xml"/>
  <Override PartName="/ppt/theme/themeOverride3208.xml" ContentType="application/vnd.openxmlformats-officedocument.themeOverride+xml"/>
  <Override PartName="/ppt/theme/themeOverride3209.xml" ContentType="application/vnd.openxmlformats-officedocument.themeOverride+xml"/>
  <Override PartName="/ppt/theme/themeOverride321.xml" ContentType="application/vnd.openxmlformats-officedocument.themeOverride+xml"/>
  <Override PartName="/ppt/theme/themeOverride3210.xml" ContentType="application/vnd.openxmlformats-officedocument.themeOverride+xml"/>
  <Override PartName="/ppt/theme/themeOverride3211.xml" ContentType="application/vnd.openxmlformats-officedocument.themeOverride+xml"/>
  <Override PartName="/ppt/theme/themeOverride3212.xml" ContentType="application/vnd.openxmlformats-officedocument.themeOverride+xml"/>
  <Override PartName="/ppt/theme/themeOverride3213.xml" ContentType="application/vnd.openxmlformats-officedocument.themeOverride+xml"/>
  <Override PartName="/ppt/theme/themeOverride3214.xml" ContentType="application/vnd.openxmlformats-officedocument.themeOverride+xml"/>
  <Override PartName="/ppt/theme/themeOverride3215.xml" ContentType="application/vnd.openxmlformats-officedocument.themeOverride+xml"/>
  <Override PartName="/ppt/theme/themeOverride3216.xml" ContentType="application/vnd.openxmlformats-officedocument.themeOverride+xml"/>
  <Override PartName="/ppt/theme/themeOverride3217.xml" ContentType="application/vnd.openxmlformats-officedocument.themeOverride+xml"/>
  <Override PartName="/ppt/theme/themeOverride3218.xml" ContentType="application/vnd.openxmlformats-officedocument.themeOverride+xml"/>
  <Override PartName="/ppt/theme/themeOverride3219.xml" ContentType="application/vnd.openxmlformats-officedocument.themeOverride+xml"/>
  <Override PartName="/ppt/theme/themeOverride322.xml" ContentType="application/vnd.openxmlformats-officedocument.themeOverride+xml"/>
  <Override PartName="/ppt/theme/themeOverride3220.xml" ContentType="application/vnd.openxmlformats-officedocument.themeOverride+xml"/>
  <Override PartName="/ppt/theme/themeOverride3221.xml" ContentType="application/vnd.openxmlformats-officedocument.themeOverride+xml"/>
  <Override PartName="/ppt/theme/themeOverride3222.xml" ContentType="application/vnd.openxmlformats-officedocument.themeOverride+xml"/>
  <Override PartName="/ppt/theme/themeOverride3223.xml" ContentType="application/vnd.openxmlformats-officedocument.themeOverride+xml"/>
  <Override PartName="/ppt/theme/themeOverride3224.xml" ContentType="application/vnd.openxmlformats-officedocument.themeOverride+xml"/>
  <Override PartName="/ppt/theme/themeOverride3225.xml" ContentType="application/vnd.openxmlformats-officedocument.themeOverride+xml"/>
  <Override PartName="/ppt/theme/themeOverride3226.xml" ContentType="application/vnd.openxmlformats-officedocument.themeOverride+xml"/>
  <Override PartName="/ppt/theme/themeOverride3227.xml" ContentType="application/vnd.openxmlformats-officedocument.themeOverride+xml"/>
  <Override PartName="/ppt/theme/themeOverride3228.xml" ContentType="application/vnd.openxmlformats-officedocument.themeOverride+xml"/>
  <Override PartName="/ppt/theme/themeOverride3229.xml" ContentType="application/vnd.openxmlformats-officedocument.themeOverride+xml"/>
  <Override PartName="/ppt/theme/themeOverride323.xml" ContentType="application/vnd.openxmlformats-officedocument.themeOverride+xml"/>
  <Override PartName="/ppt/theme/themeOverride3230.xml" ContentType="application/vnd.openxmlformats-officedocument.themeOverride+xml"/>
  <Override PartName="/ppt/theme/themeOverride3231.xml" ContentType="application/vnd.openxmlformats-officedocument.themeOverride+xml"/>
  <Override PartName="/ppt/theme/themeOverride3232.xml" ContentType="application/vnd.openxmlformats-officedocument.themeOverride+xml"/>
  <Override PartName="/ppt/theme/themeOverride3233.xml" ContentType="application/vnd.openxmlformats-officedocument.themeOverride+xml"/>
  <Override PartName="/ppt/theme/themeOverride3234.xml" ContentType="application/vnd.openxmlformats-officedocument.themeOverride+xml"/>
  <Override PartName="/ppt/theme/themeOverride3235.xml" ContentType="application/vnd.openxmlformats-officedocument.themeOverride+xml"/>
  <Override PartName="/ppt/theme/themeOverride3236.xml" ContentType="application/vnd.openxmlformats-officedocument.themeOverride+xml"/>
  <Override PartName="/ppt/theme/themeOverride3237.xml" ContentType="application/vnd.openxmlformats-officedocument.themeOverride+xml"/>
  <Override PartName="/ppt/theme/themeOverride3238.xml" ContentType="application/vnd.openxmlformats-officedocument.themeOverride+xml"/>
  <Override PartName="/ppt/theme/themeOverride3239.xml" ContentType="application/vnd.openxmlformats-officedocument.themeOverride+xml"/>
  <Override PartName="/ppt/theme/themeOverride324.xml" ContentType="application/vnd.openxmlformats-officedocument.themeOverride+xml"/>
  <Override PartName="/ppt/theme/themeOverride3240.xml" ContentType="application/vnd.openxmlformats-officedocument.themeOverride+xml"/>
  <Override PartName="/ppt/theme/themeOverride3241.xml" ContentType="application/vnd.openxmlformats-officedocument.themeOverride+xml"/>
  <Override PartName="/ppt/theme/themeOverride3242.xml" ContentType="application/vnd.openxmlformats-officedocument.themeOverride+xml"/>
  <Override PartName="/ppt/theme/themeOverride3243.xml" ContentType="application/vnd.openxmlformats-officedocument.themeOverride+xml"/>
  <Override PartName="/ppt/theme/themeOverride3244.xml" ContentType="application/vnd.openxmlformats-officedocument.themeOverride+xml"/>
  <Override PartName="/ppt/theme/themeOverride3245.xml" ContentType="application/vnd.openxmlformats-officedocument.themeOverride+xml"/>
  <Override PartName="/ppt/theme/themeOverride3246.xml" ContentType="application/vnd.openxmlformats-officedocument.themeOverride+xml"/>
  <Override PartName="/ppt/theme/themeOverride3247.xml" ContentType="application/vnd.openxmlformats-officedocument.themeOverride+xml"/>
  <Override PartName="/ppt/theme/themeOverride3248.xml" ContentType="application/vnd.openxmlformats-officedocument.themeOverride+xml"/>
  <Override PartName="/ppt/theme/themeOverride3249.xml" ContentType="application/vnd.openxmlformats-officedocument.themeOverride+xml"/>
  <Override PartName="/ppt/theme/themeOverride325.xml" ContentType="application/vnd.openxmlformats-officedocument.themeOverride+xml"/>
  <Override PartName="/ppt/theme/themeOverride3250.xml" ContentType="application/vnd.openxmlformats-officedocument.themeOverride+xml"/>
  <Override PartName="/ppt/theme/themeOverride3251.xml" ContentType="application/vnd.openxmlformats-officedocument.themeOverride+xml"/>
  <Override PartName="/ppt/theme/themeOverride3252.xml" ContentType="application/vnd.openxmlformats-officedocument.themeOverride+xml"/>
  <Override PartName="/ppt/theme/themeOverride3253.xml" ContentType="application/vnd.openxmlformats-officedocument.themeOverride+xml"/>
  <Override PartName="/ppt/theme/themeOverride3254.xml" ContentType="application/vnd.openxmlformats-officedocument.themeOverride+xml"/>
  <Override PartName="/ppt/theme/themeOverride3255.xml" ContentType="application/vnd.openxmlformats-officedocument.themeOverride+xml"/>
  <Override PartName="/ppt/theme/themeOverride3256.xml" ContentType="application/vnd.openxmlformats-officedocument.themeOverride+xml"/>
  <Override PartName="/ppt/theme/themeOverride3257.xml" ContentType="application/vnd.openxmlformats-officedocument.themeOverride+xml"/>
  <Override PartName="/ppt/theme/themeOverride3258.xml" ContentType="application/vnd.openxmlformats-officedocument.themeOverride+xml"/>
  <Override PartName="/ppt/theme/themeOverride3259.xml" ContentType="application/vnd.openxmlformats-officedocument.themeOverride+xml"/>
  <Override PartName="/ppt/theme/themeOverride326.xml" ContentType="application/vnd.openxmlformats-officedocument.themeOverride+xml"/>
  <Override PartName="/ppt/theme/themeOverride3260.xml" ContentType="application/vnd.openxmlformats-officedocument.themeOverride+xml"/>
  <Override PartName="/ppt/theme/themeOverride3261.xml" ContentType="application/vnd.openxmlformats-officedocument.themeOverride+xml"/>
  <Override PartName="/ppt/theme/themeOverride3262.xml" ContentType="application/vnd.openxmlformats-officedocument.themeOverride+xml"/>
  <Override PartName="/ppt/theme/themeOverride3263.xml" ContentType="application/vnd.openxmlformats-officedocument.themeOverride+xml"/>
  <Override PartName="/ppt/theme/themeOverride3264.xml" ContentType="application/vnd.openxmlformats-officedocument.themeOverride+xml"/>
  <Override PartName="/ppt/theme/themeOverride3265.xml" ContentType="application/vnd.openxmlformats-officedocument.themeOverride+xml"/>
  <Override PartName="/ppt/theme/themeOverride3266.xml" ContentType="application/vnd.openxmlformats-officedocument.themeOverride+xml"/>
  <Override PartName="/ppt/theme/themeOverride3267.xml" ContentType="application/vnd.openxmlformats-officedocument.themeOverride+xml"/>
  <Override PartName="/ppt/theme/themeOverride3268.xml" ContentType="application/vnd.openxmlformats-officedocument.themeOverride+xml"/>
  <Override PartName="/ppt/theme/themeOverride3269.xml" ContentType="application/vnd.openxmlformats-officedocument.themeOverride+xml"/>
  <Override PartName="/ppt/theme/themeOverride327.xml" ContentType="application/vnd.openxmlformats-officedocument.themeOverride+xml"/>
  <Override PartName="/ppt/theme/themeOverride3270.xml" ContentType="application/vnd.openxmlformats-officedocument.themeOverride+xml"/>
  <Override PartName="/ppt/theme/themeOverride3271.xml" ContentType="application/vnd.openxmlformats-officedocument.themeOverride+xml"/>
  <Override PartName="/ppt/theme/themeOverride3272.xml" ContentType="application/vnd.openxmlformats-officedocument.themeOverride+xml"/>
  <Override PartName="/ppt/theme/themeOverride3273.xml" ContentType="application/vnd.openxmlformats-officedocument.themeOverride+xml"/>
  <Override PartName="/ppt/theme/themeOverride3274.xml" ContentType="application/vnd.openxmlformats-officedocument.themeOverride+xml"/>
  <Override PartName="/ppt/theme/themeOverride3275.xml" ContentType="application/vnd.openxmlformats-officedocument.themeOverride+xml"/>
  <Override PartName="/ppt/theme/themeOverride3276.xml" ContentType="application/vnd.openxmlformats-officedocument.themeOverride+xml"/>
  <Override PartName="/ppt/theme/themeOverride3277.xml" ContentType="application/vnd.openxmlformats-officedocument.themeOverride+xml"/>
  <Override PartName="/ppt/theme/themeOverride3278.xml" ContentType="application/vnd.openxmlformats-officedocument.themeOverride+xml"/>
  <Override PartName="/ppt/theme/themeOverride3279.xml" ContentType="application/vnd.openxmlformats-officedocument.themeOverride+xml"/>
  <Override PartName="/ppt/theme/themeOverride328.xml" ContentType="application/vnd.openxmlformats-officedocument.themeOverride+xml"/>
  <Override PartName="/ppt/theme/themeOverride3280.xml" ContentType="application/vnd.openxmlformats-officedocument.themeOverride+xml"/>
  <Override PartName="/ppt/theme/themeOverride3281.xml" ContentType="application/vnd.openxmlformats-officedocument.themeOverride+xml"/>
  <Override PartName="/ppt/theme/themeOverride3282.xml" ContentType="application/vnd.openxmlformats-officedocument.themeOverride+xml"/>
  <Override PartName="/ppt/theme/themeOverride3283.xml" ContentType="application/vnd.openxmlformats-officedocument.themeOverride+xml"/>
  <Override PartName="/ppt/theme/themeOverride3284.xml" ContentType="application/vnd.openxmlformats-officedocument.themeOverride+xml"/>
  <Override PartName="/ppt/theme/themeOverride3285.xml" ContentType="application/vnd.openxmlformats-officedocument.themeOverride+xml"/>
  <Override PartName="/ppt/theme/themeOverride3286.xml" ContentType="application/vnd.openxmlformats-officedocument.themeOverride+xml"/>
  <Override PartName="/ppt/theme/themeOverride3287.xml" ContentType="application/vnd.openxmlformats-officedocument.themeOverride+xml"/>
  <Override PartName="/ppt/theme/themeOverride3288.xml" ContentType="application/vnd.openxmlformats-officedocument.themeOverride+xml"/>
  <Override PartName="/ppt/theme/themeOverride3289.xml" ContentType="application/vnd.openxmlformats-officedocument.themeOverride+xml"/>
  <Override PartName="/ppt/theme/themeOverride329.xml" ContentType="application/vnd.openxmlformats-officedocument.themeOverride+xml"/>
  <Override PartName="/ppt/theme/themeOverride3290.xml" ContentType="application/vnd.openxmlformats-officedocument.themeOverride+xml"/>
  <Override PartName="/ppt/theme/themeOverride3291.xml" ContentType="application/vnd.openxmlformats-officedocument.themeOverride+xml"/>
  <Override PartName="/ppt/theme/themeOverride3292.xml" ContentType="application/vnd.openxmlformats-officedocument.themeOverride+xml"/>
  <Override PartName="/ppt/theme/themeOverride3293.xml" ContentType="application/vnd.openxmlformats-officedocument.themeOverride+xml"/>
  <Override PartName="/ppt/theme/themeOverride3294.xml" ContentType="application/vnd.openxmlformats-officedocument.themeOverride+xml"/>
  <Override PartName="/ppt/theme/themeOverride3295.xml" ContentType="application/vnd.openxmlformats-officedocument.themeOverride+xml"/>
  <Override PartName="/ppt/theme/themeOverride3296.xml" ContentType="application/vnd.openxmlformats-officedocument.themeOverride+xml"/>
  <Override PartName="/ppt/theme/themeOverride3297.xml" ContentType="application/vnd.openxmlformats-officedocument.themeOverride+xml"/>
  <Override PartName="/ppt/theme/themeOverride3298.xml" ContentType="application/vnd.openxmlformats-officedocument.themeOverride+xml"/>
  <Override PartName="/ppt/theme/themeOverride3299.xml" ContentType="application/vnd.openxmlformats-officedocument.themeOverride+xml"/>
  <Override PartName="/ppt/theme/themeOverride33.xml" ContentType="application/vnd.openxmlformats-officedocument.themeOverride+xml"/>
  <Override PartName="/ppt/theme/themeOverride330.xml" ContentType="application/vnd.openxmlformats-officedocument.themeOverride+xml"/>
  <Override PartName="/ppt/theme/themeOverride3300.xml" ContentType="application/vnd.openxmlformats-officedocument.themeOverride+xml"/>
  <Override PartName="/ppt/theme/themeOverride3301.xml" ContentType="application/vnd.openxmlformats-officedocument.themeOverride+xml"/>
  <Override PartName="/ppt/theme/themeOverride3302.xml" ContentType="application/vnd.openxmlformats-officedocument.themeOverride+xml"/>
  <Override PartName="/ppt/theme/themeOverride3303.xml" ContentType="application/vnd.openxmlformats-officedocument.themeOverride+xml"/>
  <Override PartName="/ppt/theme/themeOverride3304.xml" ContentType="application/vnd.openxmlformats-officedocument.themeOverride+xml"/>
  <Override PartName="/ppt/theme/themeOverride3305.xml" ContentType="application/vnd.openxmlformats-officedocument.themeOverride+xml"/>
  <Override PartName="/ppt/theme/themeOverride3306.xml" ContentType="application/vnd.openxmlformats-officedocument.themeOverride+xml"/>
  <Override PartName="/ppt/theme/themeOverride3307.xml" ContentType="application/vnd.openxmlformats-officedocument.themeOverride+xml"/>
  <Override PartName="/ppt/theme/themeOverride3308.xml" ContentType="application/vnd.openxmlformats-officedocument.themeOverride+xml"/>
  <Override PartName="/ppt/theme/themeOverride3309.xml" ContentType="application/vnd.openxmlformats-officedocument.themeOverride+xml"/>
  <Override PartName="/ppt/theme/themeOverride331.xml" ContentType="application/vnd.openxmlformats-officedocument.themeOverride+xml"/>
  <Override PartName="/ppt/theme/themeOverride3310.xml" ContentType="application/vnd.openxmlformats-officedocument.themeOverride+xml"/>
  <Override PartName="/ppt/theme/themeOverride3311.xml" ContentType="application/vnd.openxmlformats-officedocument.themeOverride+xml"/>
  <Override PartName="/ppt/theme/themeOverride3312.xml" ContentType="application/vnd.openxmlformats-officedocument.themeOverride+xml"/>
  <Override PartName="/ppt/theme/themeOverride3313.xml" ContentType="application/vnd.openxmlformats-officedocument.themeOverride+xml"/>
  <Override PartName="/ppt/theme/themeOverride3314.xml" ContentType="application/vnd.openxmlformats-officedocument.themeOverride+xml"/>
  <Override PartName="/ppt/theme/themeOverride3315.xml" ContentType="application/vnd.openxmlformats-officedocument.themeOverride+xml"/>
  <Override PartName="/ppt/theme/themeOverride3316.xml" ContentType="application/vnd.openxmlformats-officedocument.themeOverride+xml"/>
  <Override PartName="/ppt/theme/themeOverride3317.xml" ContentType="application/vnd.openxmlformats-officedocument.themeOverride+xml"/>
  <Override PartName="/ppt/theme/themeOverride3318.xml" ContentType="application/vnd.openxmlformats-officedocument.themeOverride+xml"/>
  <Override PartName="/ppt/theme/themeOverride3319.xml" ContentType="application/vnd.openxmlformats-officedocument.themeOverride+xml"/>
  <Override PartName="/ppt/theme/themeOverride332.xml" ContentType="application/vnd.openxmlformats-officedocument.themeOverride+xml"/>
  <Override PartName="/ppt/theme/themeOverride3320.xml" ContentType="application/vnd.openxmlformats-officedocument.themeOverride+xml"/>
  <Override PartName="/ppt/theme/themeOverride3321.xml" ContentType="application/vnd.openxmlformats-officedocument.themeOverride+xml"/>
  <Override PartName="/ppt/theme/themeOverride3322.xml" ContentType="application/vnd.openxmlformats-officedocument.themeOverride+xml"/>
  <Override PartName="/ppt/theme/themeOverride3323.xml" ContentType="application/vnd.openxmlformats-officedocument.themeOverride+xml"/>
  <Override PartName="/ppt/theme/themeOverride3324.xml" ContentType="application/vnd.openxmlformats-officedocument.themeOverride+xml"/>
  <Override PartName="/ppt/theme/themeOverride3325.xml" ContentType="application/vnd.openxmlformats-officedocument.themeOverride+xml"/>
  <Override PartName="/ppt/theme/themeOverride3326.xml" ContentType="application/vnd.openxmlformats-officedocument.themeOverride+xml"/>
  <Override PartName="/ppt/theme/themeOverride3327.xml" ContentType="application/vnd.openxmlformats-officedocument.themeOverride+xml"/>
  <Override PartName="/ppt/theme/themeOverride3328.xml" ContentType="application/vnd.openxmlformats-officedocument.themeOverride+xml"/>
  <Override PartName="/ppt/theme/themeOverride3329.xml" ContentType="application/vnd.openxmlformats-officedocument.themeOverride+xml"/>
  <Override PartName="/ppt/theme/themeOverride333.xml" ContentType="application/vnd.openxmlformats-officedocument.themeOverride+xml"/>
  <Override PartName="/ppt/theme/themeOverride3330.xml" ContentType="application/vnd.openxmlformats-officedocument.themeOverride+xml"/>
  <Override PartName="/ppt/theme/themeOverride3331.xml" ContentType="application/vnd.openxmlformats-officedocument.themeOverride+xml"/>
  <Override PartName="/ppt/theme/themeOverride3332.xml" ContentType="application/vnd.openxmlformats-officedocument.themeOverride+xml"/>
  <Override PartName="/ppt/theme/themeOverride3333.xml" ContentType="application/vnd.openxmlformats-officedocument.themeOverride+xml"/>
  <Override PartName="/ppt/theme/themeOverride3334.xml" ContentType="application/vnd.openxmlformats-officedocument.themeOverride+xml"/>
  <Override PartName="/ppt/theme/themeOverride3335.xml" ContentType="application/vnd.openxmlformats-officedocument.themeOverride+xml"/>
  <Override PartName="/ppt/theme/themeOverride3336.xml" ContentType="application/vnd.openxmlformats-officedocument.themeOverride+xml"/>
  <Override PartName="/ppt/theme/themeOverride3337.xml" ContentType="application/vnd.openxmlformats-officedocument.themeOverride+xml"/>
  <Override PartName="/ppt/theme/themeOverride3338.xml" ContentType="application/vnd.openxmlformats-officedocument.themeOverride+xml"/>
  <Override PartName="/ppt/theme/themeOverride3339.xml" ContentType="application/vnd.openxmlformats-officedocument.themeOverride+xml"/>
  <Override PartName="/ppt/theme/themeOverride334.xml" ContentType="application/vnd.openxmlformats-officedocument.themeOverride+xml"/>
  <Override PartName="/ppt/theme/themeOverride3340.xml" ContentType="application/vnd.openxmlformats-officedocument.themeOverride+xml"/>
  <Override PartName="/ppt/theme/themeOverride3341.xml" ContentType="application/vnd.openxmlformats-officedocument.themeOverride+xml"/>
  <Override PartName="/ppt/theme/themeOverride3342.xml" ContentType="application/vnd.openxmlformats-officedocument.themeOverride+xml"/>
  <Override PartName="/ppt/theme/themeOverride3343.xml" ContentType="application/vnd.openxmlformats-officedocument.themeOverride+xml"/>
  <Override PartName="/ppt/theme/themeOverride3344.xml" ContentType="application/vnd.openxmlformats-officedocument.themeOverride+xml"/>
  <Override PartName="/ppt/theme/themeOverride3345.xml" ContentType="application/vnd.openxmlformats-officedocument.themeOverride+xml"/>
  <Override PartName="/ppt/theme/themeOverride3346.xml" ContentType="application/vnd.openxmlformats-officedocument.themeOverride+xml"/>
  <Override PartName="/ppt/theme/themeOverride3347.xml" ContentType="application/vnd.openxmlformats-officedocument.themeOverride+xml"/>
  <Override PartName="/ppt/theme/themeOverride3348.xml" ContentType="application/vnd.openxmlformats-officedocument.themeOverride+xml"/>
  <Override PartName="/ppt/theme/themeOverride3349.xml" ContentType="application/vnd.openxmlformats-officedocument.themeOverride+xml"/>
  <Override PartName="/ppt/theme/themeOverride335.xml" ContentType="application/vnd.openxmlformats-officedocument.themeOverride+xml"/>
  <Override PartName="/ppt/theme/themeOverride3350.xml" ContentType="application/vnd.openxmlformats-officedocument.themeOverride+xml"/>
  <Override PartName="/ppt/theme/themeOverride3351.xml" ContentType="application/vnd.openxmlformats-officedocument.themeOverride+xml"/>
  <Override PartName="/ppt/theme/themeOverride3352.xml" ContentType="application/vnd.openxmlformats-officedocument.themeOverride+xml"/>
  <Override PartName="/ppt/theme/themeOverride3353.xml" ContentType="application/vnd.openxmlformats-officedocument.themeOverride+xml"/>
  <Override PartName="/ppt/theme/themeOverride3354.xml" ContentType="application/vnd.openxmlformats-officedocument.themeOverride+xml"/>
  <Override PartName="/ppt/theme/themeOverride3355.xml" ContentType="application/vnd.openxmlformats-officedocument.themeOverride+xml"/>
  <Override PartName="/ppt/theme/themeOverride3356.xml" ContentType="application/vnd.openxmlformats-officedocument.themeOverride+xml"/>
  <Override PartName="/ppt/theme/themeOverride3357.xml" ContentType="application/vnd.openxmlformats-officedocument.themeOverride+xml"/>
  <Override PartName="/ppt/theme/themeOverride3358.xml" ContentType="application/vnd.openxmlformats-officedocument.themeOverride+xml"/>
  <Override PartName="/ppt/theme/themeOverride3359.xml" ContentType="application/vnd.openxmlformats-officedocument.themeOverride+xml"/>
  <Override PartName="/ppt/theme/themeOverride336.xml" ContentType="application/vnd.openxmlformats-officedocument.themeOverride+xml"/>
  <Override PartName="/ppt/theme/themeOverride3360.xml" ContentType="application/vnd.openxmlformats-officedocument.themeOverride+xml"/>
  <Override PartName="/ppt/theme/themeOverride3361.xml" ContentType="application/vnd.openxmlformats-officedocument.themeOverride+xml"/>
  <Override PartName="/ppt/theme/themeOverride3362.xml" ContentType="application/vnd.openxmlformats-officedocument.themeOverride+xml"/>
  <Override PartName="/ppt/theme/themeOverride3363.xml" ContentType="application/vnd.openxmlformats-officedocument.themeOverride+xml"/>
  <Override PartName="/ppt/theme/themeOverride3364.xml" ContentType="application/vnd.openxmlformats-officedocument.themeOverride+xml"/>
  <Override PartName="/ppt/theme/themeOverride3365.xml" ContentType="application/vnd.openxmlformats-officedocument.themeOverride+xml"/>
  <Override PartName="/ppt/theme/themeOverride3366.xml" ContentType="application/vnd.openxmlformats-officedocument.themeOverride+xml"/>
  <Override PartName="/ppt/theme/themeOverride3367.xml" ContentType="application/vnd.openxmlformats-officedocument.themeOverride+xml"/>
  <Override PartName="/ppt/theme/themeOverride3368.xml" ContentType="application/vnd.openxmlformats-officedocument.themeOverride+xml"/>
  <Override PartName="/ppt/theme/themeOverride3369.xml" ContentType="application/vnd.openxmlformats-officedocument.themeOverride+xml"/>
  <Override PartName="/ppt/theme/themeOverride337.xml" ContentType="application/vnd.openxmlformats-officedocument.themeOverride+xml"/>
  <Override PartName="/ppt/theme/themeOverride3370.xml" ContentType="application/vnd.openxmlformats-officedocument.themeOverride+xml"/>
  <Override PartName="/ppt/theme/themeOverride3371.xml" ContentType="application/vnd.openxmlformats-officedocument.themeOverride+xml"/>
  <Override PartName="/ppt/theme/themeOverride3372.xml" ContentType="application/vnd.openxmlformats-officedocument.themeOverride+xml"/>
  <Override PartName="/ppt/theme/themeOverride3373.xml" ContentType="application/vnd.openxmlformats-officedocument.themeOverride+xml"/>
  <Override PartName="/ppt/theme/themeOverride3374.xml" ContentType="application/vnd.openxmlformats-officedocument.themeOverride+xml"/>
  <Override PartName="/ppt/theme/themeOverride3375.xml" ContentType="application/vnd.openxmlformats-officedocument.themeOverride+xml"/>
  <Override PartName="/ppt/theme/themeOverride3376.xml" ContentType="application/vnd.openxmlformats-officedocument.themeOverride+xml"/>
  <Override PartName="/ppt/theme/themeOverride3377.xml" ContentType="application/vnd.openxmlformats-officedocument.themeOverride+xml"/>
  <Override PartName="/ppt/theme/themeOverride3378.xml" ContentType="application/vnd.openxmlformats-officedocument.themeOverride+xml"/>
  <Override PartName="/ppt/theme/themeOverride3379.xml" ContentType="application/vnd.openxmlformats-officedocument.themeOverride+xml"/>
  <Override PartName="/ppt/theme/themeOverride338.xml" ContentType="application/vnd.openxmlformats-officedocument.themeOverride+xml"/>
  <Override PartName="/ppt/theme/themeOverride3380.xml" ContentType="application/vnd.openxmlformats-officedocument.themeOverride+xml"/>
  <Override PartName="/ppt/theme/themeOverride3381.xml" ContentType="application/vnd.openxmlformats-officedocument.themeOverride+xml"/>
  <Override PartName="/ppt/theme/themeOverride3382.xml" ContentType="application/vnd.openxmlformats-officedocument.themeOverride+xml"/>
  <Override PartName="/ppt/theme/themeOverride3383.xml" ContentType="application/vnd.openxmlformats-officedocument.themeOverride+xml"/>
  <Override PartName="/ppt/theme/themeOverride3384.xml" ContentType="application/vnd.openxmlformats-officedocument.themeOverride+xml"/>
  <Override PartName="/ppt/theme/themeOverride3385.xml" ContentType="application/vnd.openxmlformats-officedocument.themeOverride+xml"/>
  <Override PartName="/ppt/theme/themeOverride3386.xml" ContentType="application/vnd.openxmlformats-officedocument.themeOverride+xml"/>
  <Override PartName="/ppt/theme/themeOverride3387.xml" ContentType="application/vnd.openxmlformats-officedocument.themeOverride+xml"/>
  <Override PartName="/ppt/theme/themeOverride3388.xml" ContentType="application/vnd.openxmlformats-officedocument.themeOverride+xml"/>
  <Override PartName="/ppt/theme/themeOverride3389.xml" ContentType="application/vnd.openxmlformats-officedocument.themeOverride+xml"/>
  <Override PartName="/ppt/theme/themeOverride339.xml" ContentType="application/vnd.openxmlformats-officedocument.themeOverride+xml"/>
  <Override PartName="/ppt/theme/themeOverride3390.xml" ContentType="application/vnd.openxmlformats-officedocument.themeOverride+xml"/>
  <Override PartName="/ppt/theme/themeOverride3391.xml" ContentType="application/vnd.openxmlformats-officedocument.themeOverride+xml"/>
  <Override PartName="/ppt/theme/themeOverride3392.xml" ContentType="application/vnd.openxmlformats-officedocument.themeOverride+xml"/>
  <Override PartName="/ppt/theme/themeOverride3393.xml" ContentType="application/vnd.openxmlformats-officedocument.themeOverride+xml"/>
  <Override PartName="/ppt/theme/themeOverride3394.xml" ContentType="application/vnd.openxmlformats-officedocument.themeOverride+xml"/>
  <Override PartName="/ppt/theme/themeOverride3395.xml" ContentType="application/vnd.openxmlformats-officedocument.themeOverride+xml"/>
  <Override PartName="/ppt/theme/themeOverride3396.xml" ContentType="application/vnd.openxmlformats-officedocument.themeOverride+xml"/>
  <Override PartName="/ppt/theme/themeOverride3397.xml" ContentType="application/vnd.openxmlformats-officedocument.themeOverride+xml"/>
  <Override PartName="/ppt/theme/themeOverride3398.xml" ContentType="application/vnd.openxmlformats-officedocument.themeOverride+xml"/>
  <Override PartName="/ppt/theme/themeOverride3399.xml" ContentType="application/vnd.openxmlformats-officedocument.themeOverride+xml"/>
  <Override PartName="/ppt/theme/themeOverride34.xml" ContentType="application/vnd.openxmlformats-officedocument.themeOverride+xml"/>
  <Override PartName="/ppt/theme/themeOverride340.xml" ContentType="application/vnd.openxmlformats-officedocument.themeOverride+xml"/>
  <Override PartName="/ppt/theme/themeOverride3400.xml" ContentType="application/vnd.openxmlformats-officedocument.themeOverride+xml"/>
  <Override PartName="/ppt/theme/themeOverride3401.xml" ContentType="application/vnd.openxmlformats-officedocument.themeOverride+xml"/>
  <Override PartName="/ppt/theme/themeOverride3402.xml" ContentType="application/vnd.openxmlformats-officedocument.themeOverride+xml"/>
  <Override PartName="/ppt/theme/themeOverride3403.xml" ContentType="application/vnd.openxmlformats-officedocument.themeOverride+xml"/>
  <Override PartName="/ppt/theme/themeOverride3404.xml" ContentType="application/vnd.openxmlformats-officedocument.themeOverride+xml"/>
  <Override PartName="/ppt/theme/themeOverride3405.xml" ContentType="application/vnd.openxmlformats-officedocument.themeOverride+xml"/>
  <Override PartName="/ppt/theme/themeOverride3406.xml" ContentType="application/vnd.openxmlformats-officedocument.themeOverride+xml"/>
  <Override PartName="/ppt/theme/themeOverride3407.xml" ContentType="application/vnd.openxmlformats-officedocument.themeOverride+xml"/>
  <Override PartName="/ppt/theme/themeOverride3408.xml" ContentType="application/vnd.openxmlformats-officedocument.themeOverride+xml"/>
  <Override PartName="/ppt/theme/themeOverride3409.xml" ContentType="application/vnd.openxmlformats-officedocument.themeOverride+xml"/>
  <Override PartName="/ppt/theme/themeOverride341.xml" ContentType="application/vnd.openxmlformats-officedocument.themeOverride+xml"/>
  <Override PartName="/ppt/theme/themeOverride3410.xml" ContentType="application/vnd.openxmlformats-officedocument.themeOverride+xml"/>
  <Override PartName="/ppt/theme/themeOverride3411.xml" ContentType="application/vnd.openxmlformats-officedocument.themeOverride+xml"/>
  <Override PartName="/ppt/theme/themeOverride3412.xml" ContentType="application/vnd.openxmlformats-officedocument.themeOverride+xml"/>
  <Override PartName="/ppt/theme/themeOverride3413.xml" ContentType="application/vnd.openxmlformats-officedocument.themeOverride+xml"/>
  <Override PartName="/ppt/theme/themeOverride3414.xml" ContentType="application/vnd.openxmlformats-officedocument.themeOverride+xml"/>
  <Override PartName="/ppt/theme/themeOverride3415.xml" ContentType="application/vnd.openxmlformats-officedocument.themeOverride+xml"/>
  <Override PartName="/ppt/theme/themeOverride3416.xml" ContentType="application/vnd.openxmlformats-officedocument.themeOverride+xml"/>
  <Override PartName="/ppt/theme/themeOverride3417.xml" ContentType="application/vnd.openxmlformats-officedocument.themeOverride+xml"/>
  <Override PartName="/ppt/theme/themeOverride3418.xml" ContentType="application/vnd.openxmlformats-officedocument.themeOverride+xml"/>
  <Override PartName="/ppt/theme/themeOverride3419.xml" ContentType="application/vnd.openxmlformats-officedocument.themeOverride+xml"/>
  <Override PartName="/ppt/theme/themeOverride342.xml" ContentType="application/vnd.openxmlformats-officedocument.themeOverride+xml"/>
  <Override PartName="/ppt/theme/themeOverride3420.xml" ContentType="application/vnd.openxmlformats-officedocument.themeOverride+xml"/>
  <Override PartName="/ppt/theme/themeOverride3421.xml" ContentType="application/vnd.openxmlformats-officedocument.themeOverride+xml"/>
  <Override PartName="/ppt/theme/themeOverride3422.xml" ContentType="application/vnd.openxmlformats-officedocument.themeOverride+xml"/>
  <Override PartName="/ppt/theme/themeOverride3423.xml" ContentType="application/vnd.openxmlformats-officedocument.themeOverride+xml"/>
  <Override PartName="/ppt/theme/themeOverride3424.xml" ContentType="application/vnd.openxmlformats-officedocument.themeOverride+xml"/>
  <Override PartName="/ppt/theme/themeOverride3425.xml" ContentType="application/vnd.openxmlformats-officedocument.themeOverride+xml"/>
  <Override PartName="/ppt/theme/themeOverride3426.xml" ContentType="application/vnd.openxmlformats-officedocument.themeOverride+xml"/>
  <Override PartName="/ppt/theme/themeOverride3427.xml" ContentType="application/vnd.openxmlformats-officedocument.themeOverride+xml"/>
  <Override PartName="/ppt/theme/themeOverride3428.xml" ContentType="application/vnd.openxmlformats-officedocument.themeOverride+xml"/>
  <Override PartName="/ppt/theme/themeOverride3429.xml" ContentType="application/vnd.openxmlformats-officedocument.themeOverride+xml"/>
  <Override PartName="/ppt/theme/themeOverride343.xml" ContentType="application/vnd.openxmlformats-officedocument.themeOverride+xml"/>
  <Override PartName="/ppt/theme/themeOverride3430.xml" ContentType="application/vnd.openxmlformats-officedocument.themeOverride+xml"/>
  <Override PartName="/ppt/theme/themeOverride3431.xml" ContentType="application/vnd.openxmlformats-officedocument.themeOverride+xml"/>
  <Override PartName="/ppt/theme/themeOverride3432.xml" ContentType="application/vnd.openxmlformats-officedocument.themeOverride+xml"/>
  <Override PartName="/ppt/theme/themeOverride3433.xml" ContentType="application/vnd.openxmlformats-officedocument.themeOverride+xml"/>
  <Override PartName="/ppt/theme/themeOverride3434.xml" ContentType="application/vnd.openxmlformats-officedocument.themeOverride+xml"/>
  <Override PartName="/ppt/theme/themeOverride3435.xml" ContentType="application/vnd.openxmlformats-officedocument.themeOverride+xml"/>
  <Override PartName="/ppt/theme/themeOverride3436.xml" ContentType="application/vnd.openxmlformats-officedocument.themeOverride+xml"/>
  <Override PartName="/ppt/theme/themeOverride3437.xml" ContentType="application/vnd.openxmlformats-officedocument.themeOverride+xml"/>
  <Override PartName="/ppt/theme/themeOverride3438.xml" ContentType="application/vnd.openxmlformats-officedocument.themeOverride+xml"/>
  <Override PartName="/ppt/theme/themeOverride3439.xml" ContentType="application/vnd.openxmlformats-officedocument.themeOverride+xml"/>
  <Override PartName="/ppt/theme/themeOverride344.xml" ContentType="application/vnd.openxmlformats-officedocument.themeOverride+xml"/>
  <Override PartName="/ppt/theme/themeOverride3440.xml" ContentType="application/vnd.openxmlformats-officedocument.themeOverride+xml"/>
  <Override PartName="/ppt/theme/themeOverride3441.xml" ContentType="application/vnd.openxmlformats-officedocument.themeOverride+xml"/>
  <Override PartName="/ppt/theme/themeOverride3442.xml" ContentType="application/vnd.openxmlformats-officedocument.themeOverride+xml"/>
  <Override PartName="/ppt/theme/themeOverride3443.xml" ContentType="application/vnd.openxmlformats-officedocument.themeOverride+xml"/>
  <Override PartName="/ppt/theme/themeOverride3444.xml" ContentType="application/vnd.openxmlformats-officedocument.themeOverride+xml"/>
  <Override PartName="/ppt/theme/themeOverride3445.xml" ContentType="application/vnd.openxmlformats-officedocument.themeOverride+xml"/>
  <Override PartName="/ppt/theme/themeOverride3446.xml" ContentType="application/vnd.openxmlformats-officedocument.themeOverride+xml"/>
  <Override PartName="/ppt/theme/themeOverride3447.xml" ContentType="application/vnd.openxmlformats-officedocument.themeOverride+xml"/>
  <Override PartName="/ppt/theme/themeOverride3448.xml" ContentType="application/vnd.openxmlformats-officedocument.themeOverride+xml"/>
  <Override PartName="/ppt/theme/themeOverride3449.xml" ContentType="application/vnd.openxmlformats-officedocument.themeOverride+xml"/>
  <Override PartName="/ppt/theme/themeOverride345.xml" ContentType="application/vnd.openxmlformats-officedocument.themeOverride+xml"/>
  <Override PartName="/ppt/theme/themeOverride3450.xml" ContentType="application/vnd.openxmlformats-officedocument.themeOverride+xml"/>
  <Override PartName="/ppt/theme/themeOverride3451.xml" ContentType="application/vnd.openxmlformats-officedocument.themeOverride+xml"/>
  <Override PartName="/ppt/theme/themeOverride3452.xml" ContentType="application/vnd.openxmlformats-officedocument.themeOverride+xml"/>
  <Override PartName="/ppt/theme/themeOverride3453.xml" ContentType="application/vnd.openxmlformats-officedocument.themeOverride+xml"/>
  <Override PartName="/ppt/theme/themeOverride3454.xml" ContentType="application/vnd.openxmlformats-officedocument.themeOverride+xml"/>
  <Override PartName="/ppt/theme/themeOverride3455.xml" ContentType="application/vnd.openxmlformats-officedocument.themeOverride+xml"/>
  <Override PartName="/ppt/theme/themeOverride3456.xml" ContentType="application/vnd.openxmlformats-officedocument.themeOverride+xml"/>
  <Override PartName="/ppt/theme/themeOverride3457.xml" ContentType="application/vnd.openxmlformats-officedocument.themeOverride+xml"/>
  <Override PartName="/ppt/theme/themeOverride3458.xml" ContentType="application/vnd.openxmlformats-officedocument.themeOverride+xml"/>
  <Override PartName="/ppt/theme/themeOverride3459.xml" ContentType="application/vnd.openxmlformats-officedocument.themeOverride+xml"/>
  <Override PartName="/ppt/theme/themeOverride346.xml" ContentType="application/vnd.openxmlformats-officedocument.themeOverride+xml"/>
  <Override PartName="/ppt/theme/themeOverride3460.xml" ContentType="application/vnd.openxmlformats-officedocument.themeOverride+xml"/>
  <Override PartName="/ppt/theme/themeOverride3461.xml" ContentType="application/vnd.openxmlformats-officedocument.themeOverride+xml"/>
  <Override PartName="/ppt/theme/themeOverride3462.xml" ContentType="application/vnd.openxmlformats-officedocument.themeOverride+xml"/>
  <Override PartName="/ppt/theme/themeOverride3463.xml" ContentType="application/vnd.openxmlformats-officedocument.themeOverride+xml"/>
  <Override PartName="/ppt/theme/themeOverride3464.xml" ContentType="application/vnd.openxmlformats-officedocument.themeOverride+xml"/>
  <Override PartName="/ppt/theme/themeOverride3465.xml" ContentType="application/vnd.openxmlformats-officedocument.themeOverride+xml"/>
  <Override PartName="/ppt/theme/themeOverride3466.xml" ContentType="application/vnd.openxmlformats-officedocument.themeOverride+xml"/>
  <Override PartName="/ppt/theme/themeOverride3467.xml" ContentType="application/vnd.openxmlformats-officedocument.themeOverride+xml"/>
  <Override PartName="/ppt/theme/themeOverride3468.xml" ContentType="application/vnd.openxmlformats-officedocument.themeOverride+xml"/>
  <Override PartName="/ppt/theme/themeOverride3469.xml" ContentType="application/vnd.openxmlformats-officedocument.themeOverride+xml"/>
  <Override PartName="/ppt/theme/themeOverride347.xml" ContentType="application/vnd.openxmlformats-officedocument.themeOverride+xml"/>
  <Override PartName="/ppt/theme/themeOverride3470.xml" ContentType="application/vnd.openxmlformats-officedocument.themeOverride+xml"/>
  <Override PartName="/ppt/theme/themeOverride3471.xml" ContentType="application/vnd.openxmlformats-officedocument.themeOverride+xml"/>
  <Override PartName="/ppt/theme/themeOverride3472.xml" ContentType="application/vnd.openxmlformats-officedocument.themeOverride+xml"/>
  <Override PartName="/ppt/theme/themeOverride3473.xml" ContentType="application/vnd.openxmlformats-officedocument.themeOverride+xml"/>
  <Override PartName="/ppt/theme/themeOverride3474.xml" ContentType="application/vnd.openxmlformats-officedocument.themeOverride+xml"/>
  <Override PartName="/ppt/theme/themeOverride3475.xml" ContentType="application/vnd.openxmlformats-officedocument.themeOverride+xml"/>
  <Override PartName="/ppt/theme/themeOverride3476.xml" ContentType="application/vnd.openxmlformats-officedocument.themeOverride+xml"/>
  <Override PartName="/ppt/theme/themeOverride3477.xml" ContentType="application/vnd.openxmlformats-officedocument.themeOverride+xml"/>
  <Override PartName="/ppt/theme/themeOverride3478.xml" ContentType="application/vnd.openxmlformats-officedocument.themeOverride+xml"/>
  <Override PartName="/ppt/theme/themeOverride3479.xml" ContentType="application/vnd.openxmlformats-officedocument.themeOverride+xml"/>
  <Override PartName="/ppt/theme/themeOverride348.xml" ContentType="application/vnd.openxmlformats-officedocument.themeOverride+xml"/>
  <Override PartName="/ppt/theme/themeOverride3480.xml" ContentType="application/vnd.openxmlformats-officedocument.themeOverride+xml"/>
  <Override PartName="/ppt/theme/themeOverride3481.xml" ContentType="application/vnd.openxmlformats-officedocument.themeOverride+xml"/>
  <Override PartName="/ppt/theme/themeOverride3482.xml" ContentType="application/vnd.openxmlformats-officedocument.themeOverride+xml"/>
  <Override PartName="/ppt/theme/themeOverride3483.xml" ContentType="application/vnd.openxmlformats-officedocument.themeOverride+xml"/>
  <Override PartName="/ppt/theme/themeOverride3484.xml" ContentType="application/vnd.openxmlformats-officedocument.themeOverride+xml"/>
  <Override PartName="/ppt/theme/themeOverride3485.xml" ContentType="application/vnd.openxmlformats-officedocument.themeOverride+xml"/>
  <Override PartName="/ppt/theme/themeOverride3486.xml" ContentType="application/vnd.openxmlformats-officedocument.themeOverride+xml"/>
  <Override PartName="/ppt/theme/themeOverride3487.xml" ContentType="application/vnd.openxmlformats-officedocument.themeOverride+xml"/>
  <Override PartName="/ppt/theme/themeOverride3488.xml" ContentType="application/vnd.openxmlformats-officedocument.themeOverride+xml"/>
  <Override PartName="/ppt/theme/themeOverride3489.xml" ContentType="application/vnd.openxmlformats-officedocument.themeOverride+xml"/>
  <Override PartName="/ppt/theme/themeOverride349.xml" ContentType="application/vnd.openxmlformats-officedocument.themeOverride+xml"/>
  <Override PartName="/ppt/theme/themeOverride3490.xml" ContentType="application/vnd.openxmlformats-officedocument.themeOverride+xml"/>
  <Override PartName="/ppt/theme/themeOverride3491.xml" ContentType="application/vnd.openxmlformats-officedocument.themeOverride+xml"/>
  <Override PartName="/ppt/theme/themeOverride3492.xml" ContentType="application/vnd.openxmlformats-officedocument.themeOverride+xml"/>
  <Override PartName="/ppt/theme/themeOverride3493.xml" ContentType="application/vnd.openxmlformats-officedocument.themeOverride+xml"/>
  <Override PartName="/ppt/theme/themeOverride3494.xml" ContentType="application/vnd.openxmlformats-officedocument.themeOverride+xml"/>
  <Override PartName="/ppt/theme/themeOverride3495.xml" ContentType="application/vnd.openxmlformats-officedocument.themeOverride+xml"/>
  <Override PartName="/ppt/theme/themeOverride3496.xml" ContentType="application/vnd.openxmlformats-officedocument.themeOverride+xml"/>
  <Override PartName="/ppt/theme/themeOverride3497.xml" ContentType="application/vnd.openxmlformats-officedocument.themeOverride+xml"/>
  <Override PartName="/ppt/theme/themeOverride3498.xml" ContentType="application/vnd.openxmlformats-officedocument.themeOverride+xml"/>
  <Override PartName="/ppt/theme/themeOverride3499.xml" ContentType="application/vnd.openxmlformats-officedocument.themeOverride+xml"/>
  <Override PartName="/ppt/theme/themeOverride35.xml" ContentType="application/vnd.openxmlformats-officedocument.themeOverride+xml"/>
  <Override PartName="/ppt/theme/themeOverride350.xml" ContentType="application/vnd.openxmlformats-officedocument.themeOverride+xml"/>
  <Override PartName="/ppt/theme/themeOverride3500.xml" ContentType="application/vnd.openxmlformats-officedocument.themeOverride+xml"/>
  <Override PartName="/ppt/theme/themeOverride3501.xml" ContentType="application/vnd.openxmlformats-officedocument.themeOverride+xml"/>
  <Override PartName="/ppt/theme/themeOverride3502.xml" ContentType="application/vnd.openxmlformats-officedocument.themeOverride+xml"/>
  <Override PartName="/ppt/theme/themeOverride3503.xml" ContentType="application/vnd.openxmlformats-officedocument.themeOverride+xml"/>
  <Override PartName="/ppt/theme/themeOverride3504.xml" ContentType="application/vnd.openxmlformats-officedocument.themeOverride+xml"/>
  <Override PartName="/ppt/theme/themeOverride3505.xml" ContentType="application/vnd.openxmlformats-officedocument.themeOverride+xml"/>
  <Override PartName="/ppt/theme/themeOverride3506.xml" ContentType="application/vnd.openxmlformats-officedocument.themeOverride+xml"/>
  <Override PartName="/ppt/theme/themeOverride3507.xml" ContentType="application/vnd.openxmlformats-officedocument.themeOverride+xml"/>
  <Override PartName="/ppt/theme/themeOverride3508.xml" ContentType="application/vnd.openxmlformats-officedocument.themeOverride+xml"/>
  <Override PartName="/ppt/theme/themeOverride3509.xml" ContentType="application/vnd.openxmlformats-officedocument.themeOverride+xml"/>
  <Override PartName="/ppt/theme/themeOverride351.xml" ContentType="application/vnd.openxmlformats-officedocument.themeOverride+xml"/>
  <Override PartName="/ppt/theme/themeOverride3510.xml" ContentType="application/vnd.openxmlformats-officedocument.themeOverride+xml"/>
  <Override PartName="/ppt/theme/themeOverride3511.xml" ContentType="application/vnd.openxmlformats-officedocument.themeOverride+xml"/>
  <Override PartName="/ppt/theme/themeOverride3512.xml" ContentType="application/vnd.openxmlformats-officedocument.themeOverride+xml"/>
  <Override PartName="/ppt/theme/themeOverride3513.xml" ContentType="application/vnd.openxmlformats-officedocument.themeOverride+xml"/>
  <Override PartName="/ppt/theme/themeOverride3514.xml" ContentType="application/vnd.openxmlformats-officedocument.themeOverride+xml"/>
  <Override PartName="/ppt/theme/themeOverride3515.xml" ContentType="application/vnd.openxmlformats-officedocument.themeOverride+xml"/>
  <Override PartName="/ppt/theme/themeOverride3516.xml" ContentType="application/vnd.openxmlformats-officedocument.themeOverride+xml"/>
  <Override PartName="/ppt/theme/themeOverride3517.xml" ContentType="application/vnd.openxmlformats-officedocument.themeOverride+xml"/>
  <Override PartName="/ppt/theme/themeOverride3518.xml" ContentType="application/vnd.openxmlformats-officedocument.themeOverride+xml"/>
  <Override PartName="/ppt/theme/themeOverride3519.xml" ContentType="application/vnd.openxmlformats-officedocument.themeOverride+xml"/>
  <Override PartName="/ppt/theme/themeOverride352.xml" ContentType="application/vnd.openxmlformats-officedocument.themeOverride+xml"/>
  <Override PartName="/ppt/theme/themeOverride3520.xml" ContentType="application/vnd.openxmlformats-officedocument.themeOverride+xml"/>
  <Override PartName="/ppt/theme/themeOverride3521.xml" ContentType="application/vnd.openxmlformats-officedocument.themeOverride+xml"/>
  <Override PartName="/ppt/theme/themeOverride3522.xml" ContentType="application/vnd.openxmlformats-officedocument.themeOverride+xml"/>
  <Override PartName="/ppt/theme/themeOverride3523.xml" ContentType="application/vnd.openxmlformats-officedocument.themeOverride+xml"/>
  <Override PartName="/ppt/theme/themeOverride3524.xml" ContentType="application/vnd.openxmlformats-officedocument.themeOverride+xml"/>
  <Override PartName="/ppt/theme/themeOverride3525.xml" ContentType="application/vnd.openxmlformats-officedocument.themeOverride+xml"/>
  <Override PartName="/ppt/theme/themeOverride3526.xml" ContentType="application/vnd.openxmlformats-officedocument.themeOverride+xml"/>
  <Override PartName="/ppt/theme/themeOverride3527.xml" ContentType="application/vnd.openxmlformats-officedocument.themeOverride+xml"/>
  <Override PartName="/ppt/theme/themeOverride3528.xml" ContentType="application/vnd.openxmlformats-officedocument.themeOverride+xml"/>
  <Override PartName="/ppt/theme/themeOverride3529.xml" ContentType="application/vnd.openxmlformats-officedocument.themeOverride+xml"/>
  <Override PartName="/ppt/theme/themeOverride353.xml" ContentType="application/vnd.openxmlformats-officedocument.themeOverride+xml"/>
  <Override PartName="/ppt/theme/themeOverride3530.xml" ContentType="application/vnd.openxmlformats-officedocument.themeOverride+xml"/>
  <Override PartName="/ppt/theme/themeOverride3531.xml" ContentType="application/vnd.openxmlformats-officedocument.themeOverride+xml"/>
  <Override PartName="/ppt/theme/themeOverride3532.xml" ContentType="application/vnd.openxmlformats-officedocument.themeOverride+xml"/>
  <Override PartName="/ppt/theme/themeOverride3533.xml" ContentType="application/vnd.openxmlformats-officedocument.themeOverride+xml"/>
  <Override PartName="/ppt/theme/themeOverride3534.xml" ContentType="application/vnd.openxmlformats-officedocument.themeOverride+xml"/>
  <Override PartName="/ppt/theme/themeOverride3535.xml" ContentType="application/vnd.openxmlformats-officedocument.themeOverride+xml"/>
  <Override PartName="/ppt/theme/themeOverride3536.xml" ContentType="application/vnd.openxmlformats-officedocument.themeOverride+xml"/>
  <Override PartName="/ppt/theme/themeOverride3537.xml" ContentType="application/vnd.openxmlformats-officedocument.themeOverride+xml"/>
  <Override PartName="/ppt/theme/themeOverride3538.xml" ContentType="application/vnd.openxmlformats-officedocument.themeOverride+xml"/>
  <Override PartName="/ppt/theme/themeOverride3539.xml" ContentType="application/vnd.openxmlformats-officedocument.themeOverride+xml"/>
  <Override PartName="/ppt/theme/themeOverride354.xml" ContentType="application/vnd.openxmlformats-officedocument.themeOverride+xml"/>
  <Override PartName="/ppt/theme/themeOverride3540.xml" ContentType="application/vnd.openxmlformats-officedocument.themeOverride+xml"/>
  <Override PartName="/ppt/theme/themeOverride3541.xml" ContentType="application/vnd.openxmlformats-officedocument.themeOverride+xml"/>
  <Override PartName="/ppt/theme/themeOverride3542.xml" ContentType="application/vnd.openxmlformats-officedocument.themeOverride+xml"/>
  <Override PartName="/ppt/theme/themeOverride3543.xml" ContentType="application/vnd.openxmlformats-officedocument.themeOverride+xml"/>
  <Override PartName="/ppt/theme/themeOverride3544.xml" ContentType="application/vnd.openxmlformats-officedocument.themeOverride+xml"/>
  <Override PartName="/ppt/theme/themeOverride3545.xml" ContentType="application/vnd.openxmlformats-officedocument.themeOverride+xml"/>
  <Override PartName="/ppt/theme/themeOverride3546.xml" ContentType="application/vnd.openxmlformats-officedocument.themeOverride+xml"/>
  <Override PartName="/ppt/theme/themeOverride3547.xml" ContentType="application/vnd.openxmlformats-officedocument.themeOverride+xml"/>
  <Override PartName="/ppt/theme/themeOverride3548.xml" ContentType="application/vnd.openxmlformats-officedocument.themeOverride+xml"/>
  <Override PartName="/ppt/theme/themeOverride3549.xml" ContentType="application/vnd.openxmlformats-officedocument.themeOverride+xml"/>
  <Override PartName="/ppt/theme/themeOverride355.xml" ContentType="application/vnd.openxmlformats-officedocument.themeOverride+xml"/>
  <Override PartName="/ppt/theme/themeOverride3550.xml" ContentType="application/vnd.openxmlformats-officedocument.themeOverride+xml"/>
  <Override PartName="/ppt/theme/themeOverride3551.xml" ContentType="application/vnd.openxmlformats-officedocument.themeOverride+xml"/>
  <Override PartName="/ppt/theme/themeOverride3552.xml" ContentType="application/vnd.openxmlformats-officedocument.themeOverride+xml"/>
  <Override PartName="/ppt/theme/themeOverride3553.xml" ContentType="application/vnd.openxmlformats-officedocument.themeOverride+xml"/>
  <Override PartName="/ppt/theme/themeOverride3554.xml" ContentType="application/vnd.openxmlformats-officedocument.themeOverride+xml"/>
  <Override PartName="/ppt/theme/themeOverride3555.xml" ContentType="application/vnd.openxmlformats-officedocument.themeOverride+xml"/>
  <Override PartName="/ppt/theme/themeOverride3556.xml" ContentType="application/vnd.openxmlformats-officedocument.themeOverride+xml"/>
  <Override PartName="/ppt/theme/themeOverride3557.xml" ContentType="application/vnd.openxmlformats-officedocument.themeOverride+xml"/>
  <Override PartName="/ppt/theme/themeOverride3558.xml" ContentType="application/vnd.openxmlformats-officedocument.themeOverride+xml"/>
  <Override PartName="/ppt/theme/themeOverride3559.xml" ContentType="application/vnd.openxmlformats-officedocument.themeOverride+xml"/>
  <Override PartName="/ppt/theme/themeOverride356.xml" ContentType="application/vnd.openxmlformats-officedocument.themeOverride+xml"/>
  <Override PartName="/ppt/theme/themeOverride3560.xml" ContentType="application/vnd.openxmlformats-officedocument.themeOverride+xml"/>
  <Override PartName="/ppt/theme/themeOverride3561.xml" ContentType="application/vnd.openxmlformats-officedocument.themeOverride+xml"/>
  <Override PartName="/ppt/theme/themeOverride3562.xml" ContentType="application/vnd.openxmlformats-officedocument.themeOverride+xml"/>
  <Override PartName="/ppt/theme/themeOverride3563.xml" ContentType="application/vnd.openxmlformats-officedocument.themeOverride+xml"/>
  <Override PartName="/ppt/theme/themeOverride3564.xml" ContentType="application/vnd.openxmlformats-officedocument.themeOverride+xml"/>
  <Override PartName="/ppt/theme/themeOverride3565.xml" ContentType="application/vnd.openxmlformats-officedocument.themeOverride+xml"/>
  <Override PartName="/ppt/theme/themeOverride3566.xml" ContentType="application/vnd.openxmlformats-officedocument.themeOverride+xml"/>
  <Override PartName="/ppt/theme/themeOverride3567.xml" ContentType="application/vnd.openxmlformats-officedocument.themeOverride+xml"/>
  <Override PartName="/ppt/theme/themeOverride3568.xml" ContentType="application/vnd.openxmlformats-officedocument.themeOverride+xml"/>
  <Override PartName="/ppt/theme/themeOverride3569.xml" ContentType="application/vnd.openxmlformats-officedocument.themeOverride+xml"/>
  <Override PartName="/ppt/theme/themeOverride357.xml" ContentType="application/vnd.openxmlformats-officedocument.themeOverride+xml"/>
  <Override PartName="/ppt/theme/themeOverride3570.xml" ContentType="application/vnd.openxmlformats-officedocument.themeOverride+xml"/>
  <Override PartName="/ppt/theme/themeOverride3571.xml" ContentType="application/vnd.openxmlformats-officedocument.themeOverride+xml"/>
  <Override PartName="/ppt/theme/themeOverride3572.xml" ContentType="application/vnd.openxmlformats-officedocument.themeOverride+xml"/>
  <Override PartName="/ppt/theme/themeOverride3573.xml" ContentType="application/vnd.openxmlformats-officedocument.themeOverride+xml"/>
  <Override PartName="/ppt/theme/themeOverride3574.xml" ContentType="application/vnd.openxmlformats-officedocument.themeOverride+xml"/>
  <Override PartName="/ppt/theme/themeOverride3575.xml" ContentType="application/vnd.openxmlformats-officedocument.themeOverride+xml"/>
  <Override PartName="/ppt/theme/themeOverride3576.xml" ContentType="application/vnd.openxmlformats-officedocument.themeOverride+xml"/>
  <Override PartName="/ppt/theme/themeOverride3577.xml" ContentType="application/vnd.openxmlformats-officedocument.themeOverride+xml"/>
  <Override PartName="/ppt/theme/themeOverride3578.xml" ContentType="application/vnd.openxmlformats-officedocument.themeOverride+xml"/>
  <Override PartName="/ppt/theme/themeOverride3579.xml" ContentType="application/vnd.openxmlformats-officedocument.themeOverride+xml"/>
  <Override PartName="/ppt/theme/themeOverride358.xml" ContentType="application/vnd.openxmlformats-officedocument.themeOverride+xml"/>
  <Override PartName="/ppt/theme/themeOverride3580.xml" ContentType="application/vnd.openxmlformats-officedocument.themeOverride+xml"/>
  <Override PartName="/ppt/theme/themeOverride3581.xml" ContentType="application/vnd.openxmlformats-officedocument.themeOverride+xml"/>
  <Override PartName="/ppt/theme/themeOverride3582.xml" ContentType="application/vnd.openxmlformats-officedocument.themeOverride+xml"/>
  <Override PartName="/ppt/theme/themeOverride3583.xml" ContentType="application/vnd.openxmlformats-officedocument.themeOverride+xml"/>
  <Override PartName="/ppt/theme/themeOverride3584.xml" ContentType="application/vnd.openxmlformats-officedocument.themeOverride+xml"/>
  <Override PartName="/ppt/theme/themeOverride3585.xml" ContentType="application/vnd.openxmlformats-officedocument.themeOverride+xml"/>
  <Override PartName="/ppt/theme/themeOverride3586.xml" ContentType="application/vnd.openxmlformats-officedocument.themeOverride+xml"/>
  <Override PartName="/ppt/theme/themeOverride3587.xml" ContentType="application/vnd.openxmlformats-officedocument.themeOverride+xml"/>
  <Override PartName="/ppt/theme/themeOverride3588.xml" ContentType="application/vnd.openxmlformats-officedocument.themeOverride+xml"/>
  <Override PartName="/ppt/theme/themeOverride3589.xml" ContentType="application/vnd.openxmlformats-officedocument.themeOverride+xml"/>
  <Override PartName="/ppt/theme/themeOverride359.xml" ContentType="application/vnd.openxmlformats-officedocument.themeOverride+xml"/>
  <Override PartName="/ppt/theme/themeOverride3590.xml" ContentType="application/vnd.openxmlformats-officedocument.themeOverride+xml"/>
  <Override PartName="/ppt/theme/themeOverride3591.xml" ContentType="application/vnd.openxmlformats-officedocument.themeOverride+xml"/>
  <Override PartName="/ppt/theme/themeOverride3592.xml" ContentType="application/vnd.openxmlformats-officedocument.themeOverride+xml"/>
  <Override PartName="/ppt/theme/themeOverride3593.xml" ContentType="application/vnd.openxmlformats-officedocument.themeOverride+xml"/>
  <Override PartName="/ppt/theme/themeOverride3594.xml" ContentType="application/vnd.openxmlformats-officedocument.themeOverride+xml"/>
  <Override PartName="/ppt/theme/themeOverride3595.xml" ContentType="application/vnd.openxmlformats-officedocument.themeOverride+xml"/>
  <Override PartName="/ppt/theme/themeOverride3596.xml" ContentType="application/vnd.openxmlformats-officedocument.themeOverride+xml"/>
  <Override PartName="/ppt/theme/themeOverride3597.xml" ContentType="application/vnd.openxmlformats-officedocument.themeOverride+xml"/>
  <Override PartName="/ppt/theme/themeOverride3598.xml" ContentType="application/vnd.openxmlformats-officedocument.themeOverride+xml"/>
  <Override PartName="/ppt/theme/themeOverride3599.xml" ContentType="application/vnd.openxmlformats-officedocument.themeOverride+xml"/>
  <Override PartName="/ppt/theme/themeOverride36.xml" ContentType="application/vnd.openxmlformats-officedocument.themeOverride+xml"/>
  <Override PartName="/ppt/theme/themeOverride360.xml" ContentType="application/vnd.openxmlformats-officedocument.themeOverride+xml"/>
  <Override PartName="/ppt/theme/themeOverride3600.xml" ContentType="application/vnd.openxmlformats-officedocument.themeOverride+xml"/>
  <Override PartName="/ppt/theme/themeOverride3601.xml" ContentType="application/vnd.openxmlformats-officedocument.themeOverride+xml"/>
  <Override PartName="/ppt/theme/themeOverride3602.xml" ContentType="application/vnd.openxmlformats-officedocument.themeOverride+xml"/>
  <Override PartName="/ppt/theme/themeOverride3603.xml" ContentType="application/vnd.openxmlformats-officedocument.themeOverride+xml"/>
  <Override PartName="/ppt/theme/themeOverride3604.xml" ContentType="application/vnd.openxmlformats-officedocument.themeOverride+xml"/>
  <Override PartName="/ppt/theme/themeOverride3605.xml" ContentType="application/vnd.openxmlformats-officedocument.themeOverride+xml"/>
  <Override PartName="/ppt/theme/themeOverride3606.xml" ContentType="application/vnd.openxmlformats-officedocument.themeOverride+xml"/>
  <Override PartName="/ppt/theme/themeOverride3607.xml" ContentType="application/vnd.openxmlformats-officedocument.themeOverride+xml"/>
  <Override PartName="/ppt/theme/themeOverride3608.xml" ContentType="application/vnd.openxmlformats-officedocument.themeOverride+xml"/>
  <Override PartName="/ppt/theme/themeOverride3609.xml" ContentType="application/vnd.openxmlformats-officedocument.themeOverride+xml"/>
  <Override PartName="/ppt/theme/themeOverride361.xml" ContentType="application/vnd.openxmlformats-officedocument.themeOverride+xml"/>
  <Override PartName="/ppt/theme/themeOverride3610.xml" ContentType="application/vnd.openxmlformats-officedocument.themeOverride+xml"/>
  <Override PartName="/ppt/theme/themeOverride3611.xml" ContentType="application/vnd.openxmlformats-officedocument.themeOverride+xml"/>
  <Override PartName="/ppt/theme/themeOverride3612.xml" ContentType="application/vnd.openxmlformats-officedocument.themeOverride+xml"/>
  <Override PartName="/ppt/theme/themeOverride3613.xml" ContentType="application/vnd.openxmlformats-officedocument.themeOverride+xml"/>
  <Override PartName="/ppt/theme/themeOverride3614.xml" ContentType="application/vnd.openxmlformats-officedocument.themeOverride+xml"/>
  <Override PartName="/ppt/theme/themeOverride3615.xml" ContentType="application/vnd.openxmlformats-officedocument.themeOverride+xml"/>
  <Override PartName="/ppt/theme/themeOverride3616.xml" ContentType="application/vnd.openxmlformats-officedocument.themeOverride+xml"/>
  <Override PartName="/ppt/theme/themeOverride3617.xml" ContentType="application/vnd.openxmlformats-officedocument.themeOverride+xml"/>
  <Override PartName="/ppt/theme/themeOverride3618.xml" ContentType="application/vnd.openxmlformats-officedocument.themeOverride+xml"/>
  <Override PartName="/ppt/theme/themeOverride3619.xml" ContentType="application/vnd.openxmlformats-officedocument.themeOverride+xml"/>
  <Override PartName="/ppt/theme/themeOverride362.xml" ContentType="application/vnd.openxmlformats-officedocument.themeOverride+xml"/>
  <Override PartName="/ppt/theme/themeOverride3620.xml" ContentType="application/vnd.openxmlformats-officedocument.themeOverride+xml"/>
  <Override PartName="/ppt/theme/themeOverride3621.xml" ContentType="application/vnd.openxmlformats-officedocument.themeOverride+xml"/>
  <Override PartName="/ppt/theme/themeOverride3622.xml" ContentType="application/vnd.openxmlformats-officedocument.themeOverride+xml"/>
  <Override PartName="/ppt/theme/themeOverride3623.xml" ContentType="application/vnd.openxmlformats-officedocument.themeOverride+xml"/>
  <Override PartName="/ppt/theme/themeOverride3624.xml" ContentType="application/vnd.openxmlformats-officedocument.themeOverride+xml"/>
  <Override PartName="/ppt/theme/themeOverride3625.xml" ContentType="application/vnd.openxmlformats-officedocument.themeOverride+xml"/>
  <Override PartName="/ppt/theme/themeOverride3626.xml" ContentType="application/vnd.openxmlformats-officedocument.themeOverride+xml"/>
  <Override PartName="/ppt/theme/themeOverride3627.xml" ContentType="application/vnd.openxmlformats-officedocument.themeOverride+xml"/>
  <Override PartName="/ppt/theme/themeOverride3628.xml" ContentType="application/vnd.openxmlformats-officedocument.themeOverride+xml"/>
  <Override PartName="/ppt/theme/themeOverride3629.xml" ContentType="application/vnd.openxmlformats-officedocument.themeOverride+xml"/>
  <Override PartName="/ppt/theme/themeOverride363.xml" ContentType="application/vnd.openxmlformats-officedocument.themeOverride+xml"/>
  <Override PartName="/ppt/theme/themeOverride3630.xml" ContentType="application/vnd.openxmlformats-officedocument.themeOverride+xml"/>
  <Override PartName="/ppt/theme/themeOverride3631.xml" ContentType="application/vnd.openxmlformats-officedocument.themeOverride+xml"/>
  <Override PartName="/ppt/theme/themeOverride3632.xml" ContentType="application/vnd.openxmlformats-officedocument.themeOverride+xml"/>
  <Override PartName="/ppt/theme/themeOverride3633.xml" ContentType="application/vnd.openxmlformats-officedocument.themeOverride+xml"/>
  <Override PartName="/ppt/theme/themeOverride3634.xml" ContentType="application/vnd.openxmlformats-officedocument.themeOverride+xml"/>
  <Override PartName="/ppt/theme/themeOverride3635.xml" ContentType="application/vnd.openxmlformats-officedocument.themeOverride+xml"/>
  <Override PartName="/ppt/theme/themeOverride3636.xml" ContentType="application/vnd.openxmlformats-officedocument.themeOverride+xml"/>
  <Override PartName="/ppt/theme/themeOverride3637.xml" ContentType="application/vnd.openxmlformats-officedocument.themeOverride+xml"/>
  <Override PartName="/ppt/theme/themeOverride3638.xml" ContentType="application/vnd.openxmlformats-officedocument.themeOverride+xml"/>
  <Override PartName="/ppt/theme/themeOverride3639.xml" ContentType="application/vnd.openxmlformats-officedocument.themeOverride+xml"/>
  <Override PartName="/ppt/theme/themeOverride364.xml" ContentType="application/vnd.openxmlformats-officedocument.themeOverride+xml"/>
  <Override PartName="/ppt/theme/themeOverride3640.xml" ContentType="application/vnd.openxmlformats-officedocument.themeOverride+xml"/>
  <Override PartName="/ppt/theme/themeOverride3641.xml" ContentType="application/vnd.openxmlformats-officedocument.themeOverride+xml"/>
  <Override PartName="/ppt/theme/themeOverride3642.xml" ContentType="application/vnd.openxmlformats-officedocument.themeOverride+xml"/>
  <Override PartName="/ppt/theme/themeOverride3643.xml" ContentType="application/vnd.openxmlformats-officedocument.themeOverride+xml"/>
  <Override PartName="/ppt/theme/themeOverride3644.xml" ContentType="application/vnd.openxmlformats-officedocument.themeOverride+xml"/>
  <Override PartName="/ppt/theme/themeOverride3645.xml" ContentType="application/vnd.openxmlformats-officedocument.themeOverride+xml"/>
  <Override PartName="/ppt/theme/themeOverride3646.xml" ContentType="application/vnd.openxmlformats-officedocument.themeOverride+xml"/>
  <Override PartName="/ppt/theme/themeOverride3647.xml" ContentType="application/vnd.openxmlformats-officedocument.themeOverride+xml"/>
  <Override PartName="/ppt/theme/themeOverride3648.xml" ContentType="application/vnd.openxmlformats-officedocument.themeOverride+xml"/>
  <Override PartName="/ppt/theme/themeOverride3649.xml" ContentType="application/vnd.openxmlformats-officedocument.themeOverride+xml"/>
  <Override PartName="/ppt/theme/themeOverride365.xml" ContentType="application/vnd.openxmlformats-officedocument.themeOverride+xml"/>
  <Override PartName="/ppt/theme/themeOverride3650.xml" ContentType="application/vnd.openxmlformats-officedocument.themeOverride+xml"/>
  <Override PartName="/ppt/theme/themeOverride3651.xml" ContentType="application/vnd.openxmlformats-officedocument.themeOverride+xml"/>
  <Override PartName="/ppt/theme/themeOverride3652.xml" ContentType="application/vnd.openxmlformats-officedocument.themeOverride+xml"/>
  <Override PartName="/ppt/theme/themeOverride3653.xml" ContentType="application/vnd.openxmlformats-officedocument.themeOverride+xml"/>
  <Override PartName="/ppt/theme/themeOverride3654.xml" ContentType="application/vnd.openxmlformats-officedocument.themeOverride+xml"/>
  <Override PartName="/ppt/theme/themeOverride3655.xml" ContentType="application/vnd.openxmlformats-officedocument.themeOverride+xml"/>
  <Override PartName="/ppt/theme/themeOverride3656.xml" ContentType="application/vnd.openxmlformats-officedocument.themeOverride+xml"/>
  <Override PartName="/ppt/theme/themeOverride3657.xml" ContentType="application/vnd.openxmlformats-officedocument.themeOverride+xml"/>
  <Override PartName="/ppt/theme/themeOverride3658.xml" ContentType="application/vnd.openxmlformats-officedocument.themeOverride+xml"/>
  <Override PartName="/ppt/theme/themeOverride3659.xml" ContentType="application/vnd.openxmlformats-officedocument.themeOverride+xml"/>
  <Override PartName="/ppt/theme/themeOverride366.xml" ContentType="application/vnd.openxmlformats-officedocument.themeOverride+xml"/>
  <Override PartName="/ppt/theme/themeOverride3660.xml" ContentType="application/vnd.openxmlformats-officedocument.themeOverride+xml"/>
  <Override PartName="/ppt/theme/themeOverride3661.xml" ContentType="application/vnd.openxmlformats-officedocument.themeOverride+xml"/>
  <Override PartName="/ppt/theme/themeOverride3662.xml" ContentType="application/vnd.openxmlformats-officedocument.themeOverride+xml"/>
  <Override PartName="/ppt/theme/themeOverride3663.xml" ContentType="application/vnd.openxmlformats-officedocument.themeOverride+xml"/>
  <Override PartName="/ppt/theme/themeOverride3664.xml" ContentType="application/vnd.openxmlformats-officedocument.themeOverride+xml"/>
  <Override PartName="/ppt/theme/themeOverride3665.xml" ContentType="application/vnd.openxmlformats-officedocument.themeOverride+xml"/>
  <Override PartName="/ppt/theme/themeOverride3666.xml" ContentType="application/vnd.openxmlformats-officedocument.themeOverride+xml"/>
  <Override PartName="/ppt/theme/themeOverride3667.xml" ContentType="application/vnd.openxmlformats-officedocument.themeOverride+xml"/>
  <Override PartName="/ppt/theme/themeOverride3668.xml" ContentType="application/vnd.openxmlformats-officedocument.themeOverride+xml"/>
  <Override PartName="/ppt/theme/themeOverride3669.xml" ContentType="application/vnd.openxmlformats-officedocument.themeOverride+xml"/>
  <Override PartName="/ppt/theme/themeOverride367.xml" ContentType="application/vnd.openxmlformats-officedocument.themeOverride+xml"/>
  <Override PartName="/ppt/theme/themeOverride3670.xml" ContentType="application/vnd.openxmlformats-officedocument.themeOverride+xml"/>
  <Override PartName="/ppt/theme/themeOverride3671.xml" ContentType="application/vnd.openxmlformats-officedocument.themeOverride+xml"/>
  <Override PartName="/ppt/theme/themeOverride3672.xml" ContentType="application/vnd.openxmlformats-officedocument.themeOverride+xml"/>
  <Override PartName="/ppt/theme/themeOverride3673.xml" ContentType="application/vnd.openxmlformats-officedocument.themeOverride+xml"/>
  <Override PartName="/ppt/theme/themeOverride3674.xml" ContentType="application/vnd.openxmlformats-officedocument.themeOverride+xml"/>
  <Override PartName="/ppt/theme/themeOverride3675.xml" ContentType="application/vnd.openxmlformats-officedocument.themeOverride+xml"/>
  <Override PartName="/ppt/theme/themeOverride3676.xml" ContentType="application/vnd.openxmlformats-officedocument.themeOverride+xml"/>
  <Override PartName="/ppt/theme/themeOverride3677.xml" ContentType="application/vnd.openxmlformats-officedocument.themeOverride+xml"/>
  <Override PartName="/ppt/theme/themeOverride3678.xml" ContentType="application/vnd.openxmlformats-officedocument.themeOverride+xml"/>
  <Override PartName="/ppt/theme/themeOverride3679.xml" ContentType="application/vnd.openxmlformats-officedocument.themeOverride+xml"/>
  <Override PartName="/ppt/theme/themeOverride368.xml" ContentType="application/vnd.openxmlformats-officedocument.themeOverride+xml"/>
  <Override PartName="/ppt/theme/themeOverride3680.xml" ContentType="application/vnd.openxmlformats-officedocument.themeOverride+xml"/>
  <Override PartName="/ppt/theme/themeOverride3681.xml" ContentType="application/vnd.openxmlformats-officedocument.themeOverride+xml"/>
  <Override PartName="/ppt/theme/themeOverride3682.xml" ContentType="application/vnd.openxmlformats-officedocument.themeOverride+xml"/>
  <Override PartName="/ppt/theme/themeOverride3683.xml" ContentType="application/vnd.openxmlformats-officedocument.themeOverride+xml"/>
  <Override PartName="/ppt/theme/themeOverride3684.xml" ContentType="application/vnd.openxmlformats-officedocument.themeOverride+xml"/>
  <Override PartName="/ppt/theme/themeOverride3685.xml" ContentType="application/vnd.openxmlformats-officedocument.themeOverride+xml"/>
  <Override PartName="/ppt/theme/themeOverride3686.xml" ContentType="application/vnd.openxmlformats-officedocument.themeOverride+xml"/>
  <Override PartName="/ppt/theme/themeOverride3687.xml" ContentType="application/vnd.openxmlformats-officedocument.themeOverride+xml"/>
  <Override PartName="/ppt/theme/themeOverride3688.xml" ContentType="application/vnd.openxmlformats-officedocument.themeOverride+xml"/>
  <Override PartName="/ppt/theme/themeOverride3689.xml" ContentType="application/vnd.openxmlformats-officedocument.themeOverride+xml"/>
  <Override PartName="/ppt/theme/themeOverride369.xml" ContentType="application/vnd.openxmlformats-officedocument.themeOverride+xml"/>
  <Override PartName="/ppt/theme/themeOverride3690.xml" ContentType="application/vnd.openxmlformats-officedocument.themeOverride+xml"/>
  <Override PartName="/ppt/theme/themeOverride3691.xml" ContentType="application/vnd.openxmlformats-officedocument.themeOverride+xml"/>
  <Override PartName="/ppt/theme/themeOverride3692.xml" ContentType="application/vnd.openxmlformats-officedocument.themeOverride+xml"/>
  <Override PartName="/ppt/theme/themeOverride3693.xml" ContentType="application/vnd.openxmlformats-officedocument.themeOverride+xml"/>
  <Override PartName="/ppt/theme/themeOverride3694.xml" ContentType="application/vnd.openxmlformats-officedocument.themeOverride+xml"/>
  <Override PartName="/ppt/theme/themeOverride3695.xml" ContentType="application/vnd.openxmlformats-officedocument.themeOverride+xml"/>
  <Override PartName="/ppt/theme/themeOverride3696.xml" ContentType="application/vnd.openxmlformats-officedocument.themeOverride+xml"/>
  <Override PartName="/ppt/theme/themeOverride3697.xml" ContentType="application/vnd.openxmlformats-officedocument.themeOverride+xml"/>
  <Override PartName="/ppt/theme/themeOverride3698.xml" ContentType="application/vnd.openxmlformats-officedocument.themeOverride+xml"/>
  <Override PartName="/ppt/theme/themeOverride3699.xml" ContentType="application/vnd.openxmlformats-officedocument.themeOverride+xml"/>
  <Override PartName="/ppt/theme/themeOverride37.xml" ContentType="application/vnd.openxmlformats-officedocument.themeOverride+xml"/>
  <Override PartName="/ppt/theme/themeOverride370.xml" ContentType="application/vnd.openxmlformats-officedocument.themeOverride+xml"/>
  <Override PartName="/ppt/theme/themeOverride3700.xml" ContentType="application/vnd.openxmlformats-officedocument.themeOverride+xml"/>
  <Override PartName="/ppt/theme/themeOverride3701.xml" ContentType="application/vnd.openxmlformats-officedocument.themeOverride+xml"/>
  <Override PartName="/ppt/theme/themeOverride3702.xml" ContentType="application/vnd.openxmlformats-officedocument.themeOverride+xml"/>
  <Override PartName="/ppt/theme/themeOverride3703.xml" ContentType="application/vnd.openxmlformats-officedocument.themeOverride+xml"/>
  <Override PartName="/ppt/theme/themeOverride3704.xml" ContentType="application/vnd.openxmlformats-officedocument.themeOverride+xml"/>
  <Override PartName="/ppt/theme/themeOverride3705.xml" ContentType="application/vnd.openxmlformats-officedocument.themeOverride+xml"/>
  <Override PartName="/ppt/theme/themeOverride3706.xml" ContentType="application/vnd.openxmlformats-officedocument.themeOverride+xml"/>
  <Override PartName="/ppt/theme/themeOverride3707.xml" ContentType="application/vnd.openxmlformats-officedocument.themeOverride+xml"/>
  <Override PartName="/ppt/theme/themeOverride3708.xml" ContentType="application/vnd.openxmlformats-officedocument.themeOverride+xml"/>
  <Override PartName="/ppt/theme/themeOverride3709.xml" ContentType="application/vnd.openxmlformats-officedocument.themeOverride+xml"/>
  <Override PartName="/ppt/theme/themeOverride371.xml" ContentType="application/vnd.openxmlformats-officedocument.themeOverride+xml"/>
  <Override PartName="/ppt/theme/themeOverride3710.xml" ContentType="application/vnd.openxmlformats-officedocument.themeOverride+xml"/>
  <Override PartName="/ppt/theme/themeOverride3711.xml" ContentType="application/vnd.openxmlformats-officedocument.themeOverride+xml"/>
  <Override PartName="/ppt/theme/themeOverride3712.xml" ContentType="application/vnd.openxmlformats-officedocument.themeOverride+xml"/>
  <Override PartName="/ppt/theme/themeOverride3713.xml" ContentType="application/vnd.openxmlformats-officedocument.themeOverride+xml"/>
  <Override PartName="/ppt/theme/themeOverride3714.xml" ContentType="application/vnd.openxmlformats-officedocument.themeOverride+xml"/>
  <Override PartName="/ppt/theme/themeOverride3715.xml" ContentType="application/vnd.openxmlformats-officedocument.themeOverride+xml"/>
  <Override PartName="/ppt/theme/themeOverride3716.xml" ContentType="application/vnd.openxmlformats-officedocument.themeOverride+xml"/>
  <Override PartName="/ppt/theme/themeOverride3717.xml" ContentType="application/vnd.openxmlformats-officedocument.themeOverride+xml"/>
  <Override PartName="/ppt/theme/themeOverride3718.xml" ContentType="application/vnd.openxmlformats-officedocument.themeOverride+xml"/>
  <Override PartName="/ppt/theme/themeOverride3719.xml" ContentType="application/vnd.openxmlformats-officedocument.themeOverride+xml"/>
  <Override PartName="/ppt/theme/themeOverride372.xml" ContentType="application/vnd.openxmlformats-officedocument.themeOverride+xml"/>
  <Override PartName="/ppt/theme/themeOverride3720.xml" ContentType="application/vnd.openxmlformats-officedocument.themeOverride+xml"/>
  <Override PartName="/ppt/theme/themeOverride3721.xml" ContentType="application/vnd.openxmlformats-officedocument.themeOverride+xml"/>
  <Override PartName="/ppt/theme/themeOverride3722.xml" ContentType="application/vnd.openxmlformats-officedocument.themeOverride+xml"/>
  <Override PartName="/ppt/theme/themeOverride3723.xml" ContentType="application/vnd.openxmlformats-officedocument.themeOverride+xml"/>
  <Override PartName="/ppt/theme/themeOverride3724.xml" ContentType="application/vnd.openxmlformats-officedocument.themeOverride+xml"/>
  <Override PartName="/ppt/theme/themeOverride3725.xml" ContentType="application/vnd.openxmlformats-officedocument.themeOverride+xml"/>
  <Override PartName="/ppt/theme/themeOverride3726.xml" ContentType="application/vnd.openxmlformats-officedocument.themeOverride+xml"/>
  <Override PartName="/ppt/theme/themeOverride3727.xml" ContentType="application/vnd.openxmlformats-officedocument.themeOverride+xml"/>
  <Override PartName="/ppt/theme/themeOverride3728.xml" ContentType="application/vnd.openxmlformats-officedocument.themeOverride+xml"/>
  <Override PartName="/ppt/theme/themeOverride3729.xml" ContentType="application/vnd.openxmlformats-officedocument.themeOverride+xml"/>
  <Override PartName="/ppt/theme/themeOverride373.xml" ContentType="application/vnd.openxmlformats-officedocument.themeOverride+xml"/>
  <Override PartName="/ppt/theme/themeOverride3730.xml" ContentType="application/vnd.openxmlformats-officedocument.themeOverride+xml"/>
  <Override PartName="/ppt/theme/themeOverride3731.xml" ContentType="application/vnd.openxmlformats-officedocument.themeOverride+xml"/>
  <Override PartName="/ppt/theme/themeOverride3732.xml" ContentType="application/vnd.openxmlformats-officedocument.themeOverride+xml"/>
  <Override PartName="/ppt/theme/themeOverride3733.xml" ContentType="application/vnd.openxmlformats-officedocument.themeOverride+xml"/>
  <Override PartName="/ppt/theme/themeOverride3734.xml" ContentType="application/vnd.openxmlformats-officedocument.themeOverride+xml"/>
  <Override PartName="/ppt/theme/themeOverride3735.xml" ContentType="application/vnd.openxmlformats-officedocument.themeOverride+xml"/>
  <Override PartName="/ppt/theme/themeOverride3736.xml" ContentType="application/vnd.openxmlformats-officedocument.themeOverride+xml"/>
  <Override PartName="/ppt/theme/themeOverride3737.xml" ContentType="application/vnd.openxmlformats-officedocument.themeOverride+xml"/>
  <Override PartName="/ppt/theme/themeOverride3738.xml" ContentType="application/vnd.openxmlformats-officedocument.themeOverride+xml"/>
  <Override PartName="/ppt/theme/themeOverride3739.xml" ContentType="application/vnd.openxmlformats-officedocument.themeOverride+xml"/>
  <Override PartName="/ppt/theme/themeOverride374.xml" ContentType="application/vnd.openxmlformats-officedocument.themeOverride+xml"/>
  <Override PartName="/ppt/theme/themeOverride3740.xml" ContentType="application/vnd.openxmlformats-officedocument.themeOverride+xml"/>
  <Override PartName="/ppt/theme/themeOverride3741.xml" ContentType="application/vnd.openxmlformats-officedocument.themeOverride+xml"/>
  <Override PartName="/ppt/theme/themeOverride3742.xml" ContentType="application/vnd.openxmlformats-officedocument.themeOverride+xml"/>
  <Override PartName="/ppt/theme/themeOverride3743.xml" ContentType="application/vnd.openxmlformats-officedocument.themeOverride+xml"/>
  <Override PartName="/ppt/theme/themeOverride3744.xml" ContentType="application/vnd.openxmlformats-officedocument.themeOverride+xml"/>
  <Override PartName="/ppt/theme/themeOverride3745.xml" ContentType="application/vnd.openxmlformats-officedocument.themeOverride+xml"/>
  <Override PartName="/ppt/theme/themeOverride3746.xml" ContentType="application/vnd.openxmlformats-officedocument.themeOverride+xml"/>
  <Override PartName="/ppt/theme/themeOverride3747.xml" ContentType="application/vnd.openxmlformats-officedocument.themeOverride+xml"/>
  <Override PartName="/ppt/theme/themeOverride3748.xml" ContentType="application/vnd.openxmlformats-officedocument.themeOverride+xml"/>
  <Override PartName="/ppt/theme/themeOverride3749.xml" ContentType="application/vnd.openxmlformats-officedocument.themeOverride+xml"/>
  <Override PartName="/ppt/theme/themeOverride375.xml" ContentType="application/vnd.openxmlformats-officedocument.themeOverride+xml"/>
  <Override PartName="/ppt/theme/themeOverride3750.xml" ContentType="application/vnd.openxmlformats-officedocument.themeOverride+xml"/>
  <Override PartName="/ppt/theme/themeOverride3751.xml" ContentType="application/vnd.openxmlformats-officedocument.themeOverride+xml"/>
  <Override PartName="/ppt/theme/themeOverride3752.xml" ContentType="application/vnd.openxmlformats-officedocument.themeOverride+xml"/>
  <Override PartName="/ppt/theme/themeOverride3753.xml" ContentType="application/vnd.openxmlformats-officedocument.themeOverride+xml"/>
  <Override PartName="/ppt/theme/themeOverride3754.xml" ContentType="application/vnd.openxmlformats-officedocument.themeOverride+xml"/>
  <Override PartName="/ppt/theme/themeOverride3755.xml" ContentType="application/vnd.openxmlformats-officedocument.themeOverride+xml"/>
  <Override PartName="/ppt/theme/themeOverride3756.xml" ContentType="application/vnd.openxmlformats-officedocument.themeOverride+xml"/>
  <Override PartName="/ppt/theme/themeOverride3757.xml" ContentType="application/vnd.openxmlformats-officedocument.themeOverride+xml"/>
  <Override PartName="/ppt/theme/themeOverride3758.xml" ContentType="application/vnd.openxmlformats-officedocument.themeOverride+xml"/>
  <Override PartName="/ppt/theme/themeOverride3759.xml" ContentType="application/vnd.openxmlformats-officedocument.themeOverride+xml"/>
  <Override PartName="/ppt/theme/themeOverride376.xml" ContentType="application/vnd.openxmlformats-officedocument.themeOverride+xml"/>
  <Override PartName="/ppt/theme/themeOverride3760.xml" ContentType="application/vnd.openxmlformats-officedocument.themeOverride+xml"/>
  <Override PartName="/ppt/theme/themeOverride3761.xml" ContentType="application/vnd.openxmlformats-officedocument.themeOverride+xml"/>
  <Override PartName="/ppt/theme/themeOverride3762.xml" ContentType="application/vnd.openxmlformats-officedocument.themeOverride+xml"/>
  <Override PartName="/ppt/theme/themeOverride3763.xml" ContentType="application/vnd.openxmlformats-officedocument.themeOverride+xml"/>
  <Override PartName="/ppt/theme/themeOverride3764.xml" ContentType="application/vnd.openxmlformats-officedocument.themeOverride+xml"/>
  <Override PartName="/ppt/theme/themeOverride3765.xml" ContentType="application/vnd.openxmlformats-officedocument.themeOverride+xml"/>
  <Override PartName="/ppt/theme/themeOverride3766.xml" ContentType="application/vnd.openxmlformats-officedocument.themeOverride+xml"/>
  <Override PartName="/ppt/theme/themeOverride3767.xml" ContentType="application/vnd.openxmlformats-officedocument.themeOverride+xml"/>
  <Override PartName="/ppt/theme/themeOverride3768.xml" ContentType="application/vnd.openxmlformats-officedocument.themeOverride+xml"/>
  <Override PartName="/ppt/theme/themeOverride3769.xml" ContentType="application/vnd.openxmlformats-officedocument.themeOverride+xml"/>
  <Override PartName="/ppt/theme/themeOverride377.xml" ContentType="application/vnd.openxmlformats-officedocument.themeOverride+xml"/>
  <Override PartName="/ppt/theme/themeOverride3770.xml" ContentType="application/vnd.openxmlformats-officedocument.themeOverride+xml"/>
  <Override PartName="/ppt/theme/themeOverride3771.xml" ContentType="application/vnd.openxmlformats-officedocument.themeOverride+xml"/>
  <Override PartName="/ppt/theme/themeOverride3772.xml" ContentType="application/vnd.openxmlformats-officedocument.themeOverride+xml"/>
  <Override PartName="/ppt/theme/themeOverride3773.xml" ContentType="application/vnd.openxmlformats-officedocument.themeOverride+xml"/>
  <Override PartName="/ppt/theme/themeOverride3774.xml" ContentType="application/vnd.openxmlformats-officedocument.themeOverride+xml"/>
  <Override PartName="/ppt/theme/themeOverride3775.xml" ContentType="application/vnd.openxmlformats-officedocument.themeOverride+xml"/>
  <Override PartName="/ppt/theme/themeOverride3776.xml" ContentType="application/vnd.openxmlformats-officedocument.themeOverride+xml"/>
  <Override PartName="/ppt/theme/themeOverride3777.xml" ContentType="application/vnd.openxmlformats-officedocument.themeOverride+xml"/>
  <Override PartName="/ppt/theme/themeOverride3778.xml" ContentType="application/vnd.openxmlformats-officedocument.themeOverride+xml"/>
  <Override PartName="/ppt/theme/themeOverride3779.xml" ContentType="application/vnd.openxmlformats-officedocument.themeOverride+xml"/>
  <Override PartName="/ppt/theme/themeOverride378.xml" ContentType="application/vnd.openxmlformats-officedocument.themeOverride+xml"/>
  <Override PartName="/ppt/theme/themeOverride3780.xml" ContentType="application/vnd.openxmlformats-officedocument.themeOverride+xml"/>
  <Override PartName="/ppt/theme/themeOverride3781.xml" ContentType="application/vnd.openxmlformats-officedocument.themeOverride+xml"/>
  <Override PartName="/ppt/theme/themeOverride3782.xml" ContentType="application/vnd.openxmlformats-officedocument.themeOverride+xml"/>
  <Override PartName="/ppt/theme/themeOverride3783.xml" ContentType="application/vnd.openxmlformats-officedocument.themeOverride+xml"/>
  <Override PartName="/ppt/theme/themeOverride3784.xml" ContentType="application/vnd.openxmlformats-officedocument.themeOverride+xml"/>
  <Override PartName="/ppt/theme/themeOverride3785.xml" ContentType="application/vnd.openxmlformats-officedocument.themeOverride+xml"/>
  <Override PartName="/ppt/theme/themeOverride3786.xml" ContentType="application/vnd.openxmlformats-officedocument.themeOverride+xml"/>
  <Override PartName="/ppt/theme/themeOverride3787.xml" ContentType="application/vnd.openxmlformats-officedocument.themeOverride+xml"/>
  <Override PartName="/ppt/theme/themeOverride3788.xml" ContentType="application/vnd.openxmlformats-officedocument.themeOverride+xml"/>
  <Override PartName="/ppt/theme/themeOverride3789.xml" ContentType="application/vnd.openxmlformats-officedocument.themeOverride+xml"/>
  <Override PartName="/ppt/theme/themeOverride379.xml" ContentType="application/vnd.openxmlformats-officedocument.themeOverride+xml"/>
  <Override PartName="/ppt/theme/themeOverride3790.xml" ContentType="application/vnd.openxmlformats-officedocument.themeOverride+xml"/>
  <Override PartName="/ppt/theme/themeOverride3791.xml" ContentType="application/vnd.openxmlformats-officedocument.themeOverride+xml"/>
  <Override PartName="/ppt/theme/themeOverride3792.xml" ContentType="application/vnd.openxmlformats-officedocument.themeOverride+xml"/>
  <Override PartName="/ppt/theme/themeOverride3793.xml" ContentType="application/vnd.openxmlformats-officedocument.themeOverride+xml"/>
  <Override PartName="/ppt/theme/themeOverride3794.xml" ContentType="application/vnd.openxmlformats-officedocument.themeOverride+xml"/>
  <Override PartName="/ppt/theme/themeOverride3795.xml" ContentType="application/vnd.openxmlformats-officedocument.themeOverride+xml"/>
  <Override PartName="/ppt/theme/themeOverride3796.xml" ContentType="application/vnd.openxmlformats-officedocument.themeOverride+xml"/>
  <Override PartName="/ppt/theme/themeOverride3797.xml" ContentType="application/vnd.openxmlformats-officedocument.themeOverride+xml"/>
  <Override PartName="/ppt/theme/themeOverride3798.xml" ContentType="application/vnd.openxmlformats-officedocument.themeOverride+xml"/>
  <Override PartName="/ppt/theme/themeOverride3799.xml" ContentType="application/vnd.openxmlformats-officedocument.themeOverride+xml"/>
  <Override PartName="/ppt/theme/themeOverride38.xml" ContentType="application/vnd.openxmlformats-officedocument.themeOverride+xml"/>
  <Override PartName="/ppt/theme/themeOverride380.xml" ContentType="application/vnd.openxmlformats-officedocument.themeOverride+xml"/>
  <Override PartName="/ppt/theme/themeOverride3800.xml" ContentType="application/vnd.openxmlformats-officedocument.themeOverride+xml"/>
  <Override PartName="/ppt/theme/themeOverride3801.xml" ContentType="application/vnd.openxmlformats-officedocument.themeOverride+xml"/>
  <Override PartName="/ppt/theme/themeOverride3802.xml" ContentType="application/vnd.openxmlformats-officedocument.themeOverride+xml"/>
  <Override PartName="/ppt/theme/themeOverride3803.xml" ContentType="application/vnd.openxmlformats-officedocument.themeOverride+xml"/>
  <Override PartName="/ppt/theme/themeOverride3804.xml" ContentType="application/vnd.openxmlformats-officedocument.themeOverride+xml"/>
  <Override PartName="/ppt/theme/themeOverride3805.xml" ContentType="application/vnd.openxmlformats-officedocument.themeOverride+xml"/>
  <Override PartName="/ppt/theme/themeOverride3806.xml" ContentType="application/vnd.openxmlformats-officedocument.themeOverride+xml"/>
  <Override PartName="/ppt/theme/themeOverride3807.xml" ContentType="application/vnd.openxmlformats-officedocument.themeOverride+xml"/>
  <Override PartName="/ppt/theme/themeOverride3808.xml" ContentType="application/vnd.openxmlformats-officedocument.themeOverride+xml"/>
  <Override PartName="/ppt/theme/themeOverride3809.xml" ContentType="application/vnd.openxmlformats-officedocument.themeOverride+xml"/>
  <Override PartName="/ppt/theme/themeOverride381.xml" ContentType="application/vnd.openxmlformats-officedocument.themeOverride+xml"/>
  <Override PartName="/ppt/theme/themeOverride3810.xml" ContentType="application/vnd.openxmlformats-officedocument.themeOverride+xml"/>
  <Override PartName="/ppt/theme/themeOverride3811.xml" ContentType="application/vnd.openxmlformats-officedocument.themeOverride+xml"/>
  <Override PartName="/ppt/theme/themeOverride3812.xml" ContentType="application/vnd.openxmlformats-officedocument.themeOverride+xml"/>
  <Override PartName="/ppt/theme/themeOverride3813.xml" ContentType="application/vnd.openxmlformats-officedocument.themeOverride+xml"/>
  <Override PartName="/ppt/theme/themeOverride3814.xml" ContentType="application/vnd.openxmlformats-officedocument.themeOverride+xml"/>
  <Override PartName="/ppt/theme/themeOverride3815.xml" ContentType="application/vnd.openxmlformats-officedocument.themeOverride+xml"/>
  <Override PartName="/ppt/theme/themeOverride3816.xml" ContentType="application/vnd.openxmlformats-officedocument.themeOverride+xml"/>
  <Override PartName="/ppt/theme/themeOverride3817.xml" ContentType="application/vnd.openxmlformats-officedocument.themeOverride+xml"/>
  <Override PartName="/ppt/theme/themeOverride3818.xml" ContentType="application/vnd.openxmlformats-officedocument.themeOverride+xml"/>
  <Override PartName="/ppt/theme/themeOverride3819.xml" ContentType="application/vnd.openxmlformats-officedocument.themeOverride+xml"/>
  <Override PartName="/ppt/theme/themeOverride382.xml" ContentType="application/vnd.openxmlformats-officedocument.themeOverride+xml"/>
  <Override PartName="/ppt/theme/themeOverride3820.xml" ContentType="application/vnd.openxmlformats-officedocument.themeOverride+xml"/>
  <Override PartName="/ppt/theme/themeOverride3821.xml" ContentType="application/vnd.openxmlformats-officedocument.themeOverride+xml"/>
  <Override PartName="/ppt/theme/themeOverride3822.xml" ContentType="application/vnd.openxmlformats-officedocument.themeOverride+xml"/>
  <Override PartName="/ppt/theme/themeOverride3823.xml" ContentType="application/vnd.openxmlformats-officedocument.themeOverride+xml"/>
  <Override PartName="/ppt/theme/themeOverride3824.xml" ContentType="application/vnd.openxmlformats-officedocument.themeOverride+xml"/>
  <Override PartName="/ppt/theme/themeOverride3825.xml" ContentType="application/vnd.openxmlformats-officedocument.themeOverride+xml"/>
  <Override PartName="/ppt/theme/themeOverride3826.xml" ContentType="application/vnd.openxmlformats-officedocument.themeOverride+xml"/>
  <Override PartName="/ppt/theme/themeOverride3827.xml" ContentType="application/vnd.openxmlformats-officedocument.themeOverride+xml"/>
  <Override PartName="/ppt/theme/themeOverride3828.xml" ContentType="application/vnd.openxmlformats-officedocument.themeOverride+xml"/>
  <Override PartName="/ppt/theme/themeOverride3829.xml" ContentType="application/vnd.openxmlformats-officedocument.themeOverride+xml"/>
  <Override PartName="/ppt/theme/themeOverride383.xml" ContentType="application/vnd.openxmlformats-officedocument.themeOverride+xml"/>
  <Override PartName="/ppt/theme/themeOverride3830.xml" ContentType="application/vnd.openxmlformats-officedocument.themeOverride+xml"/>
  <Override PartName="/ppt/theme/themeOverride3831.xml" ContentType="application/vnd.openxmlformats-officedocument.themeOverride+xml"/>
  <Override PartName="/ppt/theme/themeOverride3832.xml" ContentType="application/vnd.openxmlformats-officedocument.themeOverride+xml"/>
  <Override PartName="/ppt/theme/themeOverride3833.xml" ContentType="application/vnd.openxmlformats-officedocument.themeOverride+xml"/>
  <Override PartName="/ppt/theme/themeOverride3834.xml" ContentType="application/vnd.openxmlformats-officedocument.themeOverride+xml"/>
  <Override PartName="/ppt/theme/themeOverride3835.xml" ContentType="application/vnd.openxmlformats-officedocument.themeOverride+xml"/>
  <Override PartName="/ppt/theme/themeOverride3836.xml" ContentType="application/vnd.openxmlformats-officedocument.themeOverride+xml"/>
  <Override PartName="/ppt/theme/themeOverride3837.xml" ContentType="application/vnd.openxmlformats-officedocument.themeOverride+xml"/>
  <Override PartName="/ppt/theme/themeOverride3838.xml" ContentType="application/vnd.openxmlformats-officedocument.themeOverride+xml"/>
  <Override PartName="/ppt/theme/themeOverride3839.xml" ContentType="application/vnd.openxmlformats-officedocument.themeOverride+xml"/>
  <Override PartName="/ppt/theme/themeOverride384.xml" ContentType="application/vnd.openxmlformats-officedocument.themeOverride+xml"/>
  <Override PartName="/ppt/theme/themeOverride3840.xml" ContentType="application/vnd.openxmlformats-officedocument.themeOverride+xml"/>
  <Override PartName="/ppt/theme/themeOverride3841.xml" ContentType="application/vnd.openxmlformats-officedocument.themeOverride+xml"/>
  <Override PartName="/ppt/theme/themeOverride3842.xml" ContentType="application/vnd.openxmlformats-officedocument.themeOverride+xml"/>
  <Override PartName="/ppt/theme/themeOverride3843.xml" ContentType="application/vnd.openxmlformats-officedocument.themeOverride+xml"/>
  <Override PartName="/ppt/theme/themeOverride3844.xml" ContentType="application/vnd.openxmlformats-officedocument.themeOverride+xml"/>
  <Override PartName="/ppt/theme/themeOverride3845.xml" ContentType="application/vnd.openxmlformats-officedocument.themeOverride+xml"/>
  <Override PartName="/ppt/theme/themeOverride3846.xml" ContentType="application/vnd.openxmlformats-officedocument.themeOverride+xml"/>
  <Override PartName="/ppt/theme/themeOverride3847.xml" ContentType="application/vnd.openxmlformats-officedocument.themeOverride+xml"/>
  <Override PartName="/ppt/theme/themeOverride3848.xml" ContentType="application/vnd.openxmlformats-officedocument.themeOverride+xml"/>
  <Override PartName="/ppt/theme/themeOverride3849.xml" ContentType="application/vnd.openxmlformats-officedocument.themeOverride+xml"/>
  <Override PartName="/ppt/theme/themeOverride385.xml" ContentType="application/vnd.openxmlformats-officedocument.themeOverride+xml"/>
  <Override PartName="/ppt/theme/themeOverride3850.xml" ContentType="application/vnd.openxmlformats-officedocument.themeOverride+xml"/>
  <Override PartName="/ppt/theme/themeOverride3851.xml" ContentType="application/vnd.openxmlformats-officedocument.themeOverride+xml"/>
  <Override PartName="/ppt/theme/themeOverride3852.xml" ContentType="application/vnd.openxmlformats-officedocument.themeOverride+xml"/>
  <Override PartName="/ppt/theme/themeOverride3853.xml" ContentType="application/vnd.openxmlformats-officedocument.themeOverride+xml"/>
  <Override PartName="/ppt/theme/themeOverride3854.xml" ContentType="application/vnd.openxmlformats-officedocument.themeOverride+xml"/>
  <Override PartName="/ppt/theme/themeOverride3855.xml" ContentType="application/vnd.openxmlformats-officedocument.themeOverride+xml"/>
  <Override PartName="/ppt/theme/themeOverride3856.xml" ContentType="application/vnd.openxmlformats-officedocument.themeOverride+xml"/>
  <Override PartName="/ppt/theme/themeOverride3857.xml" ContentType="application/vnd.openxmlformats-officedocument.themeOverride+xml"/>
  <Override PartName="/ppt/theme/themeOverride3858.xml" ContentType="application/vnd.openxmlformats-officedocument.themeOverride+xml"/>
  <Override PartName="/ppt/theme/themeOverride3859.xml" ContentType="application/vnd.openxmlformats-officedocument.themeOverride+xml"/>
  <Override PartName="/ppt/theme/themeOverride386.xml" ContentType="application/vnd.openxmlformats-officedocument.themeOverride+xml"/>
  <Override PartName="/ppt/theme/themeOverride3860.xml" ContentType="application/vnd.openxmlformats-officedocument.themeOverride+xml"/>
  <Override PartName="/ppt/theme/themeOverride3861.xml" ContentType="application/vnd.openxmlformats-officedocument.themeOverride+xml"/>
  <Override PartName="/ppt/theme/themeOverride3862.xml" ContentType="application/vnd.openxmlformats-officedocument.themeOverride+xml"/>
  <Override PartName="/ppt/theme/themeOverride3863.xml" ContentType="application/vnd.openxmlformats-officedocument.themeOverride+xml"/>
  <Override PartName="/ppt/theme/themeOverride3864.xml" ContentType="application/vnd.openxmlformats-officedocument.themeOverride+xml"/>
  <Override PartName="/ppt/theme/themeOverride3865.xml" ContentType="application/vnd.openxmlformats-officedocument.themeOverride+xml"/>
  <Override PartName="/ppt/theme/themeOverride3866.xml" ContentType="application/vnd.openxmlformats-officedocument.themeOverride+xml"/>
  <Override PartName="/ppt/theme/themeOverride3867.xml" ContentType="application/vnd.openxmlformats-officedocument.themeOverride+xml"/>
  <Override PartName="/ppt/theme/themeOverride3868.xml" ContentType="application/vnd.openxmlformats-officedocument.themeOverride+xml"/>
  <Override PartName="/ppt/theme/themeOverride3869.xml" ContentType="application/vnd.openxmlformats-officedocument.themeOverride+xml"/>
  <Override PartName="/ppt/theme/themeOverride387.xml" ContentType="application/vnd.openxmlformats-officedocument.themeOverride+xml"/>
  <Override PartName="/ppt/theme/themeOverride3870.xml" ContentType="application/vnd.openxmlformats-officedocument.themeOverride+xml"/>
  <Override PartName="/ppt/theme/themeOverride3871.xml" ContentType="application/vnd.openxmlformats-officedocument.themeOverride+xml"/>
  <Override PartName="/ppt/theme/themeOverride3872.xml" ContentType="application/vnd.openxmlformats-officedocument.themeOverride+xml"/>
  <Override PartName="/ppt/theme/themeOverride3873.xml" ContentType="application/vnd.openxmlformats-officedocument.themeOverride+xml"/>
  <Override PartName="/ppt/theme/themeOverride3874.xml" ContentType="application/vnd.openxmlformats-officedocument.themeOverride+xml"/>
  <Override PartName="/ppt/theme/themeOverride3875.xml" ContentType="application/vnd.openxmlformats-officedocument.themeOverride+xml"/>
  <Override PartName="/ppt/theme/themeOverride3876.xml" ContentType="application/vnd.openxmlformats-officedocument.themeOverride+xml"/>
  <Override PartName="/ppt/theme/themeOverride3877.xml" ContentType="application/vnd.openxmlformats-officedocument.themeOverride+xml"/>
  <Override PartName="/ppt/theme/themeOverride3878.xml" ContentType="application/vnd.openxmlformats-officedocument.themeOverride+xml"/>
  <Override PartName="/ppt/theme/themeOverride3879.xml" ContentType="application/vnd.openxmlformats-officedocument.themeOverride+xml"/>
  <Override PartName="/ppt/theme/themeOverride388.xml" ContentType="application/vnd.openxmlformats-officedocument.themeOverride+xml"/>
  <Override PartName="/ppt/theme/themeOverride3880.xml" ContentType="application/vnd.openxmlformats-officedocument.themeOverride+xml"/>
  <Override PartName="/ppt/theme/themeOverride3881.xml" ContentType="application/vnd.openxmlformats-officedocument.themeOverride+xml"/>
  <Override PartName="/ppt/theme/themeOverride3882.xml" ContentType="application/vnd.openxmlformats-officedocument.themeOverride+xml"/>
  <Override PartName="/ppt/theme/themeOverride3883.xml" ContentType="application/vnd.openxmlformats-officedocument.themeOverride+xml"/>
  <Override PartName="/ppt/theme/themeOverride3884.xml" ContentType="application/vnd.openxmlformats-officedocument.themeOverride+xml"/>
  <Override PartName="/ppt/theme/themeOverride3885.xml" ContentType="application/vnd.openxmlformats-officedocument.themeOverride+xml"/>
  <Override PartName="/ppt/theme/themeOverride3886.xml" ContentType="application/vnd.openxmlformats-officedocument.themeOverride+xml"/>
  <Override PartName="/ppt/theme/themeOverride3887.xml" ContentType="application/vnd.openxmlformats-officedocument.themeOverride+xml"/>
  <Override PartName="/ppt/theme/themeOverride3888.xml" ContentType="application/vnd.openxmlformats-officedocument.themeOverride+xml"/>
  <Override PartName="/ppt/theme/themeOverride3889.xml" ContentType="application/vnd.openxmlformats-officedocument.themeOverride+xml"/>
  <Override PartName="/ppt/theme/themeOverride389.xml" ContentType="application/vnd.openxmlformats-officedocument.themeOverride+xml"/>
  <Override PartName="/ppt/theme/themeOverride3890.xml" ContentType="application/vnd.openxmlformats-officedocument.themeOverride+xml"/>
  <Override PartName="/ppt/theme/themeOverride3891.xml" ContentType="application/vnd.openxmlformats-officedocument.themeOverride+xml"/>
  <Override PartName="/ppt/theme/themeOverride3892.xml" ContentType="application/vnd.openxmlformats-officedocument.themeOverride+xml"/>
  <Override PartName="/ppt/theme/themeOverride3893.xml" ContentType="application/vnd.openxmlformats-officedocument.themeOverride+xml"/>
  <Override PartName="/ppt/theme/themeOverride3894.xml" ContentType="application/vnd.openxmlformats-officedocument.themeOverride+xml"/>
  <Override PartName="/ppt/theme/themeOverride3895.xml" ContentType="application/vnd.openxmlformats-officedocument.themeOverride+xml"/>
  <Override PartName="/ppt/theme/themeOverride3896.xml" ContentType="application/vnd.openxmlformats-officedocument.themeOverride+xml"/>
  <Override PartName="/ppt/theme/themeOverride3897.xml" ContentType="application/vnd.openxmlformats-officedocument.themeOverride+xml"/>
  <Override PartName="/ppt/theme/themeOverride3898.xml" ContentType="application/vnd.openxmlformats-officedocument.themeOverride+xml"/>
  <Override PartName="/ppt/theme/themeOverride3899.xml" ContentType="application/vnd.openxmlformats-officedocument.themeOverride+xml"/>
  <Override PartName="/ppt/theme/themeOverride39.xml" ContentType="application/vnd.openxmlformats-officedocument.themeOverride+xml"/>
  <Override PartName="/ppt/theme/themeOverride390.xml" ContentType="application/vnd.openxmlformats-officedocument.themeOverride+xml"/>
  <Override PartName="/ppt/theme/themeOverride3900.xml" ContentType="application/vnd.openxmlformats-officedocument.themeOverride+xml"/>
  <Override PartName="/ppt/theme/themeOverride3901.xml" ContentType="application/vnd.openxmlformats-officedocument.themeOverride+xml"/>
  <Override PartName="/ppt/theme/themeOverride3902.xml" ContentType="application/vnd.openxmlformats-officedocument.themeOverride+xml"/>
  <Override PartName="/ppt/theme/themeOverride3903.xml" ContentType="application/vnd.openxmlformats-officedocument.themeOverride+xml"/>
  <Override PartName="/ppt/theme/themeOverride3904.xml" ContentType="application/vnd.openxmlformats-officedocument.themeOverride+xml"/>
  <Override PartName="/ppt/theme/themeOverride3905.xml" ContentType="application/vnd.openxmlformats-officedocument.themeOverride+xml"/>
  <Override PartName="/ppt/theme/themeOverride3906.xml" ContentType="application/vnd.openxmlformats-officedocument.themeOverride+xml"/>
  <Override PartName="/ppt/theme/themeOverride3907.xml" ContentType="application/vnd.openxmlformats-officedocument.themeOverride+xml"/>
  <Override PartName="/ppt/theme/themeOverride3908.xml" ContentType="application/vnd.openxmlformats-officedocument.themeOverride+xml"/>
  <Override PartName="/ppt/theme/themeOverride3909.xml" ContentType="application/vnd.openxmlformats-officedocument.themeOverride+xml"/>
  <Override PartName="/ppt/theme/themeOverride391.xml" ContentType="application/vnd.openxmlformats-officedocument.themeOverride+xml"/>
  <Override PartName="/ppt/theme/themeOverride3910.xml" ContentType="application/vnd.openxmlformats-officedocument.themeOverride+xml"/>
  <Override PartName="/ppt/theme/themeOverride3911.xml" ContentType="application/vnd.openxmlformats-officedocument.themeOverride+xml"/>
  <Override PartName="/ppt/theme/themeOverride3912.xml" ContentType="application/vnd.openxmlformats-officedocument.themeOverride+xml"/>
  <Override PartName="/ppt/theme/themeOverride3913.xml" ContentType="application/vnd.openxmlformats-officedocument.themeOverride+xml"/>
  <Override PartName="/ppt/theme/themeOverride3914.xml" ContentType="application/vnd.openxmlformats-officedocument.themeOverride+xml"/>
  <Override PartName="/ppt/theme/themeOverride3915.xml" ContentType="application/vnd.openxmlformats-officedocument.themeOverride+xml"/>
  <Override PartName="/ppt/theme/themeOverride3916.xml" ContentType="application/vnd.openxmlformats-officedocument.themeOverride+xml"/>
  <Override PartName="/ppt/theme/themeOverride3917.xml" ContentType="application/vnd.openxmlformats-officedocument.themeOverride+xml"/>
  <Override PartName="/ppt/theme/themeOverride3918.xml" ContentType="application/vnd.openxmlformats-officedocument.themeOverride+xml"/>
  <Override PartName="/ppt/theme/themeOverride3919.xml" ContentType="application/vnd.openxmlformats-officedocument.themeOverride+xml"/>
  <Override PartName="/ppt/theme/themeOverride392.xml" ContentType="application/vnd.openxmlformats-officedocument.themeOverride+xml"/>
  <Override PartName="/ppt/theme/themeOverride3920.xml" ContentType="application/vnd.openxmlformats-officedocument.themeOverride+xml"/>
  <Override PartName="/ppt/theme/themeOverride3921.xml" ContentType="application/vnd.openxmlformats-officedocument.themeOverride+xml"/>
  <Override PartName="/ppt/theme/themeOverride3922.xml" ContentType="application/vnd.openxmlformats-officedocument.themeOverride+xml"/>
  <Override PartName="/ppt/theme/themeOverride3923.xml" ContentType="application/vnd.openxmlformats-officedocument.themeOverride+xml"/>
  <Override PartName="/ppt/theme/themeOverride3924.xml" ContentType="application/vnd.openxmlformats-officedocument.themeOverride+xml"/>
  <Override PartName="/ppt/theme/themeOverride3925.xml" ContentType="application/vnd.openxmlformats-officedocument.themeOverride+xml"/>
  <Override PartName="/ppt/theme/themeOverride3926.xml" ContentType="application/vnd.openxmlformats-officedocument.themeOverride+xml"/>
  <Override PartName="/ppt/theme/themeOverride3927.xml" ContentType="application/vnd.openxmlformats-officedocument.themeOverride+xml"/>
  <Override PartName="/ppt/theme/themeOverride3928.xml" ContentType="application/vnd.openxmlformats-officedocument.themeOverride+xml"/>
  <Override PartName="/ppt/theme/themeOverride3929.xml" ContentType="application/vnd.openxmlformats-officedocument.themeOverride+xml"/>
  <Override PartName="/ppt/theme/themeOverride393.xml" ContentType="application/vnd.openxmlformats-officedocument.themeOverride+xml"/>
  <Override PartName="/ppt/theme/themeOverride3930.xml" ContentType="application/vnd.openxmlformats-officedocument.themeOverride+xml"/>
  <Override PartName="/ppt/theme/themeOverride3931.xml" ContentType="application/vnd.openxmlformats-officedocument.themeOverride+xml"/>
  <Override PartName="/ppt/theme/themeOverride3932.xml" ContentType="application/vnd.openxmlformats-officedocument.themeOverride+xml"/>
  <Override PartName="/ppt/theme/themeOverride3933.xml" ContentType="application/vnd.openxmlformats-officedocument.themeOverride+xml"/>
  <Override PartName="/ppt/theme/themeOverride3934.xml" ContentType="application/vnd.openxmlformats-officedocument.themeOverride+xml"/>
  <Override PartName="/ppt/theme/themeOverride3935.xml" ContentType="application/vnd.openxmlformats-officedocument.themeOverride+xml"/>
  <Override PartName="/ppt/theme/themeOverride3936.xml" ContentType="application/vnd.openxmlformats-officedocument.themeOverride+xml"/>
  <Override PartName="/ppt/theme/themeOverride3937.xml" ContentType="application/vnd.openxmlformats-officedocument.themeOverride+xml"/>
  <Override PartName="/ppt/theme/themeOverride3938.xml" ContentType="application/vnd.openxmlformats-officedocument.themeOverride+xml"/>
  <Override PartName="/ppt/theme/themeOverride3939.xml" ContentType="application/vnd.openxmlformats-officedocument.themeOverride+xml"/>
  <Override PartName="/ppt/theme/themeOverride394.xml" ContentType="application/vnd.openxmlformats-officedocument.themeOverride+xml"/>
  <Override PartName="/ppt/theme/themeOverride3940.xml" ContentType="application/vnd.openxmlformats-officedocument.themeOverride+xml"/>
  <Override PartName="/ppt/theme/themeOverride3941.xml" ContentType="application/vnd.openxmlformats-officedocument.themeOverride+xml"/>
  <Override PartName="/ppt/theme/themeOverride3942.xml" ContentType="application/vnd.openxmlformats-officedocument.themeOverride+xml"/>
  <Override PartName="/ppt/theme/themeOverride3943.xml" ContentType="application/vnd.openxmlformats-officedocument.themeOverride+xml"/>
  <Override PartName="/ppt/theme/themeOverride3944.xml" ContentType="application/vnd.openxmlformats-officedocument.themeOverride+xml"/>
  <Override PartName="/ppt/theme/themeOverride3945.xml" ContentType="application/vnd.openxmlformats-officedocument.themeOverride+xml"/>
  <Override PartName="/ppt/theme/themeOverride3946.xml" ContentType="application/vnd.openxmlformats-officedocument.themeOverride+xml"/>
  <Override PartName="/ppt/theme/themeOverride3947.xml" ContentType="application/vnd.openxmlformats-officedocument.themeOverride+xml"/>
  <Override PartName="/ppt/theme/themeOverride3948.xml" ContentType="application/vnd.openxmlformats-officedocument.themeOverride+xml"/>
  <Override PartName="/ppt/theme/themeOverride3949.xml" ContentType="application/vnd.openxmlformats-officedocument.themeOverride+xml"/>
  <Override PartName="/ppt/theme/themeOverride395.xml" ContentType="application/vnd.openxmlformats-officedocument.themeOverride+xml"/>
  <Override PartName="/ppt/theme/themeOverride3950.xml" ContentType="application/vnd.openxmlformats-officedocument.themeOverride+xml"/>
  <Override PartName="/ppt/theme/themeOverride3951.xml" ContentType="application/vnd.openxmlformats-officedocument.themeOverride+xml"/>
  <Override PartName="/ppt/theme/themeOverride3952.xml" ContentType="application/vnd.openxmlformats-officedocument.themeOverride+xml"/>
  <Override PartName="/ppt/theme/themeOverride3953.xml" ContentType="application/vnd.openxmlformats-officedocument.themeOverride+xml"/>
  <Override PartName="/ppt/theme/themeOverride3954.xml" ContentType="application/vnd.openxmlformats-officedocument.themeOverride+xml"/>
  <Override PartName="/ppt/theme/themeOverride3955.xml" ContentType="application/vnd.openxmlformats-officedocument.themeOverride+xml"/>
  <Override PartName="/ppt/theme/themeOverride3956.xml" ContentType="application/vnd.openxmlformats-officedocument.themeOverride+xml"/>
  <Override PartName="/ppt/theme/themeOverride3957.xml" ContentType="application/vnd.openxmlformats-officedocument.themeOverride+xml"/>
  <Override PartName="/ppt/theme/themeOverride3958.xml" ContentType="application/vnd.openxmlformats-officedocument.themeOverride+xml"/>
  <Override PartName="/ppt/theme/themeOverride3959.xml" ContentType="application/vnd.openxmlformats-officedocument.themeOverride+xml"/>
  <Override PartName="/ppt/theme/themeOverride396.xml" ContentType="application/vnd.openxmlformats-officedocument.themeOverride+xml"/>
  <Override PartName="/ppt/theme/themeOverride3960.xml" ContentType="application/vnd.openxmlformats-officedocument.themeOverride+xml"/>
  <Override PartName="/ppt/theme/themeOverride3961.xml" ContentType="application/vnd.openxmlformats-officedocument.themeOverride+xml"/>
  <Override PartName="/ppt/theme/themeOverride3962.xml" ContentType="application/vnd.openxmlformats-officedocument.themeOverride+xml"/>
  <Override PartName="/ppt/theme/themeOverride3963.xml" ContentType="application/vnd.openxmlformats-officedocument.themeOverride+xml"/>
  <Override PartName="/ppt/theme/themeOverride3964.xml" ContentType="application/vnd.openxmlformats-officedocument.themeOverride+xml"/>
  <Override PartName="/ppt/theme/themeOverride3965.xml" ContentType="application/vnd.openxmlformats-officedocument.themeOverride+xml"/>
  <Override PartName="/ppt/theme/themeOverride3966.xml" ContentType="application/vnd.openxmlformats-officedocument.themeOverride+xml"/>
  <Override PartName="/ppt/theme/themeOverride3967.xml" ContentType="application/vnd.openxmlformats-officedocument.themeOverride+xml"/>
  <Override PartName="/ppt/theme/themeOverride3968.xml" ContentType="application/vnd.openxmlformats-officedocument.themeOverride+xml"/>
  <Override PartName="/ppt/theme/themeOverride3969.xml" ContentType="application/vnd.openxmlformats-officedocument.themeOverride+xml"/>
  <Override PartName="/ppt/theme/themeOverride397.xml" ContentType="application/vnd.openxmlformats-officedocument.themeOverride+xml"/>
  <Override PartName="/ppt/theme/themeOverride3970.xml" ContentType="application/vnd.openxmlformats-officedocument.themeOverride+xml"/>
  <Override PartName="/ppt/theme/themeOverride3971.xml" ContentType="application/vnd.openxmlformats-officedocument.themeOverride+xml"/>
  <Override PartName="/ppt/theme/themeOverride3972.xml" ContentType="application/vnd.openxmlformats-officedocument.themeOverride+xml"/>
  <Override PartName="/ppt/theme/themeOverride3973.xml" ContentType="application/vnd.openxmlformats-officedocument.themeOverride+xml"/>
  <Override PartName="/ppt/theme/themeOverride3974.xml" ContentType="application/vnd.openxmlformats-officedocument.themeOverride+xml"/>
  <Override PartName="/ppt/theme/themeOverride3975.xml" ContentType="application/vnd.openxmlformats-officedocument.themeOverride+xml"/>
  <Override PartName="/ppt/theme/themeOverride3976.xml" ContentType="application/vnd.openxmlformats-officedocument.themeOverride+xml"/>
  <Override PartName="/ppt/theme/themeOverride3977.xml" ContentType="application/vnd.openxmlformats-officedocument.themeOverride+xml"/>
  <Override PartName="/ppt/theme/themeOverride3978.xml" ContentType="application/vnd.openxmlformats-officedocument.themeOverride+xml"/>
  <Override PartName="/ppt/theme/themeOverride3979.xml" ContentType="application/vnd.openxmlformats-officedocument.themeOverride+xml"/>
  <Override PartName="/ppt/theme/themeOverride398.xml" ContentType="application/vnd.openxmlformats-officedocument.themeOverride+xml"/>
  <Override PartName="/ppt/theme/themeOverride3980.xml" ContentType="application/vnd.openxmlformats-officedocument.themeOverride+xml"/>
  <Override PartName="/ppt/theme/themeOverride3981.xml" ContentType="application/vnd.openxmlformats-officedocument.themeOverride+xml"/>
  <Override PartName="/ppt/theme/themeOverride3982.xml" ContentType="application/vnd.openxmlformats-officedocument.themeOverride+xml"/>
  <Override PartName="/ppt/theme/themeOverride3983.xml" ContentType="application/vnd.openxmlformats-officedocument.themeOverride+xml"/>
  <Override PartName="/ppt/theme/themeOverride3984.xml" ContentType="application/vnd.openxmlformats-officedocument.themeOverride+xml"/>
  <Override PartName="/ppt/theme/themeOverride3985.xml" ContentType="application/vnd.openxmlformats-officedocument.themeOverride+xml"/>
  <Override PartName="/ppt/theme/themeOverride3986.xml" ContentType="application/vnd.openxmlformats-officedocument.themeOverride+xml"/>
  <Override PartName="/ppt/theme/themeOverride3987.xml" ContentType="application/vnd.openxmlformats-officedocument.themeOverride+xml"/>
  <Override PartName="/ppt/theme/themeOverride3988.xml" ContentType="application/vnd.openxmlformats-officedocument.themeOverride+xml"/>
  <Override PartName="/ppt/theme/themeOverride3989.xml" ContentType="application/vnd.openxmlformats-officedocument.themeOverride+xml"/>
  <Override PartName="/ppt/theme/themeOverride399.xml" ContentType="application/vnd.openxmlformats-officedocument.themeOverride+xml"/>
  <Override PartName="/ppt/theme/themeOverride3990.xml" ContentType="application/vnd.openxmlformats-officedocument.themeOverride+xml"/>
  <Override PartName="/ppt/theme/themeOverride3991.xml" ContentType="application/vnd.openxmlformats-officedocument.themeOverride+xml"/>
  <Override PartName="/ppt/theme/themeOverride3992.xml" ContentType="application/vnd.openxmlformats-officedocument.themeOverride+xml"/>
  <Override PartName="/ppt/theme/themeOverride3993.xml" ContentType="application/vnd.openxmlformats-officedocument.themeOverride+xml"/>
  <Override PartName="/ppt/theme/themeOverride3994.xml" ContentType="application/vnd.openxmlformats-officedocument.themeOverride+xml"/>
  <Override PartName="/ppt/theme/themeOverride3995.xml" ContentType="application/vnd.openxmlformats-officedocument.themeOverride+xml"/>
  <Override PartName="/ppt/theme/themeOverride3996.xml" ContentType="application/vnd.openxmlformats-officedocument.themeOverride+xml"/>
  <Override PartName="/ppt/theme/themeOverride3997.xml" ContentType="application/vnd.openxmlformats-officedocument.themeOverride+xml"/>
  <Override PartName="/ppt/theme/themeOverride3998.xml" ContentType="application/vnd.openxmlformats-officedocument.themeOverride+xml"/>
  <Override PartName="/ppt/theme/themeOverride399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00.xml" ContentType="application/vnd.openxmlformats-officedocument.themeOverride+xml"/>
  <Override PartName="/ppt/theme/themeOverride4000.xml" ContentType="application/vnd.openxmlformats-officedocument.themeOverride+xml"/>
  <Override PartName="/ppt/theme/themeOverride4001.xml" ContentType="application/vnd.openxmlformats-officedocument.themeOverride+xml"/>
  <Override PartName="/ppt/theme/themeOverride4002.xml" ContentType="application/vnd.openxmlformats-officedocument.themeOverride+xml"/>
  <Override PartName="/ppt/theme/themeOverride4003.xml" ContentType="application/vnd.openxmlformats-officedocument.themeOverride+xml"/>
  <Override PartName="/ppt/theme/themeOverride4004.xml" ContentType="application/vnd.openxmlformats-officedocument.themeOverride+xml"/>
  <Override PartName="/ppt/theme/themeOverride4005.xml" ContentType="application/vnd.openxmlformats-officedocument.themeOverride+xml"/>
  <Override PartName="/ppt/theme/themeOverride4006.xml" ContentType="application/vnd.openxmlformats-officedocument.themeOverride+xml"/>
  <Override PartName="/ppt/theme/themeOverride4007.xml" ContentType="application/vnd.openxmlformats-officedocument.themeOverride+xml"/>
  <Override PartName="/ppt/theme/themeOverride4008.xml" ContentType="application/vnd.openxmlformats-officedocument.themeOverride+xml"/>
  <Override PartName="/ppt/theme/themeOverride4009.xml" ContentType="application/vnd.openxmlformats-officedocument.themeOverride+xml"/>
  <Override PartName="/ppt/theme/themeOverride401.xml" ContentType="application/vnd.openxmlformats-officedocument.themeOverride+xml"/>
  <Override PartName="/ppt/theme/themeOverride4010.xml" ContentType="application/vnd.openxmlformats-officedocument.themeOverride+xml"/>
  <Override PartName="/ppt/theme/themeOverride4011.xml" ContentType="application/vnd.openxmlformats-officedocument.themeOverride+xml"/>
  <Override PartName="/ppt/theme/themeOverride4012.xml" ContentType="application/vnd.openxmlformats-officedocument.themeOverride+xml"/>
  <Override PartName="/ppt/theme/themeOverride4013.xml" ContentType="application/vnd.openxmlformats-officedocument.themeOverride+xml"/>
  <Override PartName="/ppt/theme/themeOverride4014.xml" ContentType="application/vnd.openxmlformats-officedocument.themeOverride+xml"/>
  <Override PartName="/ppt/theme/themeOverride4015.xml" ContentType="application/vnd.openxmlformats-officedocument.themeOverride+xml"/>
  <Override PartName="/ppt/theme/themeOverride4016.xml" ContentType="application/vnd.openxmlformats-officedocument.themeOverride+xml"/>
  <Override PartName="/ppt/theme/themeOverride4017.xml" ContentType="application/vnd.openxmlformats-officedocument.themeOverride+xml"/>
  <Override PartName="/ppt/theme/themeOverride4018.xml" ContentType="application/vnd.openxmlformats-officedocument.themeOverride+xml"/>
  <Override PartName="/ppt/theme/themeOverride4019.xml" ContentType="application/vnd.openxmlformats-officedocument.themeOverride+xml"/>
  <Override PartName="/ppt/theme/themeOverride402.xml" ContentType="application/vnd.openxmlformats-officedocument.themeOverride+xml"/>
  <Override PartName="/ppt/theme/themeOverride4020.xml" ContentType="application/vnd.openxmlformats-officedocument.themeOverride+xml"/>
  <Override PartName="/ppt/theme/themeOverride4021.xml" ContentType="application/vnd.openxmlformats-officedocument.themeOverride+xml"/>
  <Override PartName="/ppt/theme/themeOverride4022.xml" ContentType="application/vnd.openxmlformats-officedocument.themeOverride+xml"/>
  <Override PartName="/ppt/theme/themeOverride4023.xml" ContentType="application/vnd.openxmlformats-officedocument.themeOverride+xml"/>
  <Override PartName="/ppt/theme/themeOverride4024.xml" ContentType="application/vnd.openxmlformats-officedocument.themeOverride+xml"/>
  <Override PartName="/ppt/theme/themeOverride4025.xml" ContentType="application/vnd.openxmlformats-officedocument.themeOverride+xml"/>
  <Override PartName="/ppt/theme/themeOverride4026.xml" ContentType="application/vnd.openxmlformats-officedocument.themeOverride+xml"/>
  <Override PartName="/ppt/theme/themeOverride4027.xml" ContentType="application/vnd.openxmlformats-officedocument.themeOverride+xml"/>
  <Override PartName="/ppt/theme/themeOverride4028.xml" ContentType="application/vnd.openxmlformats-officedocument.themeOverride+xml"/>
  <Override PartName="/ppt/theme/themeOverride4029.xml" ContentType="application/vnd.openxmlformats-officedocument.themeOverride+xml"/>
  <Override PartName="/ppt/theme/themeOverride403.xml" ContentType="application/vnd.openxmlformats-officedocument.themeOverride+xml"/>
  <Override PartName="/ppt/theme/themeOverride4030.xml" ContentType="application/vnd.openxmlformats-officedocument.themeOverride+xml"/>
  <Override PartName="/ppt/theme/themeOverride4031.xml" ContentType="application/vnd.openxmlformats-officedocument.themeOverride+xml"/>
  <Override PartName="/ppt/theme/themeOverride4032.xml" ContentType="application/vnd.openxmlformats-officedocument.themeOverride+xml"/>
  <Override PartName="/ppt/theme/themeOverride4033.xml" ContentType="application/vnd.openxmlformats-officedocument.themeOverride+xml"/>
  <Override PartName="/ppt/theme/themeOverride4034.xml" ContentType="application/vnd.openxmlformats-officedocument.themeOverride+xml"/>
  <Override PartName="/ppt/theme/themeOverride4035.xml" ContentType="application/vnd.openxmlformats-officedocument.themeOverride+xml"/>
  <Override PartName="/ppt/theme/themeOverride4036.xml" ContentType="application/vnd.openxmlformats-officedocument.themeOverride+xml"/>
  <Override PartName="/ppt/theme/themeOverride4037.xml" ContentType="application/vnd.openxmlformats-officedocument.themeOverride+xml"/>
  <Override PartName="/ppt/theme/themeOverride4038.xml" ContentType="application/vnd.openxmlformats-officedocument.themeOverride+xml"/>
  <Override PartName="/ppt/theme/themeOverride4039.xml" ContentType="application/vnd.openxmlformats-officedocument.themeOverride+xml"/>
  <Override PartName="/ppt/theme/themeOverride404.xml" ContentType="application/vnd.openxmlformats-officedocument.themeOverride+xml"/>
  <Override PartName="/ppt/theme/themeOverride4040.xml" ContentType="application/vnd.openxmlformats-officedocument.themeOverride+xml"/>
  <Override PartName="/ppt/theme/themeOverride4041.xml" ContentType="application/vnd.openxmlformats-officedocument.themeOverride+xml"/>
  <Override PartName="/ppt/theme/themeOverride4042.xml" ContentType="application/vnd.openxmlformats-officedocument.themeOverride+xml"/>
  <Override PartName="/ppt/theme/themeOverride4043.xml" ContentType="application/vnd.openxmlformats-officedocument.themeOverride+xml"/>
  <Override PartName="/ppt/theme/themeOverride4044.xml" ContentType="application/vnd.openxmlformats-officedocument.themeOverride+xml"/>
  <Override PartName="/ppt/theme/themeOverride4045.xml" ContentType="application/vnd.openxmlformats-officedocument.themeOverride+xml"/>
  <Override PartName="/ppt/theme/themeOverride4046.xml" ContentType="application/vnd.openxmlformats-officedocument.themeOverride+xml"/>
  <Override PartName="/ppt/theme/themeOverride4047.xml" ContentType="application/vnd.openxmlformats-officedocument.themeOverride+xml"/>
  <Override PartName="/ppt/theme/themeOverride4048.xml" ContentType="application/vnd.openxmlformats-officedocument.themeOverride+xml"/>
  <Override PartName="/ppt/theme/themeOverride4049.xml" ContentType="application/vnd.openxmlformats-officedocument.themeOverride+xml"/>
  <Override PartName="/ppt/theme/themeOverride405.xml" ContentType="application/vnd.openxmlformats-officedocument.themeOverride+xml"/>
  <Override PartName="/ppt/theme/themeOverride4050.xml" ContentType="application/vnd.openxmlformats-officedocument.themeOverride+xml"/>
  <Override PartName="/ppt/theme/themeOverride4051.xml" ContentType="application/vnd.openxmlformats-officedocument.themeOverride+xml"/>
  <Override PartName="/ppt/theme/themeOverride4052.xml" ContentType="application/vnd.openxmlformats-officedocument.themeOverride+xml"/>
  <Override PartName="/ppt/theme/themeOverride4053.xml" ContentType="application/vnd.openxmlformats-officedocument.themeOverride+xml"/>
  <Override PartName="/ppt/theme/themeOverride4054.xml" ContentType="application/vnd.openxmlformats-officedocument.themeOverride+xml"/>
  <Override PartName="/ppt/theme/themeOverride4055.xml" ContentType="application/vnd.openxmlformats-officedocument.themeOverride+xml"/>
  <Override PartName="/ppt/theme/themeOverride4056.xml" ContentType="application/vnd.openxmlformats-officedocument.themeOverride+xml"/>
  <Override PartName="/ppt/theme/themeOverride4057.xml" ContentType="application/vnd.openxmlformats-officedocument.themeOverride+xml"/>
  <Override PartName="/ppt/theme/themeOverride4058.xml" ContentType="application/vnd.openxmlformats-officedocument.themeOverride+xml"/>
  <Override PartName="/ppt/theme/themeOverride4059.xml" ContentType="application/vnd.openxmlformats-officedocument.themeOverride+xml"/>
  <Override PartName="/ppt/theme/themeOverride406.xml" ContentType="application/vnd.openxmlformats-officedocument.themeOverride+xml"/>
  <Override PartName="/ppt/theme/themeOverride4060.xml" ContentType="application/vnd.openxmlformats-officedocument.themeOverride+xml"/>
  <Override PartName="/ppt/theme/themeOverride4061.xml" ContentType="application/vnd.openxmlformats-officedocument.themeOverride+xml"/>
  <Override PartName="/ppt/theme/themeOverride4062.xml" ContentType="application/vnd.openxmlformats-officedocument.themeOverride+xml"/>
  <Override PartName="/ppt/theme/themeOverride4063.xml" ContentType="application/vnd.openxmlformats-officedocument.themeOverride+xml"/>
  <Override PartName="/ppt/theme/themeOverride4064.xml" ContentType="application/vnd.openxmlformats-officedocument.themeOverride+xml"/>
  <Override PartName="/ppt/theme/themeOverride4065.xml" ContentType="application/vnd.openxmlformats-officedocument.themeOverride+xml"/>
  <Override PartName="/ppt/theme/themeOverride4066.xml" ContentType="application/vnd.openxmlformats-officedocument.themeOverride+xml"/>
  <Override PartName="/ppt/theme/themeOverride4067.xml" ContentType="application/vnd.openxmlformats-officedocument.themeOverride+xml"/>
  <Override PartName="/ppt/theme/themeOverride4068.xml" ContentType="application/vnd.openxmlformats-officedocument.themeOverride+xml"/>
  <Override PartName="/ppt/theme/themeOverride4069.xml" ContentType="application/vnd.openxmlformats-officedocument.themeOverride+xml"/>
  <Override PartName="/ppt/theme/themeOverride407.xml" ContentType="application/vnd.openxmlformats-officedocument.themeOverride+xml"/>
  <Override PartName="/ppt/theme/themeOverride4070.xml" ContentType="application/vnd.openxmlformats-officedocument.themeOverride+xml"/>
  <Override PartName="/ppt/theme/themeOverride4071.xml" ContentType="application/vnd.openxmlformats-officedocument.themeOverride+xml"/>
  <Override PartName="/ppt/theme/themeOverride4072.xml" ContentType="application/vnd.openxmlformats-officedocument.themeOverride+xml"/>
  <Override PartName="/ppt/theme/themeOverride4073.xml" ContentType="application/vnd.openxmlformats-officedocument.themeOverride+xml"/>
  <Override PartName="/ppt/theme/themeOverride4074.xml" ContentType="application/vnd.openxmlformats-officedocument.themeOverride+xml"/>
  <Override PartName="/ppt/theme/themeOverride4075.xml" ContentType="application/vnd.openxmlformats-officedocument.themeOverride+xml"/>
  <Override PartName="/ppt/theme/themeOverride4076.xml" ContentType="application/vnd.openxmlformats-officedocument.themeOverride+xml"/>
  <Override PartName="/ppt/theme/themeOverride4077.xml" ContentType="application/vnd.openxmlformats-officedocument.themeOverride+xml"/>
  <Override PartName="/ppt/theme/themeOverride4078.xml" ContentType="application/vnd.openxmlformats-officedocument.themeOverride+xml"/>
  <Override PartName="/ppt/theme/themeOverride4079.xml" ContentType="application/vnd.openxmlformats-officedocument.themeOverride+xml"/>
  <Override PartName="/ppt/theme/themeOverride408.xml" ContentType="application/vnd.openxmlformats-officedocument.themeOverride+xml"/>
  <Override PartName="/ppt/theme/themeOverride4080.xml" ContentType="application/vnd.openxmlformats-officedocument.themeOverride+xml"/>
  <Override PartName="/ppt/theme/themeOverride4081.xml" ContentType="application/vnd.openxmlformats-officedocument.themeOverride+xml"/>
  <Override PartName="/ppt/theme/themeOverride4082.xml" ContentType="application/vnd.openxmlformats-officedocument.themeOverride+xml"/>
  <Override PartName="/ppt/theme/themeOverride4083.xml" ContentType="application/vnd.openxmlformats-officedocument.themeOverride+xml"/>
  <Override PartName="/ppt/theme/themeOverride4084.xml" ContentType="application/vnd.openxmlformats-officedocument.themeOverride+xml"/>
  <Override PartName="/ppt/theme/themeOverride4085.xml" ContentType="application/vnd.openxmlformats-officedocument.themeOverride+xml"/>
  <Override PartName="/ppt/theme/themeOverride4086.xml" ContentType="application/vnd.openxmlformats-officedocument.themeOverride+xml"/>
  <Override PartName="/ppt/theme/themeOverride4087.xml" ContentType="application/vnd.openxmlformats-officedocument.themeOverride+xml"/>
  <Override PartName="/ppt/theme/themeOverride4088.xml" ContentType="application/vnd.openxmlformats-officedocument.themeOverride+xml"/>
  <Override PartName="/ppt/theme/themeOverride4089.xml" ContentType="application/vnd.openxmlformats-officedocument.themeOverride+xml"/>
  <Override PartName="/ppt/theme/themeOverride409.xml" ContentType="application/vnd.openxmlformats-officedocument.themeOverride+xml"/>
  <Override PartName="/ppt/theme/themeOverride4090.xml" ContentType="application/vnd.openxmlformats-officedocument.themeOverride+xml"/>
  <Override PartName="/ppt/theme/themeOverride4091.xml" ContentType="application/vnd.openxmlformats-officedocument.themeOverride+xml"/>
  <Override PartName="/ppt/theme/themeOverride4092.xml" ContentType="application/vnd.openxmlformats-officedocument.themeOverride+xml"/>
  <Override PartName="/ppt/theme/themeOverride4093.xml" ContentType="application/vnd.openxmlformats-officedocument.themeOverride+xml"/>
  <Override PartName="/ppt/theme/themeOverride4094.xml" ContentType="application/vnd.openxmlformats-officedocument.themeOverride+xml"/>
  <Override PartName="/ppt/theme/themeOverride4095.xml" ContentType="application/vnd.openxmlformats-officedocument.themeOverride+xml"/>
  <Override PartName="/ppt/theme/themeOverride4096.xml" ContentType="application/vnd.openxmlformats-officedocument.themeOverride+xml"/>
  <Override PartName="/ppt/theme/themeOverride4097.xml" ContentType="application/vnd.openxmlformats-officedocument.themeOverride+xml"/>
  <Override PartName="/ppt/theme/themeOverride4098.xml" ContentType="application/vnd.openxmlformats-officedocument.themeOverride+xml"/>
  <Override PartName="/ppt/theme/themeOverride4099.xml" ContentType="application/vnd.openxmlformats-officedocument.themeOverride+xml"/>
  <Override PartName="/ppt/theme/themeOverride41.xml" ContentType="application/vnd.openxmlformats-officedocument.themeOverride+xml"/>
  <Override PartName="/ppt/theme/themeOverride410.xml" ContentType="application/vnd.openxmlformats-officedocument.themeOverride+xml"/>
  <Override PartName="/ppt/theme/themeOverride4100.xml" ContentType="application/vnd.openxmlformats-officedocument.themeOverride+xml"/>
  <Override PartName="/ppt/theme/themeOverride4101.xml" ContentType="application/vnd.openxmlformats-officedocument.themeOverride+xml"/>
  <Override PartName="/ppt/theme/themeOverride4102.xml" ContentType="application/vnd.openxmlformats-officedocument.themeOverride+xml"/>
  <Override PartName="/ppt/theme/themeOverride4103.xml" ContentType="application/vnd.openxmlformats-officedocument.themeOverride+xml"/>
  <Override PartName="/ppt/theme/themeOverride4104.xml" ContentType="application/vnd.openxmlformats-officedocument.themeOverride+xml"/>
  <Override PartName="/ppt/theme/themeOverride4105.xml" ContentType="application/vnd.openxmlformats-officedocument.themeOverride+xml"/>
  <Override PartName="/ppt/theme/themeOverride4106.xml" ContentType="application/vnd.openxmlformats-officedocument.themeOverride+xml"/>
  <Override PartName="/ppt/theme/themeOverride4107.xml" ContentType="application/vnd.openxmlformats-officedocument.themeOverride+xml"/>
  <Override PartName="/ppt/theme/themeOverride4108.xml" ContentType="application/vnd.openxmlformats-officedocument.themeOverride+xml"/>
  <Override PartName="/ppt/theme/themeOverride4109.xml" ContentType="application/vnd.openxmlformats-officedocument.themeOverride+xml"/>
  <Override PartName="/ppt/theme/themeOverride411.xml" ContentType="application/vnd.openxmlformats-officedocument.themeOverride+xml"/>
  <Override PartName="/ppt/theme/themeOverride4110.xml" ContentType="application/vnd.openxmlformats-officedocument.themeOverride+xml"/>
  <Override PartName="/ppt/theme/themeOverride4111.xml" ContentType="application/vnd.openxmlformats-officedocument.themeOverride+xml"/>
  <Override PartName="/ppt/theme/themeOverride4112.xml" ContentType="application/vnd.openxmlformats-officedocument.themeOverride+xml"/>
  <Override PartName="/ppt/theme/themeOverride4113.xml" ContentType="application/vnd.openxmlformats-officedocument.themeOverride+xml"/>
  <Override PartName="/ppt/theme/themeOverride4114.xml" ContentType="application/vnd.openxmlformats-officedocument.themeOverride+xml"/>
  <Override PartName="/ppt/theme/themeOverride4115.xml" ContentType="application/vnd.openxmlformats-officedocument.themeOverride+xml"/>
  <Override PartName="/ppt/theme/themeOverride4116.xml" ContentType="application/vnd.openxmlformats-officedocument.themeOverride+xml"/>
  <Override PartName="/ppt/theme/themeOverride4117.xml" ContentType="application/vnd.openxmlformats-officedocument.themeOverride+xml"/>
  <Override PartName="/ppt/theme/themeOverride4118.xml" ContentType="application/vnd.openxmlformats-officedocument.themeOverride+xml"/>
  <Override PartName="/ppt/theme/themeOverride4119.xml" ContentType="application/vnd.openxmlformats-officedocument.themeOverride+xml"/>
  <Override PartName="/ppt/theme/themeOverride412.xml" ContentType="application/vnd.openxmlformats-officedocument.themeOverride+xml"/>
  <Override PartName="/ppt/theme/themeOverride4120.xml" ContentType="application/vnd.openxmlformats-officedocument.themeOverride+xml"/>
  <Override PartName="/ppt/theme/themeOverride4121.xml" ContentType="application/vnd.openxmlformats-officedocument.themeOverride+xml"/>
  <Override PartName="/ppt/theme/themeOverride4122.xml" ContentType="application/vnd.openxmlformats-officedocument.themeOverride+xml"/>
  <Override PartName="/ppt/theme/themeOverride4123.xml" ContentType="application/vnd.openxmlformats-officedocument.themeOverride+xml"/>
  <Override PartName="/ppt/theme/themeOverride4124.xml" ContentType="application/vnd.openxmlformats-officedocument.themeOverride+xml"/>
  <Override PartName="/ppt/theme/themeOverride4125.xml" ContentType="application/vnd.openxmlformats-officedocument.themeOverride+xml"/>
  <Override PartName="/ppt/theme/themeOverride4126.xml" ContentType="application/vnd.openxmlformats-officedocument.themeOverride+xml"/>
  <Override PartName="/ppt/theme/themeOverride4127.xml" ContentType="application/vnd.openxmlformats-officedocument.themeOverride+xml"/>
  <Override PartName="/ppt/theme/themeOverride4128.xml" ContentType="application/vnd.openxmlformats-officedocument.themeOverride+xml"/>
  <Override PartName="/ppt/theme/themeOverride4129.xml" ContentType="application/vnd.openxmlformats-officedocument.themeOverride+xml"/>
  <Override PartName="/ppt/theme/themeOverride413.xml" ContentType="application/vnd.openxmlformats-officedocument.themeOverride+xml"/>
  <Override PartName="/ppt/theme/themeOverride4130.xml" ContentType="application/vnd.openxmlformats-officedocument.themeOverride+xml"/>
  <Override PartName="/ppt/theme/themeOverride4131.xml" ContentType="application/vnd.openxmlformats-officedocument.themeOverride+xml"/>
  <Override PartName="/ppt/theme/themeOverride4132.xml" ContentType="application/vnd.openxmlformats-officedocument.themeOverride+xml"/>
  <Override PartName="/ppt/theme/themeOverride4133.xml" ContentType="application/vnd.openxmlformats-officedocument.themeOverride+xml"/>
  <Override PartName="/ppt/theme/themeOverride4134.xml" ContentType="application/vnd.openxmlformats-officedocument.themeOverride+xml"/>
  <Override PartName="/ppt/theme/themeOverride4135.xml" ContentType="application/vnd.openxmlformats-officedocument.themeOverride+xml"/>
  <Override PartName="/ppt/theme/themeOverride4136.xml" ContentType="application/vnd.openxmlformats-officedocument.themeOverride+xml"/>
  <Override PartName="/ppt/theme/themeOverride4137.xml" ContentType="application/vnd.openxmlformats-officedocument.themeOverride+xml"/>
  <Override PartName="/ppt/theme/themeOverride4138.xml" ContentType="application/vnd.openxmlformats-officedocument.themeOverride+xml"/>
  <Override PartName="/ppt/theme/themeOverride4139.xml" ContentType="application/vnd.openxmlformats-officedocument.themeOverride+xml"/>
  <Override PartName="/ppt/theme/themeOverride414.xml" ContentType="application/vnd.openxmlformats-officedocument.themeOverride+xml"/>
  <Override PartName="/ppt/theme/themeOverride4140.xml" ContentType="application/vnd.openxmlformats-officedocument.themeOverride+xml"/>
  <Override PartName="/ppt/theme/themeOverride4141.xml" ContentType="application/vnd.openxmlformats-officedocument.themeOverride+xml"/>
  <Override PartName="/ppt/theme/themeOverride4142.xml" ContentType="application/vnd.openxmlformats-officedocument.themeOverride+xml"/>
  <Override PartName="/ppt/theme/themeOverride4143.xml" ContentType="application/vnd.openxmlformats-officedocument.themeOverride+xml"/>
  <Override PartName="/ppt/theme/themeOverride4144.xml" ContentType="application/vnd.openxmlformats-officedocument.themeOverride+xml"/>
  <Override PartName="/ppt/theme/themeOverride4145.xml" ContentType="application/vnd.openxmlformats-officedocument.themeOverride+xml"/>
  <Override PartName="/ppt/theme/themeOverride4146.xml" ContentType="application/vnd.openxmlformats-officedocument.themeOverride+xml"/>
  <Override PartName="/ppt/theme/themeOverride4147.xml" ContentType="application/vnd.openxmlformats-officedocument.themeOverride+xml"/>
  <Override PartName="/ppt/theme/themeOverride4148.xml" ContentType="application/vnd.openxmlformats-officedocument.themeOverride+xml"/>
  <Override PartName="/ppt/theme/themeOverride4149.xml" ContentType="application/vnd.openxmlformats-officedocument.themeOverride+xml"/>
  <Override PartName="/ppt/theme/themeOverride415.xml" ContentType="application/vnd.openxmlformats-officedocument.themeOverride+xml"/>
  <Override PartName="/ppt/theme/themeOverride4150.xml" ContentType="application/vnd.openxmlformats-officedocument.themeOverride+xml"/>
  <Override PartName="/ppt/theme/themeOverride4151.xml" ContentType="application/vnd.openxmlformats-officedocument.themeOverride+xml"/>
  <Override PartName="/ppt/theme/themeOverride4152.xml" ContentType="application/vnd.openxmlformats-officedocument.themeOverride+xml"/>
  <Override PartName="/ppt/theme/themeOverride4153.xml" ContentType="application/vnd.openxmlformats-officedocument.themeOverride+xml"/>
  <Override PartName="/ppt/theme/themeOverride4154.xml" ContentType="application/vnd.openxmlformats-officedocument.themeOverride+xml"/>
  <Override PartName="/ppt/theme/themeOverride4155.xml" ContentType="application/vnd.openxmlformats-officedocument.themeOverride+xml"/>
  <Override PartName="/ppt/theme/themeOverride4156.xml" ContentType="application/vnd.openxmlformats-officedocument.themeOverride+xml"/>
  <Override PartName="/ppt/theme/themeOverride4157.xml" ContentType="application/vnd.openxmlformats-officedocument.themeOverride+xml"/>
  <Override PartName="/ppt/theme/themeOverride4158.xml" ContentType="application/vnd.openxmlformats-officedocument.themeOverride+xml"/>
  <Override PartName="/ppt/theme/themeOverride4159.xml" ContentType="application/vnd.openxmlformats-officedocument.themeOverride+xml"/>
  <Override PartName="/ppt/theme/themeOverride416.xml" ContentType="application/vnd.openxmlformats-officedocument.themeOverride+xml"/>
  <Override PartName="/ppt/theme/themeOverride4160.xml" ContentType="application/vnd.openxmlformats-officedocument.themeOverride+xml"/>
  <Override PartName="/ppt/theme/themeOverride4161.xml" ContentType="application/vnd.openxmlformats-officedocument.themeOverride+xml"/>
  <Override PartName="/ppt/theme/themeOverride4162.xml" ContentType="application/vnd.openxmlformats-officedocument.themeOverride+xml"/>
  <Override PartName="/ppt/theme/themeOverride4163.xml" ContentType="application/vnd.openxmlformats-officedocument.themeOverride+xml"/>
  <Override PartName="/ppt/theme/themeOverride4164.xml" ContentType="application/vnd.openxmlformats-officedocument.themeOverride+xml"/>
  <Override PartName="/ppt/theme/themeOverride4165.xml" ContentType="application/vnd.openxmlformats-officedocument.themeOverride+xml"/>
  <Override PartName="/ppt/theme/themeOverride4166.xml" ContentType="application/vnd.openxmlformats-officedocument.themeOverride+xml"/>
  <Override PartName="/ppt/theme/themeOverride4167.xml" ContentType="application/vnd.openxmlformats-officedocument.themeOverride+xml"/>
  <Override PartName="/ppt/theme/themeOverride4168.xml" ContentType="application/vnd.openxmlformats-officedocument.themeOverride+xml"/>
  <Override PartName="/ppt/theme/themeOverride4169.xml" ContentType="application/vnd.openxmlformats-officedocument.themeOverride+xml"/>
  <Override PartName="/ppt/theme/themeOverride417.xml" ContentType="application/vnd.openxmlformats-officedocument.themeOverride+xml"/>
  <Override PartName="/ppt/theme/themeOverride4170.xml" ContentType="application/vnd.openxmlformats-officedocument.themeOverride+xml"/>
  <Override PartName="/ppt/theme/themeOverride4171.xml" ContentType="application/vnd.openxmlformats-officedocument.themeOverride+xml"/>
  <Override PartName="/ppt/theme/themeOverride4172.xml" ContentType="application/vnd.openxmlformats-officedocument.themeOverride+xml"/>
  <Override PartName="/ppt/theme/themeOverride4173.xml" ContentType="application/vnd.openxmlformats-officedocument.themeOverride+xml"/>
  <Override PartName="/ppt/theme/themeOverride4174.xml" ContentType="application/vnd.openxmlformats-officedocument.themeOverride+xml"/>
  <Override PartName="/ppt/theme/themeOverride4175.xml" ContentType="application/vnd.openxmlformats-officedocument.themeOverride+xml"/>
  <Override PartName="/ppt/theme/themeOverride4176.xml" ContentType="application/vnd.openxmlformats-officedocument.themeOverride+xml"/>
  <Override PartName="/ppt/theme/themeOverride4177.xml" ContentType="application/vnd.openxmlformats-officedocument.themeOverride+xml"/>
  <Override PartName="/ppt/theme/themeOverride4178.xml" ContentType="application/vnd.openxmlformats-officedocument.themeOverride+xml"/>
  <Override PartName="/ppt/theme/themeOverride4179.xml" ContentType="application/vnd.openxmlformats-officedocument.themeOverride+xml"/>
  <Override PartName="/ppt/theme/themeOverride418.xml" ContentType="application/vnd.openxmlformats-officedocument.themeOverride+xml"/>
  <Override PartName="/ppt/theme/themeOverride4180.xml" ContentType="application/vnd.openxmlformats-officedocument.themeOverride+xml"/>
  <Override PartName="/ppt/theme/themeOverride4181.xml" ContentType="application/vnd.openxmlformats-officedocument.themeOverride+xml"/>
  <Override PartName="/ppt/theme/themeOverride4182.xml" ContentType="application/vnd.openxmlformats-officedocument.themeOverride+xml"/>
  <Override PartName="/ppt/theme/themeOverride4183.xml" ContentType="application/vnd.openxmlformats-officedocument.themeOverride+xml"/>
  <Override PartName="/ppt/theme/themeOverride4184.xml" ContentType="application/vnd.openxmlformats-officedocument.themeOverride+xml"/>
  <Override PartName="/ppt/theme/themeOverride4185.xml" ContentType="application/vnd.openxmlformats-officedocument.themeOverride+xml"/>
  <Override PartName="/ppt/theme/themeOverride4186.xml" ContentType="application/vnd.openxmlformats-officedocument.themeOverride+xml"/>
  <Override PartName="/ppt/theme/themeOverride4187.xml" ContentType="application/vnd.openxmlformats-officedocument.themeOverride+xml"/>
  <Override PartName="/ppt/theme/themeOverride4188.xml" ContentType="application/vnd.openxmlformats-officedocument.themeOverride+xml"/>
  <Override PartName="/ppt/theme/themeOverride4189.xml" ContentType="application/vnd.openxmlformats-officedocument.themeOverride+xml"/>
  <Override PartName="/ppt/theme/themeOverride419.xml" ContentType="application/vnd.openxmlformats-officedocument.themeOverride+xml"/>
  <Override PartName="/ppt/theme/themeOverride4190.xml" ContentType="application/vnd.openxmlformats-officedocument.themeOverride+xml"/>
  <Override PartName="/ppt/theme/themeOverride4191.xml" ContentType="application/vnd.openxmlformats-officedocument.themeOverride+xml"/>
  <Override PartName="/ppt/theme/themeOverride4192.xml" ContentType="application/vnd.openxmlformats-officedocument.themeOverride+xml"/>
  <Override PartName="/ppt/theme/themeOverride4193.xml" ContentType="application/vnd.openxmlformats-officedocument.themeOverride+xml"/>
  <Override PartName="/ppt/theme/themeOverride4194.xml" ContentType="application/vnd.openxmlformats-officedocument.themeOverride+xml"/>
  <Override PartName="/ppt/theme/themeOverride4195.xml" ContentType="application/vnd.openxmlformats-officedocument.themeOverride+xml"/>
  <Override PartName="/ppt/theme/themeOverride4196.xml" ContentType="application/vnd.openxmlformats-officedocument.themeOverride+xml"/>
  <Override PartName="/ppt/theme/themeOverride4197.xml" ContentType="application/vnd.openxmlformats-officedocument.themeOverride+xml"/>
  <Override PartName="/ppt/theme/themeOverride4198.xml" ContentType="application/vnd.openxmlformats-officedocument.themeOverride+xml"/>
  <Override PartName="/ppt/theme/themeOverride4199.xml" ContentType="application/vnd.openxmlformats-officedocument.themeOverride+xml"/>
  <Override PartName="/ppt/theme/themeOverride42.xml" ContentType="application/vnd.openxmlformats-officedocument.themeOverride+xml"/>
  <Override PartName="/ppt/theme/themeOverride420.xml" ContentType="application/vnd.openxmlformats-officedocument.themeOverride+xml"/>
  <Override PartName="/ppt/theme/themeOverride4200.xml" ContentType="application/vnd.openxmlformats-officedocument.themeOverride+xml"/>
  <Override PartName="/ppt/theme/themeOverride4201.xml" ContentType="application/vnd.openxmlformats-officedocument.themeOverride+xml"/>
  <Override PartName="/ppt/theme/themeOverride4202.xml" ContentType="application/vnd.openxmlformats-officedocument.themeOverride+xml"/>
  <Override PartName="/ppt/theme/themeOverride4203.xml" ContentType="application/vnd.openxmlformats-officedocument.themeOverride+xml"/>
  <Override PartName="/ppt/theme/themeOverride4204.xml" ContentType="application/vnd.openxmlformats-officedocument.themeOverride+xml"/>
  <Override PartName="/ppt/theme/themeOverride4205.xml" ContentType="application/vnd.openxmlformats-officedocument.themeOverride+xml"/>
  <Override PartName="/ppt/theme/themeOverride4206.xml" ContentType="application/vnd.openxmlformats-officedocument.themeOverride+xml"/>
  <Override PartName="/ppt/theme/themeOverride4207.xml" ContentType="application/vnd.openxmlformats-officedocument.themeOverride+xml"/>
  <Override PartName="/ppt/theme/themeOverride4208.xml" ContentType="application/vnd.openxmlformats-officedocument.themeOverride+xml"/>
  <Override PartName="/ppt/theme/themeOverride4209.xml" ContentType="application/vnd.openxmlformats-officedocument.themeOverride+xml"/>
  <Override PartName="/ppt/theme/themeOverride421.xml" ContentType="application/vnd.openxmlformats-officedocument.themeOverride+xml"/>
  <Override PartName="/ppt/theme/themeOverride4210.xml" ContentType="application/vnd.openxmlformats-officedocument.themeOverride+xml"/>
  <Override PartName="/ppt/theme/themeOverride4211.xml" ContentType="application/vnd.openxmlformats-officedocument.themeOverride+xml"/>
  <Override PartName="/ppt/theme/themeOverride4212.xml" ContentType="application/vnd.openxmlformats-officedocument.themeOverride+xml"/>
  <Override PartName="/ppt/theme/themeOverride4213.xml" ContentType="application/vnd.openxmlformats-officedocument.themeOverride+xml"/>
  <Override PartName="/ppt/theme/themeOverride4214.xml" ContentType="application/vnd.openxmlformats-officedocument.themeOverride+xml"/>
  <Override PartName="/ppt/theme/themeOverride4215.xml" ContentType="application/vnd.openxmlformats-officedocument.themeOverride+xml"/>
  <Override PartName="/ppt/theme/themeOverride4216.xml" ContentType="application/vnd.openxmlformats-officedocument.themeOverride+xml"/>
  <Override PartName="/ppt/theme/themeOverride4217.xml" ContentType="application/vnd.openxmlformats-officedocument.themeOverride+xml"/>
  <Override PartName="/ppt/theme/themeOverride4218.xml" ContentType="application/vnd.openxmlformats-officedocument.themeOverride+xml"/>
  <Override PartName="/ppt/theme/themeOverride4219.xml" ContentType="application/vnd.openxmlformats-officedocument.themeOverride+xml"/>
  <Override PartName="/ppt/theme/themeOverride422.xml" ContentType="application/vnd.openxmlformats-officedocument.themeOverride+xml"/>
  <Override PartName="/ppt/theme/themeOverride4220.xml" ContentType="application/vnd.openxmlformats-officedocument.themeOverride+xml"/>
  <Override PartName="/ppt/theme/themeOverride4221.xml" ContentType="application/vnd.openxmlformats-officedocument.themeOverride+xml"/>
  <Override PartName="/ppt/theme/themeOverride4222.xml" ContentType="application/vnd.openxmlformats-officedocument.themeOverride+xml"/>
  <Override PartName="/ppt/theme/themeOverride4223.xml" ContentType="application/vnd.openxmlformats-officedocument.themeOverride+xml"/>
  <Override PartName="/ppt/theme/themeOverride4224.xml" ContentType="application/vnd.openxmlformats-officedocument.themeOverride+xml"/>
  <Override PartName="/ppt/theme/themeOverride4225.xml" ContentType="application/vnd.openxmlformats-officedocument.themeOverride+xml"/>
  <Override PartName="/ppt/theme/themeOverride4226.xml" ContentType="application/vnd.openxmlformats-officedocument.themeOverride+xml"/>
  <Override PartName="/ppt/theme/themeOverride423.xml" ContentType="application/vnd.openxmlformats-officedocument.themeOverride+xml"/>
  <Override PartName="/ppt/theme/themeOverride424.xml" ContentType="application/vnd.openxmlformats-officedocument.themeOverride+xml"/>
  <Override PartName="/ppt/theme/themeOverride425.xml" ContentType="application/vnd.openxmlformats-officedocument.themeOverride+xml"/>
  <Override PartName="/ppt/theme/themeOverride426.xml" ContentType="application/vnd.openxmlformats-officedocument.themeOverride+xml"/>
  <Override PartName="/ppt/theme/themeOverride427.xml" ContentType="application/vnd.openxmlformats-officedocument.themeOverride+xml"/>
  <Override PartName="/ppt/theme/themeOverride428.xml" ContentType="application/vnd.openxmlformats-officedocument.themeOverride+xml"/>
  <Override PartName="/ppt/theme/themeOverride429.xml" ContentType="application/vnd.openxmlformats-officedocument.themeOverride+xml"/>
  <Override PartName="/ppt/theme/themeOverride43.xml" ContentType="application/vnd.openxmlformats-officedocument.themeOverride+xml"/>
  <Override PartName="/ppt/theme/themeOverride430.xml" ContentType="application/vnd.openxmlformats-officedocument.themeOverride+xml"/>
  <Override PartName="/ppt/theme/themeOverride431.xml" ContentType="application/vnd.openxmlformats-officedocument.themeOverride+xml"/>
  <Override PartName="/ppt/theme/themeOverride432.xml" ContentType="application/vnd.openxmlformats-officedocument.themeOverride+xml"/>
  <Override PartName="/ppt/theme/themeOverride433.xml" ContentType="application/vnd.openxmlformats-officedocument.themeOverride+xml"/>
  <Override PartName="/ppt/theme/themeOverride434.xml" ContentType="application/vnd.openxmlformats-officedocument.themeOverride+xml"/>
  <Override PartName="/ppt/theme/themeOverride435.xml" ContentType="application/vnd.openxmlformats-officedocument.themeOverride+xml"/>
  <Override PartName="/ppt/theme/themeOverride436.xml" ContentType="application/vnd.openxmlformats-officedocument.themeOverride+xml"/>
  <Override PartName="/ppt/theme/themeOverride437.xml" ContentType="application/vnd.openxmlformats-officedocument.themeOverride+xml"/>
  <Override PartName="/ppt/theme/themeOverride438.xml" ContentType="application/vnd.openxmlformats-officedocument.themeOverride+xml"/>
  <Override PartName="/ppt/theme/themeOverride439.xml" ContentType="application/vnd.openxmlformats-officedocument.themeOverride+xml"/>
  <Override PartName="/ppt/theme/themeOverride44.xml" ContentType="application/vnd.openxmlformats-officedocument.themeOverride+xml"/>
  <Override PartName="/ppt/theme/themeOverride440.xml" ContentType="application/vnd.openxmlformats-officedocument.themeOverride+xml"/>
  <Override PartName="/ppt/theme/themeOverride441.xml" ContentType="application/vnd.openxmlformats-officedocument.themeOverride+xml"/>
  <Override PartName="/ppt/theme/themeOverride442.xml" ContentType="application/vnd.openxmlformats-officedocument.themeOverride+xml"/>
  <Override PartName="/ppt/theme/themeOverride443.xml" ContentType="application/vnd.openxmlformats-officedocument.themeOverride+xml"/>
  <Override PartName="/ppt/theme/themeOverride444.xml" ContentType="application/vnd.openxmlformats-officedocument.themeOverride+xml"/>
  <Override PartName="/ppt/theme/themeOverride445.xml" ContentType="application/vnd.openxmlformats-officedocument.themeOverride+xml"/>
  <Override PartName="/ppt/theme/themeOverride446.xml" ContentType="application/vnd.openxmlformats-officedocument.themeOverride+xml"/>
  <Override PartName="/ppt/theme/themeOverride447.xml" ContentType="application/vnd.openxmlformats-officedocument.themeOverride+xml"/>
  <Override PartName="/ppt/theme/themeOverride448.xml" ContentType="application/vnd.openxmlformats-officedocument.themeOverride+xml"/>
  <Override PartName="/ppt/theme/themeOverride449.xml" ContentType="application/vnd.openxmlformats-officedocument.themeOverride+xml"/>
  <Override PartName="/ppt/theme/themeOverride45.xml" ContentType="application/vnd.openxmlformats-officedocument.themeOverride+xml"/>
  <Override PartName="/ppt/theme/themeOverride450.xml" ContentType="application/vnd.openxmlformats-officedocument.themeOverride+xml"/>
  <Override PartName="/ppt/theme/themeOverride451.xml" ContentType="application/vnd.openxmlformats-officedocument.themeOverride+xml"/>
  <Override PartName="/ppt/theme/themeOverride452.xml" ContentType="application/vnd.openxmlformats-officedocument.themeOverride+xml"/>
  <Override PartName="/ppt/theme/themeOverride453.xml" ContentType="application/vnd.openxmlformats-officedocument.themeOverride+xml"/>
  <Override PartName="/ppt/theme/themeOverride454.xml" ContentType="application/vnd.openxmlformats-officedocument.themeOverride+xml"/>
  <Override PartName="/ppt/theme/themeOverride455.xml" ContentType="application/vnd.openxmlformats-officedocument.themeOverride+xml"/>
  <Override PartName="/ppt/theme/themeOverride456.xml" ContentType="application/vnd.openxmlformats-officedocument.themeOverride+xml"/>
  <Override PartName="/ppt/theme/themeOverride457.xml" ContentType="application/vnd.openxmlformats-officedocument.themeOverride+xml"/>
  <Override PartName="/ppt/theme/themeOverride458.xml" ContentType="application/vnd.openxmlformats-officedocument.themeOverride+xml"/>
  <Override PartName="/ppt/theme/themeOverride459.xml" ContentType="application/vnd.openxmlformats-officedocument.themeOverride+xml"/>
  <Override PartName="/ppt/theme/themeOverride46.xml" ContentType="application/vnd.openxmlformats-officedocument.themeOverride+xml"/>
  <Override PartName="/ppt/theme/themeOverride460.xml" ContentType="application/vnd.openxmlformats-officedocument.themeOverride+xml"/>
  <Override PartName="/ppt/theme/themeOverride461.xml" ContentType="application/vnd.openxmlformats-officedocument.themeOverride+xml"/>
  <Override PartName="/ppt/theme/themeOverride462.xml" ContentType="application/vnd.openxmlformats-officedocument.themeOverride+xml"/>
  <Override PartName="/ppt/theme/themeOverride463.xml" ContentType="application/vnd.openxmlformats-officedocument.themeOverride+xml"/>
  <Override PartName="/ppt/theme/themeOverride464.xml" ContentType="application/vnd.openxmlformats-officedocument.themeOverride+xml"/>
  <Override PartName="/ppt/theme/themeOverride465.xml" ContentType="application/vnd.openxmlformats-officedocument.themeOverride+xml"/>
  <Override PartName="/ppt/theme/themeOverride466.xml" ContentType="application/vnd.openxmlformats-officedocument.themeOverride+xml"/>
  <Override PartName="/ppt/theme/themeOverride467.xml" ContentType="application/vnd.openxmlformats-officedocument.themeOverride+xml"/>
  <Override PartName="/ppt/theme/themeOverride468.xml" ContentType="application/vnd.openxmlformats-officedocument.themeOverride+xml"/>
  <Override PartName="/ppt/theme/themeOverride469.xml" ContentType="application/vnd.openxmlformats-officedocument.themeOverride+xml"/>
  <Override PartName="/ppt/theme/themeOverride47.xml" ContentType="application/vnd.openxmlformats-officedocument.themeOverride+xml"/>
  <Override PartName="/ppt/theme/themeOverride470.xml" ContentType="application/vnd.openxmlformats-officedocument.themeOverride+xml"/>
  <Override PartName="/ppt/theme/themeOverride471.xml" ContentType="application/vnd.openxmlformats-officedocument.themeOverride+xml"/>
  <Override PartName="/ppt/theme/themeOverride472.xml" ContentType="application/vnd.openxmlformats-officedocument.themeOverride+xml"/>
  <Override PartName="/ppt/theme/themeOverride473.xml" ContentType="application/vnd.openxmlformats-officedocument.themeOverride+xml"/>
  <Override PartName="/ppt/theme/themeOverride474.xml" ContentType="application/vnd.openxmlformats-officedocument.themeOverride+xml"/>
  <Override PartName="/ppt/theme/themeOverride475.xml" ContentType="application/vnd.openxmlformats-officedocument.themeOverride+xml"/>
  <Override PartName="/ppt/theme/themeOverride476.xml" ContentType="application/vnd.openxmlformats-officedocument.themeOverride+xml"/>
  <Override PartName="/ppt/theme/themeOverride477.xml" ContentType="application/vnd.openxmlformats-officedocument.themeOverride+xml"/>
  <Override PartName="/ppt/theme/themeOverride478.xml" ContentType="application/vnd.openxmlformats-officedocument.themeOverride+xml"/>
  <Override PartName="/ppt/theme/themeOverride479.xml" ContentType="application/vnd.openxmlformats-officedocument.themeOverride+xml"/>
  <Override PartName="/ppt/theme/themeOverride48.xml" ContentType="application/vnd.openxmlformats-officedocument.themeOverride+xml"/>
  <Override PartName="/ppt/theme/themeOverride480.xml" ContentType="application/vnd.openxmlformats-officedocument.themeOverride+xml"/>
  <Override PartName="/ppt/theme/themeOverride481.xml" ContentType="application/vnd.openxmlformats-officedocument.themeOverride+xml"/>
  <Override PartName="/ppt/theme/themeOverride482.xml" ContentType="application/vnd.openxmlformats-officedocument.themeOverride+xml"/>
  <Override PartName="/ppt/theme/themeOverride483.xml" ContentType="application/vnd.openxmlformats-officedocument.themeOverride+xml"/>
  <Override PartName="/ppt/theme/themeOverride484.xml" ContentType="application/vnd.openxmlformats-officedocument.themeOverride+xml"/>
  <Override PartName="/ppt/theme/themeOverride485.xml" ContentType="application/vnd.openxmlformats-officedocument.themeOverride+xml"/>
  <Override PartName="/ppt/theme/themeOverride486.xml" ContentType="application/vnd.openxmlformats-officedocument.themeOverride+xml"/>
  <Override PartName="/ppt/theme/themeOverride487.xml" ContentType="application/vnd.openxmlformats-officedocument.themeOverride+xml"/>
  <Override PartName="/ppt/theme/themeOverride488.xml" ContentType="application/vnd.openxmlformats-officedocument.themeOverride+xml"/>
  <Override PartName="/ppt/theme/themeOverride489.xml" ContentType="application/vnd.openxmlformats-officedocument.themeOverride+xml"/>
  <Override PartName="/ppt/theme/themeOverride49.xml" ContentType="application/vnd.openxmlformats-officedocument.themeOverride+xml"/>
  <Override PartName="/ppt/theme/themeOverride490.xml" ContentType="application/vnd.openxmlformats-officedocument.themeOverride+xml"/>
  <Override PartName="/ppt/theme/themeOverride491.xml" ContentType="application/vnd.openxmlformats-officedocument.themeOverride+xml"/>
  <Override PartName="/ppt/theme/themeOverride492.xml" ContentType="application/vnd.openxmlformats-officedocument.themeOverride+xml"/>
  <Override PartName="/ppt/theme/themeOverride493.xml" ContentType="application/vnd.openxmlformats-officedocument.themeOverride+xml"/>
  <Override PartName="/ppt/theme/themeOverride494.xml" ContentType="application/vnd.openxmlformats-officedocument.themeOverride+xml"/>
  <Override PartName="/ppt/theme/themeOverride495.xml" ContentType="application/vnd.openxmlformats-officedocument.themeOverride+xml"/>
  <Override PartName="/ppt/theme/themeOverride496.xml" ContentType="application/vnd.openxmlformats-officedocument.themeOverride+xml"/>
  <Override PartName="/ppt/theme/themeOverride497.xml" ContentType="application/vnd.openxmlformats-officedocument.themeOverride+xml"/>
  <Override PartName="/ppt/theme/themeOverride498.xml" ContentType="application/vnd.openxmlformats-officedocument.themeOverride+xml"/>
  <Override PartName="/ppt/theme/themeOverride49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00.xml" ContentType="application/vnd.openxmlformats-officedocument.themeOverride+xml"/>
  <Override PartName="/ppt/theme/themeOverride501.xml" ContentType="application/vnd.openxmlformats-officedocument.themeOverride+xml"/>
  <Override PartName="/ppt/theme/themeOverride502.xml" ContentType="application/vnd.openxmlformats-officedocument.themeOverride+xml"/>
  <Override PartName="/ppt/theme/themeOverride503.xml" ContentType="application/vnd.openxmlformats-officedocument.themeOverride+xml"/>
  <Override PartName="/ppt/theme/themeOverride504.xml" ContentType="application/vnd.openxmlformats-officedocument.themeOverride+xml"/>
  <Override PartName="/ppt/theme/themeOverride505.xml" ContentType="application/vnd.openxmlformats-officedocument.themeOverride+xml"/>
  <Override PartName="/ppt/theme/themeOverride506.xml" ContentType="application/vnd.openxmlformats-officedocument.themeOverride+xml"/>
  <Override PartName="/ppt/theme/themeOverride507.xml" ContentType="application/vnd.openxmlformats-officedocument.themeOverride+xml"/>
  <Override PartName="/ppt/theme/themeOverride508.xml" ContentType="application/vnd.openxmlformats-officedocument.themeOverride+xml"/>
  <Override PartName="/ppt/theme/themeOverride509.xml" ContentType="application/vnd.openxmlformats-officedocument.themeOverride+xml"/>
  <Override PartName="/ppt/theme/themeOverride51.xml" ContentType="application/vnd.openxmlformats-officedocument.themeOverride+xml"/>
  <Override PartName="/ppt/theme/themeOverride510.xml" ContentType="application/vnd.openxmlformats-officedocument.themeOverride+xml"/>
  <Override PartName="/ppt/theme/themeOverride511.xml" ContentType="application/vnd.openxmlformats-officedocument.themeOverride+xml"/>
  <Override PartName="/ppt/theme/themeOverride512.xml" ContentType="application/vnd.openxmlformats-officedocument.themeOverride+xml"/>
  <Override PartName="/ppt/theme/themeOverride513.xml" ContentType="application/vnd.openxmlformats-officedocument.themeOverride+xml"/>
  <Override PartName="/ppt/theme/themeOverride514.xml" ContentType="application/vnd.openxmlformats-officedocument.themeOverride+xml"/>
  <Override PartName="/ppt/theme/themeOverride515.xml" ContentType="application/vnd.openxmlformats-officedocument.themeOverride+xml"/>
  <Override PartName="/ppt/theme/themeOverride516.xml" ContentType="application/vnd.openxmlformats-officedocument.themeOverride+xml"/>
  <Override PartName="/ppt/theme/themeOverride517.xml" ContentType="application/vnd.openxmlformats-officedocument.themeOverride+xml"/>
  <Override PartName="/ppt/theme/themeOverride518.xml" ContentType="application/vnd.openxmlformats-officedocument.themeOverride+xml"/>
  <Override PartName="/ppt/theme/themeOverride519.xml" ContentType="application/vnd.openxmlformats-officedocument.themeOverride+xml"/>
  <Override PartName="/ppt/theme/themeOverride52.xml" ContentType="application/vnd.openxmlformats-officedocument.themeOverride+xml"/>
  <Override PartName="/ppt/theme/themeOverride520.xml" ContentType="application/vnd.openxmlformats-officedocument.themeOverride+xml"/>
  <Override PartName="/ppt/theme/themeOverride521.xml" ContentType="application/vnd.openxmlformats-officedocument.themeOverride+xml"/>
  <Override PartName="/ppt/theme/themeOverride522.xml" ContentType="application/vnd.openxmlformats-officedocument.themeOverride+xml"/>
  <Override PartName="/ppt/theme/themeOverride523.xml" ContentType="application/vnd.openxmlformats-officedocument.themeOverride+xml"/>
  <Override PartName="/ppt/theme/themeOverride524.xml" ContentType="application/vnd.openxmlformats-officedocument.themeOverride+xml"/>
  <Override PartName="/ppt/theme/themeOverride525.xml" ContentType="application/vnd.openxmlformats-officedocument.themeOverride+xml"/>
  <Override PartName="/ppt/theme/themeOverride526.xml" ContentType="application/vnd.openxmlformats-officedocument.themeOverride+xml"/>
  <Override PartName="/ppt/theme/themeOverride527.xml" ContentType="application/vnd.openxmlformats-officedocument.themeOverride+xml"/>
  <Override PartName="/ppt/theme/themeOverride528.xml" ContentType="application/vnd.openxmlformats-officedocument.themeOverride+xml"/>
  <Override PartName="/ppt/theme/themeOverride529.xml" ContentType="application/vnd.openxmlformats-officedocument.themeOverride+xml"/>
  <Override PartName="/ppt/theme/themeOverride53.xml" ContentType="application/vnd.openxmlformats-officedocument.themeOverride+xml"/>
  <Override PartName="/ppt/theme/themeOverride530.xml" ContentType="application/vnd.openxmlformats-officedocument.themeOverride+xml"/>
  <Override PartName="/ppt/theme/themeOverride531.xml" ContentType="application/vnd.openxmlformats-officedocument.themeOverride+xml"/>
  <Override PartName="/ppt/theme/themeOverride532.xml" ContentType="application/vnd.openxmlformats-officedocument.themeOverride+xml"/>
  <Override PartName="/ppt/theme/themeOverride533.xml" ContentType="application/vnd.openxmlformats-officedocument.themeOverride+xml"/>
  <Override PartName="/ppt/theme/themeOverride534.xml" ContentType="application/vnd.openxmlformats-officedocument.themeOverride+xml"/>
  <Override PartName="/ppt/theme/themeOverride535.xml" ContentType="application/vnd.openxmlformats-officedocument.themeOverride+xml"/>
  <Override PartName="/ppt/theme/themeOverride536.xml" ContentType="application/vnd.openxmlformats-officedocument.themeOverride+xml"/>
  <Override PartName="/ppt/theme/themeOverride537.xml" ContentType="application/vnd.openxmlformats-officedocument.themeOverride+xml"/>
  <Override PartName="/ppt/theme/themeOverride538.xml" ContentType="application/vnd.openxmlformats-officedocument.themeOverride+xml"/>
  <Override PartName="/ppt/theme/themeOverride539.xml" ContentType="application/vnd.openxmlformats-officedocument.themeOverride+xml"/>
  <Override PartName="/ppt/theme/themeOverride54.xml" ContentType="application/vnd.openxmlformats-officedocument.themeOverride+xml"/>
  <Override PartName="/ppt/theme/themeOverride540.xml" ContentType="application/vnd.openxmlformats-officedocument.themeOverride+xml"/>
  <Override PartName="/ppt/theme/themeOverride541.xml" ContentType="application/vnd.openxmlformats-officedocument.themeOverride+xml"/>
  <Override PartName="/ppt/theme/themeOverride542.xml" ContentType="application/vnd.openxmlformats-officedocument.themeOverride+xml"/>
  <Override PartName="/ppt/theme/themeOverride543.xml" ContentType="application/vnd.openxmlformats-officedocument.themeOverride+xml"/>
  <Override PartName="/ppt/theme/themeOverride544.xml" ContentType="application/vnd.openxmlformats-officedocument.themeOverride+xml"/>
  <Override PartName="/ppt/theme/themeOverride545.xml" ContentType="application/vnd.openxmlformats-officedocument.themeOverride+xml"/>
  <Override PartName="/ppt/theme/themeOverride546.xml" ContentType="application/vnd.openxmlformats-officedocument.themeOverride+xml"/>
  <Override PartName="/ppt/theme/themeOverride547.xml" ContentType="application/vnd.openxmlformats-officedocument.themeOverride+xml"/>
  <Override PartName="/ppt/theme/themeOverride548.xml" ContentType="application/vnd.openxmlformats-officedocument.themeOverride+xml"/>
  <Override PartName="/ppt/theme/themeOverride549.xml" ContentType="application/vnd.openxmlformats-officedocument.themeOverride+xml"/>
  <Override PartName="/ppt/theme/themeOverride55.xml" ContentType="application/vnd.openxmlformats-officedocument.themeOverride+xml"/>
  <Override PartName="/ppt/theme/themeOverride550.xml" ContentType="application/vnd.openxmlformats-officedocument.themeOverride+xml"/>
  <Override PartName="/ppt/theme/themeOverride551.xml" ContentType="application/vnd.openxmlformats-officedocument.themeOverride+xml"/>
  <Override PartName="/ppt/theme/themeOverride552.xml" ContentType="application/vnd.openxmlformats-officedocument.themeOverride+xml"/>
  <Override PartName="/ppt/theme/themeOverride553.xml" ContentType="application/vnd.openxmlformats-officedocument.themeOverride+xml"/>
  <Override PartName="/ppt/theme/themeOverride554.xml" ContentType="application/vnd.openxmlformats-officedocument.themeOverride+xml"/>
  <Override PartName="/ppt/theme/themeOverride555.xml" ContentType="application/vnd.openxmlformats-officedocument.themeOverride+xml"/>
  <Override PartName="/ppt/theme/themeOverride556.xml" ContentType="application/vnd.openxmlformats-officedocument.themeOverride+xml"/>
  <Override PartName="/ppt/theme/themeOverride557.xml" ContentType="application/vnd.openxmlformats-officedocument.themeOverride+xml"/>
  <Override PartName="/ppt/theme/themeOverride558.xml" ContentType="application/vnd.openxmlformats-officedocument.themeOverride+xml"/>
  <Override PartName="/ppt/theme/themeOverride559.xml" ContentType="application/vnd.openxmlformats-officedocument.themeOverride+xml"/>
  <Override PartName="/ppt/theme/themeOverride56.xml" ContentType="application/vnd.openxmlformats-officedocument.themeOverride+xml"/>
  <Override PartName="/ppt/theme/themeOverride560.xml" ContentType="application/vnd.openxmlformats-officedocument.themeOverride+xml"/>
  <Override PartName="/ppt/theme/themeOverride561.xml" ContentType="application/vnd.openxmlformats-officedocument.themeOverride+xml"/>
  <Override PartName="/ppt/theme/themeOverride562.xml" ContentType="application/vnd.openxmlformats-officedocument.themeOverride+xml"/>
  <Override PartName="/ppt/theme/themeOverride563.xml" ContentType="application/vnd.openxmlformats-officedocument.themeOverride+xml"/>
  <Override PartName="/ppt/theme/themeOverride564.xml" ContentType="application/vnd.openxmlformats-officedocument.themeOverride+xml"/>
  <Override PartName="/ppt/theme/themeOverride565.xml" ContentType="application/vnd.openxmlformats-officedocument.themeOverride+xml"/>
  <Override PartName="/ppt/theme/themeOverride566.xml" ContentType="application/vnd.openxmlformats-officedocument.themeOverride+xml"/>
  <Override PartName="/ppt/theme/themeOverride567.xml" ContentType="application/vnd.openxmlformats-officedocument.themeOverride+xml"/>
  <Override PartName="/ppt/theme/themeOverride568.xml" ContentType="application/vnd.openxmlformats-officedocument.themeOverride+xml"/>
  <Override PartName="/ppt/theme/themeOverride569.xml" ContentType="application/vnd.openxmlformats-officedocument.themeOverride+xml"/>
  <Override PartName="/ppt/theme/themeOverride57.xml" ContentType="application/vnd.openxmlformats-officedocument.themeOverride+xml"/>
  <Override PartName="/ppt/theme/themeOverride570.xml" ContentType="application/vnd.openxmlformats-officedocument.themeOverride+xml"/>
  <Override PartName="/ppt/theme/themeOverride571.xml" ContentType="application/vnd.openxmlformats-officedocument.themeOverride+xml"/>
  <Override PartName="/ppt/theme/themeOverride572.xml" ContentType="application/vnd.openxmlformats-officedocument.themeOverride+xml"/>
  <Override PartName="/ppt/theme/themeOverride573.xml" ContentType="application/vnd.openxmlformats-officedocument.themeOverride+xml"/>
  <Override PartName="/ppt/theme/themeOverride574.xml" ContentType="application/vnd.openxmlformats-officedocument.themeOverride+xml"/>
  <Override PartName="/ppt/theme/themeOverride575.xml" ContentType="application/vnd.openxmlformats-officedocument.themeOverride+xml"/>
  <Override PartName="/ppt/theme/themeOverride576.xml" ContentType="application/vnd.openxmlformats-officedocument.themeOverride+xml"/>
  <Override PartName="/ppt/theme/themeOverride577.xml" ContentType="application/vnd.openxmlformats-officedocument.themeOverride+xml"/>
  <Override PartName="/ppt/theme/themeOverride578.xml" ContentType="application/vnd.openxmlformats-officedocument.themeOverride+xml"/>
  <Override PartName="/ppt/theme/themeOverride579.xml" ContentType="application/vnd.openxmlformats-officedocument.themeOverride+xml"/>
  <Override PartName="/ppt/theme/themeOverride58.xml" ContentType="application/vnd.openxmlformats-officedocument.themeOverride+xml"/>
  <Override PartName="/ppt/theme/themeOverride580.xml" ContentType="application/vnd.openxmlformats-officedocument.themeOverride+xml"/>
  <Override PartName="/ppt/theme/themeOverride581.xml" ContentType="application/vnd.openxmlformats-officedocument.themeOverride+xml"/>
  <Override PartName="/ppt/theme/themeOverride582.xml" ContentType="application/vnd.openxmlformats-officedocument.themeOverride+xml"/>
  <Override PartName="/ppt/theme/themeOverride583.xml" ContentType="application/vnd.openxmlformats-officedocument.themeOverride+xml"/>
  <Override PartName="/ppt/theme/themeOverride584.xml" ContentType="application/vnd.openxmlformats-officedocument.themeOverride+xml"/>
  <Override PartName="/ppt/theme/themeOverride585.xml" ContentType="application/vnd.openxmlformats-officedocument.themeOverride+xml"/>
  <Override PartName="/ppt/theme/themeOverride586.xml" ContentType="application/vnd.openxmlformats-officedocument.themeOverride+xml"/>
  <Override PartName="/ppt/theme/themeOverride587.xml" ContentType="application/vnd.openxmlformats-officedocument.themeOverride+xml"/>
  <Override PartName="/ppt/theme/themeOverride588.xml" ContentType="application/vnd.openxmlformats-officedocument.themeOverride+xml"/>
  <Override PartName="/ppt/theme/themeOverride589.xml" ContentType="application/vnd.openxmlformats-officedocument.themeOverride+xml"/>
  <Override PartName="/ppt/theme/themeOverride59.xml" ContentType="application/vnd.openxmlformats-officedocument.themeOverride+xml"/>
  <Override PartName="/ppt/theme/themeOverride590.xml" ContentType="application/vnd.openxmlformats-officedocument.themeOverride+xml"/>
  <Override PartName="/ppt/theme/themeOverride591.xml" ContentType="application/vnd.openxmlformats-officedocument.themeOverride+xml"/>
  <Override PartName="/ppt/theme/themeOverride592.xml" ContentType="application/vnd.openxmlformats-officedocument.themeOverride+xml"/>
  <Override PartName="/ppt/theme/themeOverride593.xml" ContentType="application/vnd.openxmlformats-officedocument.themeOverride+xml"/>
  <Override PartName="/ppt/theme/themeOverride594.xml" ContentType="application/vnd.openxmlformats-officedocument.themeOverride+xml"/>
  <Override PartName="/ppt/theme/themeOverride595.xml" ContentType="application/vnd.openxmlformats-officedocument.themeOverride+xml"/>
  <Override PartName="/ppt/theme/themeOverride596.xml" ContentType="application/vnd.openxmlformats-officedocument.themeOverride+xml"/>
  <Override PartName="/ppt/theme/themeOverride597.xml" ContentType="application/vnd.openxmlformats-officedocument.themeOverride+xml"/>
  <Override PartName="/ppt/theme/themeOverride598.xml" ContentType="application/vnd.openxmlformats-officedocument.themeOverride+xml"/>
  <Override PartName="/ppt/theme/themeOverride59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00.xml" ContentType="application/vnd.openxmlformats-officedocument.themeOverride+xml"/>
  <Override PartName="/ppt/theme/themeOverride601.xml" ContentType="application/vnd.openxmlformats-officedocument.themeOverride+xml"/>
  <Override PartName="/ppt/theme/themeOverride602.xml" ContentType="application/vnd.openxmlformats-officedocument.themeOverride+xml"/>
  <Override PartName="/ppt/theme/themeOverride603.xml" ContentType="application/vnd.openxmlformats-officedocument.themeOverride+xml"/>
  <Override PartName="/ppt/theme/themeOverride604.xml" ContentType="application/vnd.openxmlformats-officedocument.themeOverride+xml"/>
  <Override PartName="/ppt/theme/themeOverride605.xml" ContentType="application/vnd.openxmlformats-officedocument.themeOverride+xml"/>
  <Override PartName="/ppt/theme/themeOverride606.xml" ContentType="application/vnd.openxmlformats-officedocument.themeOverride+xml"/>
  <Override PartName="/ppt/theme/themeOverride607.xml" ContentType="application/vnd.openxmlformats-officedocument.themeOverride+xml"/>
  <Override PartName="/ppt/theme/themeOverride608.xml" ContentType="application/vnd.openxmlformats-officedocument.themeOverride+xml"/>
  <Override PartName="/ppt/theme/themeOverride609.xml" ContentType="application/vnd.openxmlformats-officedocument.themeOverride+xml"/>
  <Override PartName="/ppt/theme/themeOverride61.xml" ContentType="application/vnd.openxmlformats-officedocument.themeOverride+xml"/>
  <Override PartName="/ppt/theme/themeOverride610.xml" ContentType="application/vnd.openxmlformats-officedocument.themeOverride+xml"/>
  <Override PartName="/ppt/theme/themeOverride611.xml" ContentType="application/vnd.openxmlformats-officedocument.themeOverride+xml"/>
  <Override PartName="/ppt/theme/themeOverride612.xml" ContentType="application/vnd.openxmlformats-officedocument.themeOverride+xml"/>
  <Override PartName="/ppt/theme/themeOverride613.xml" ContentType="application/vnd.openxmlformats-officedocument.themeOverride+xml"/>
  <Override PartName="/ppt/theme/themeOverride614.xml" ContentType="application/vnd.openxmlformats-officedocument.themeOverride+xml"/>
  <Override PartName="/ppt/theme/themeOverride615.xml" ContentType="application/vnd.openxmlformats-officedocument.themeOverride+xml"/>
  <Override PartName="/ppt/theme/themeOverride616.xml" ContentType="application/vnd.openxmlformats-officedocument.themeOverride+xml"/>
  <Override PartName="/ppt/theme/themeOverride617.xml" ContentType="application/vnd.openxmlformats-officedocument.themeOverride+xml"/>
  <Override PartName="/ppt/theme/themeOverride618.xml" ContentType="application/vnd.openxmlformats-officedocument.themeOverride+xml"/>
  <Override PartName="/ppt/theme/themeOverride619.xml" ContentType="application/vnd.openxmlformats-officedocument.themeOverride+xml"/>
  <Override PartName="/ppt/theme/themeOverride62.xml" ContentType="application/vnd.openxmlformats-officedocument.themeOverride+xml"/>
  <Override PartName="/ppt/theme/themeOverride620.xml" ContentType="application/vnd.openxmlformats-officedocument.themeOverride+xml"/>
  <Override PartName="/ppt/theme/themeOverride621.xml" ContentType="application/vnd.openxmlformats-officedocument.themeOverride+xml"/>
  <Override PartName="/ppt/theme/themeOverride622.xml" ContentType="application/vnd.openxmlformats-officedocument.themeOverride+xml"/>
  <Override PartName="/ppt/theme/themeOverride623.xml" ContentType="application/vnd.openxmlformats-officedocument.themeOverride+xml"/>
  <Override PartName="/ppt/theme/themeOverride624.xml" ContentType="application/vnd.openxmlformats-officedocument.themeOverride+xml"/>
  <Override PartName="/ppt/theme/themeOverride625.xml" ContentType="application/vnd.openxmlformats-officedocument.themeOverride+xml"/>
  <Override PartName="/ppt/theme/themeOverride626.xml" ContentType="application/vnd.openxmlformats-officedocument.themeOverride+xml"/>
  <Override PartName="/ppt/theme/themeOverride627.xml" ContentType="application/vnd.openxmlformats-officedocument.themeOverride+xml"/>
  <Override PartName="/ppt/theme/themeOverride628.xml" ContentType="application/vnd.openxmlformats-officedocument.themeOverride+xml"/>
  <Override PartName="/ppt/theme/themeOverride629.xml" ContentType="application/vnd.openxmlformats-officedocument.themeOverride+xml"/>
  <Override PartName="/ppt/theme/themeOverride63.xml" ContentType="application/vnd.openxmlformats-officedocument.themeOverride+xml"/>
  <Override PartName="/ppt/theme/themeOverride630.xml" ContentType="application/vnd.openxmlformats-officedocument.themeOverride+xml"/>
  <Override PartName="/ppt/theme/themeOverride631.xml" ContentType="application/vnd.openxmlformats-officedocument.themeOverride+xml"/>
  <Override PartName="/ppt/theme/themeOverride632.xml" ContentType="application/vnd.openxmlformats-officedocument.themeOverride+xml"/>
  <Override PartName="/ppt/theme/themeOverride633.xml" ContentType="application/vnd.openxmlformats-officedocument.themeOverride+xml"/>
  <Override PartName="/ppt/theme/themeOverride634.xml" ContentType="application/vnd.openxmlformats-officedocument.themeOverride+xml"/>
  <Override PartName="/ppt/theme/themeOverride635.xml" ContentType="application/vnd.openxmlformats-officedocument.themeOverride+xml"/>
  <Override PartName="/ppt/theme/themeOverride636.xml" ContentType="application/vnd.openxmlformats-officedocument.themeOverride+xml"/>
  <Override PartName="/ppt/theme/themeOverride637.xml" ContentType="application/vnd.openxmlformats-officedocument.themeOverride+xml"/>
  <Override PartName="/ppt/theme/themeOverride638.xml" ContentType="application/vnd.openxmlformats-officedocument.themeOverride+xml"/>
  <Override PartName="/ppt/theme/themeOverride639.xml" ContentType="application/vnd.openxmlformats-officedocument.themeOverride+xml"/>
  <Override PartName="/ppt/theme/themeOverride64.xml" ContentType="application/vnd.openxmlformats-officedocument.themeOverride+xml"/>
  <Override PartName="/ppt/theme/themeOverride640.xml" ContentType="application/vnd.openxmlformats-officedocument.themeOverride+xml"/>
  <Override PartName="/ppt/theme/themeOverride641.xml" ContentType="application/vnd.openxmlformats-officedocument.themeOverride+xml"/>
  <Override PartName="/ppt/theme/themeOverride642.xml" ContentType="application/vnd.openxmlformats-officedocument.themeOverride+xml"/>
  <Override PartName="/ppt/theme/themeOverride643.xml" ContentType="application/vnd.openxmlformats-officedocument.themeOverride+xml"/>
  <Override PartName="/ppt/theme/themeOverride644.xml" ContentType="application/vnd.openxmlformats-officedocument.themeOverride+xml"/>
  <Override PartName="/ppt/theme/themeOverride645.xml" ContentType="application/vnd.openxmlformats-officedocument.themeOverride+xml"/>
  <Override PartName="/ppt/theme/themeOverride646.xml" ContentType="application/vnd.openxmlformats-officedocument.themeOverride+xml"/>
  <Override PartName="/ppt/theme/themeOverride647.xml" ContentType="application/vnd.openxmlformats-officedocument.themeOverride+xml"/>
  <Override PartName="/ppt/theme/themeOverride648.xml" ContentType="application/vnd.openxmlformats-officedocument.themeOverride+xml"/>
  <Override PartName="/ppt/theme/themeOverride649.xml" ContentType="application/vnd.openxmlformats-officedocument.themeOverride+xml"/>
  <Override PartName="/ppt/theme/themeOverride65.xml" ContentType="application/vnd.openxmlformats-officedocument.themeOverride+xml"/>
  <Override PartName="/ppt/theme/themeOverride650.xml" ContentType="application/vnd.openxmlformats-officedocument.themeOverride+xml"/>
  <Override PartName="/ppt/theme/themeOverride651.xml" ContentType="application/vnd.openxmlformats-officedocument.themeOverride+xml"/>
  <Override PartName="/ppt/theme/themeOverride652.xml" ContentType="application/vnd.openxmlformats-officedocument.themeOverride+xml"/>
  <Override PartName="/ppt/theme/themeOverride653.xml" ContentType="application/vnd.openxmlformats-officedocument.themeOverride+xml"/>
  <Override PartName="/ppt/theme/themeOverride654.xml" ContentType="application/vnd.openxmlformats-officedocument.themeOverride+xml"/>
  <Override PartName="/ppt/theme/themeOverride655.xml" ContentType="application/vnd.openxmlformats-officedocument.themeOverride+xml"/>
  <Override PartName="/ppt/theme/themeOverride656.xml" ContentType="application/vnd.openxmlformats-officedocument.themeOverride+xml"/>
  <Override PartName="/ppt/theme/themeOverride657.xml" ContentType="application/vnd.openxmlformats-officedocument.themeOverride+xml"/>
  <Override PartName="/ppt/theme/themeOverride658.xml" ContentType="application/vnd.openxmlformats-officedocument.themeOverride+xml"/>
  <Override PartName="/ppt/theme/themeOverride659.xml" ContentType="application/vnd.openxmlformats-officedocument.themeOverride+xml"/>
  <Override PartName="/ppt/theme/themeOverride66.xml" ContentType="application/vnd.openxmlformats-officedocument.themeOverride+xml"/>
  <Override PartName="/ppt/theme/themeOverride660.xml" ContentType="application/vnd.openxmlformats-officedocument.themeOverride+xml"/>
  <Override PartName="/ppt/theme/themeOverride661.xml" ContentType="application/vnd.openxmlformats-officedocument.themeOverride+xml"/>
  <Override PartName="/ppt/theme/themeOverride662.xml" ContentType="application/vnd.openxmlformats-officedocument.themeOverride+xml"/>
  <Override PartName="/ppt/theme/themeOverride663.xml" ContentType="application/vnd.openxmlformats-officedocument.themeOverride+xml"/>
  <Override PartName="/ppt/theme/themeOverride664.xml" ContentType="application/vnd.openxmlformats-officedocument.themeOverride+xml"/>
  <Override PartName="/ppt/theme/themeOverride665.xml" ContentType="application/vnd.openxmlformats-officedocument.themeOverride+xml"/>
  <Override PartName="/ppt/theme/themeOverride666.xml" ContentType="application/vnd.openxmlformats-officedocument.themeOverride+xml"/>
  <Override PartName="/ppt/theme/themeOverride667.xml" ContentType="application/vnd.openxmlformats-officedocument.themeOverride+xml"/>
  <Override PartName="/ppt/theme/themeOverride668.xml" ContentType="application/vnd.openxmlformats-officedocument.themeOverride+xml"/>
  <Override PartName="/ppt/theme/themeOverride669.xml" ContentType="application/vnd.openxmlformats-officedocument.themeOverride+xml"/>
  <Override PartName="/ppt/theme/themeOverride67.xml" ContentType="application/vnd.openxmlformats-officedocument.themeOverride+xml"/>
  <Override PartName="/ppt/theme/themeOverride670.xml" ContentType="application/vnd.openxmlformats-officedocument.themeOverride+xml"/>
  <Override PartName="/ppt/theme/themeOverride671.xml" ContentType="application/vnd.openxmlformats-officedocument.themeOverride+xml"/>
  <Override PartName="/ppt/theme/themeOverride672.xml" ContentType="application/vnd.openxmlformats-officedocument.themeOverride+xml"/>
  <Override PartName="/ppt/theme/themeOverride673.xml" ContentType="application/vnd.openxmlformats-officedocument.themeOverride+xml"/>
  <Override PartName="/ppt/theme/themeOverride674.xml" ContentType="application/vnd.openxmlformats-officedocument.themeOverride+xml"/>
  <Override PartName="/ppt/theme/themeOverride675.xml" ContentType="application/vnd.openxmlformats-officedocument.themeOverride+xml"/>
  <Override PartName="/ppt/theme/themeOverride676.xml" ContentType="application/vnd.openxmlformats-officedocument.themeOverride+xml"/>
  <Override PartName="/ppt/theme/themeOverride677.xml" ContentType="application/vnd.openxmlformats-officedocument.themeOverride+xml"/>
  <Override PartName="/ppt/theme/themeOverride678.xml" ContentType="application/vnd.openxmlformats-officedocument.themeOverride+xml"/>
  <Override PartName="/ppt/theme/themeOverride679.xml" ContentType="application/vnd.openxmlformats-officedocument.themeOverride+xml"/>
  <Override PartName="/ppt/theme/themeOverride68.xml" ContentType="application/vnd.openxmlformats-officedocument.themeOverride+xml"/>
  <Override PartName="/ppt/theme/themeOverride680.xml" ContentType="application/vnd.openxmlformats-officedocument.themeOverride+xml"/>
  <Override PartName="/ppt/theme/themeOverride681.xml" ContentType="application/vnd.openxmlformats-officedocument.themeOverride+xml"/>
  <Override PartName="/ppt/theme/themeOverride682.xml" ContentType="application/vnd.openxmlformats-officedocument.themeOverride+xml"/>
  <Override PartName="/ppt/theme/themeOverride683.xml" ContentType="application/vnd.openxmlformats-officedocument.themeOverride+xml"/>
  <Override PartName="/ppt/theme/themeOverride684.xml" ContentType="application/vnd.openxmlformats-officedocument.themeOverride+xml"/>
  <Override PartName="/ppt/theme/themeOverride685.xml" ContentType="application/vnd.openxmlformats-officedocument.themeOverride+xml"/>
  <Override PartName="/ppt/theme/themeOverride686.xml" ContentType="application/vnd.openxmlformats-officedocument.themeOverride+xml"/>
  <Override PartName="/ppt/theme/themeOverride687.xml" ContentType="application/vnd.openxmlformats-officedocument.themeOverride+xml"/>
  <Override PartName="/ppt/theme/themeOverride688.xml" ContentType="application/vnd.openxmlformats-officedocument.themeOverride+xml"/>
  <Override PartName="/ppt/theme/themeOverride689.xml" ContentType="application/vnd.openxmlformats-officedocument.themeOverride+xml"/>
  <Override PartName="/ppt/theme/themeOverride69.xml" ContentType="application/vnd.openxmlformats-officedocument.themeOverride+xml"/>
  <Override PartName="/ppt/theme/themeOverride690.xml" ContentType="application/vnd.openxmlformats-officedocument.themeOverride+xml"/>
  <Override PartName="/ppt/theme/themeOverride691.xml" ContentType="application/vnd.openxmlformats-officedocument.themeOverride+xml"/>
  <Override PartName="/ppt/theme/themeOverride692.xml" ContentType="application/vnd.openxmlformats-officedocument.themeOverride+xml"/>
  <Override PartName="/ppt/theme/themeOverride693.xml" ContentType="application/vnd.openxmlformats-officedocument.themeOverride+xml"/>
  <Override PartName="/ppt/theme/themeOverride694.xml" ContentType="application/vnd.openxmlformats-officedocument.themeOverride+xml"/>
  <Override PartName="/ppt/theme/themeOverride695.xml" ContentType="application/vnd.openxmlformats-officedocument.themeOverride+xml"/>
  <Override PartName="/ppt/theme/themeOverride696.xml" ContentType="application/vnd.openxmlformats-officedocument.themeOverride+xml"/>
  <Override PartName="/ppt/theme/themeOverride697.xml" ContentType="application/vnd.openxmlformats-officedocument.themeOverride+xml"/>
  <Override PartName="/ppt/theme/themeOverride698.xml" ContentType="application/vnd.openxmlformats-officedocument.themeOverride+xml"/>
  <Override PartName="/ppt/theme/themeOverride69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00.xml" ContentType="application/vnd.openxmlformats-officedocument.themeOverride+xml"/>
  <Override PartName="/ppt/theme/themeOverride701.xml" ContentType="application/vnd.openxmlformats-officedocument.themeOverride+xml"/>
  <Override PartName="/ppt/theme/themeOverride702.xml" ContentType="application/vnd.openxmlformats-officedocument.themeOverride+xml"/>
  <Override PartName="/ppt/theme/themeOverride703.xml" ContentType="application/vnd.openxmlformats-officedocument.themeOverride+xml"/>
  <Override PartName="/ppt/theme/themeOverride704.xml" ContentType="application/vnd.openxmlformats-officedocument.themeOverride+xml"/>
  <Override PartName="/ppt/theme/themeOverride705.xml" ContentType="application/vnd.openxmlformats-officedocument.themeOverride+xml"/>
  <Override PartName="/ppt/theme/themeOverride706.xml" ContentType="application/vnd.openxmlformats-officedocument.themeOverride+xml"/>
  <Override PartName="/ppt/theme/themeOverride707.xml" ContentType="application/vnd.openxmlformats-officedocument.themeOverride+xml"/>
  <Override PartName="/ppt/theme/themeOverride708.xml" ContentType="application/vnd.openxmlformats-officedocument.themeOverride+xml"/>
  <Override PartName="/ppt/theme/themeOverride709.xml" ContentType="application/vnd.openxmlformats-officedocument.themeOverride+xml"/>
  <Override PartName="/ppt/theme/themeOverride71.xml" ContentType="application/vnd.openxmlformats-officedocument.themeOverride+xml"/>
  <Override PartName="/ppt/theme/themeOverride710.xml" ContentType="application/vnd.openxmlformats-officedocument.themeOverride+xml"/>
  <Override PartName="/ppt/theme/themeOverride711.xml" ContentType="application/vnd.openxmlformats-officedocument.themeOverride+xml"/>
  <Override PartName="/ppt/theme/themeOverride712.xml" ContentType="application/vnd.openxmlformats-officedocument.themeOverride+xml"/>
  <Override PartName="/ppt/theme/themeOverride713.xml" ContentType="application/vnd.openxmlformats-officedocument.themeOverride+xml"/>
  <Override PartName="/ppt/theme/themeOverride714.xml" ContentType="application/vnd.openxmlformats-officedocument.themeOverride+xml"/>
  <Override PartName="/ppt/theme/themeOverride715.xml" ContentType="application/vnd.openxmlformats-officedocument.themeOverride+xml"/>
  <Override PartName="/ppt/theme/themeOverride716.xml" ContentType="application/vnd.openxmlformats-officedocument.themeOverride+xml"/>
  <Override PartName="/ppt/theme/themeOverride717.xml" ContentType="application/vnd.openxmlformats-officedocument.themeOverride+xml"/>
  <Override PartName="/ppt/theme/themeOverride718.xml" ContentType="application/vnd.openxmlformats-officedocument.themeOverride+xml"/>
  <Override PartName="/ppt/theme/themeOverride719.xml" ContentType="application/vnd.openxmlformats-officedocument.themeOverride+xml"/>
  <Override PartName="/ppt/theme/themeOverride72.xml" ContentType="application/vnd.openxmlformats-officedocument.themeOverride+xml"/>
  <Override PartName="/ppt/theme/themeOverride720.xml" ContentType="application/vnd.openxmlformats-officedocument.themeOverride+xml"/>
  <Override PartName="/ppt/theme/themeOverride721.xml" ContentType="application/vnd.openxmlformats-officedocument.themeOverride+xml"/>
  <Override PartName="/ppt/theme/themeOverride722.xml" ContentType="application/vnd.openxmlformats-officedocument.themeOverride+xml"/>
  <Override PartName="/ppt/theme/themeOverride723.xml" ContentType="application/vnd.openxmlformats-officedocument.themeOverride+xml"/>
  <Override PartName="/ppt/theme/themeOverride724.xml" ContentType="application/vnd.openxmlformats-officedocument.themeOverride+xml"/>
  <Override PartName="/ppt/theme/themeOverride725.xml" ContentType="application/vnd.openxmlformats-officedocument.themeOverride+xml"/>
  <Override PartName="/ppt/theme/themeOverride726.xml" ContentType="application/vnd.openxmlformats-officedocument.themeOverride+xml"/>
  <Override PartName="/ppt/theme/themeOverride727.xml" ContentType="application/vnd.openxmlformats-officedocument.themeOverride+xml"/>
  <Override PartName="/ppt/theme/themeOverride728.xml" ContentType="application/vnd.openxmlformats-officedocument.themeOverride+xml"/>
  <Override PartName="/ppt/theme/themeOverride729.xml" ContentType="application/vnd.openxmlformats-officedocument.themeOverride+xml"/>
  <Override PartName="/ppt/theme/themeOverride73.xml" ContentType="application/vnd.openxmlformats-officedocument.themeOverride+xml"/>
  <Override PartName="/ppt/theme/themeOverride730.xml" ContentType="application/vnd.openxmlformats-officedocument.themeOverride+xml"/>
  <Override PartName="/ppt/theme/themeOverride731.xml" ContentType="application/vnd.openxmlformats-officedocument.themeOverride+xml"/>
  <Override PartName="/ppt/theme/themeOverride732.xml" ContentType="application/vnd.openxmlformats-officedocument.themeOverride+xml"/>
  <Override PartName="/ppt/theme/themeOverride733.xml" ContentType="application/vnd.openxmlformats-officedocument.themeOverride+xml"/>
  <Override PartName="/ppt/theme/themeOverride734.xml" ContentType="application/vnd.openxmlformats-officedocument.themeOverride+xml"/>
  <Override PartName="/ppt/theme/themeOverride735.xml" ContentType="application/vnd.openxmlformats-officedocument.themeOverride+xml"/>
  <Override PartName="/ppt/theme/themeOverride736.xml" ContentType="application/vnd.openxmlformats-officedocument.themeOverride+xml"/>
  <Override PartName="/ppt/theme/themeOverride737.xml" ContentType="application/vnd.openxmlformats-officedocument.themeOverride+xml"/>
  <Override PartName="/ppt/theme/themeOverride738.xml" ContentType="application/vnd.openxmlformats-officedocument.themeOverride+xml"/>
  <Override PartName="/ppt/theme/themeOverride739.xml" ContentType="application/vnd.openxmlformats-officedocument.themeOverride+xml"/>
  <Override PartName="/ppt/theme/themeOverride74.xml" ContentType="application/vnd.openxmlformats-officedocument.themeOverride+xml"/>
  <Override PartName="/ppt/theme/themeOverride740.xml" ContentType="application/vnd.openxmlformats-officedocument.themeOverride+xml"/>
  <Override PartName="/ppt/theme/themeOverride741.xml" ContentType="application/vnd.openxmlformats-officedocument.themeOverride+xml"/>
  <Override PartName="/ppt/theme/themeOverride742.xml" ContentType="application/vnd.openxmlformats-officedocument.themeOverride+xml"/>
  <Override PartName="/ppt/theme/themeOverride743.xml" ContentType="application/vnd.openxmlformats-officedocument.themeOverride+xml"/>
  <Override PartName="/ppt/theme/themeOverride744.xml" ContentType="application/vnd.openxmlformats-officedocument.themeOverride+xml"/>
  <Override PartName="/ppt/theme/themeOverride745.xml" ContentType="application/vnd.openxmlformats-officedocument.themeOverride+xml"/>
  <Override PartName="/ppt/theme/themeOverride746.xml" ContentType="application/vnd.openxmlformats-officedocument.themeOverride+xml"/>
  <Override PartName="/ppt/theme/themeOverride747.xml" ContentType="application/vnd.openxmlformats-officedocument.themeOverride+xml"/>
  <Override PartName="/ppt/theme/themeOverride748.xml" ContentType="application/vnd.openxmlformats-officedocument.themeOverride+xml"/>
  <Override PartName="/ppt/theme/themeOverride749.xml" ContentType="application/vnd.openxmlformats-officedocument.themeOverride+xml"/>
  <Override PartName="/ppt/theme/themeOverride75.xml" ContentType="application/vnd.openxmlformats-officedocument.themeOverride+xml"/>
  <Override PartName="/ppt/theme/themeOverride750.xml" ContentType="application/vnd.openxmlformats-officedocument.themeOverride+xml"/>
  <Override PartName="/ppt/theme/themeOverride751.xml" ContentType="application/vnd.openxmlformats-officedocument.themeOverride+xml"/>
  <Override PartName="/ppt/theme/themeOverride752.xml" ContentType="application/vnd.openxmlformats-officedocument.themeOverride+xml"/>
  <Override PartName="/ppt/theme/themeOverride753.xml" ContentType="application/vnd.openxmlformats-officedocument.themeOverride+xml"/>
  <Override PartName="/ppt/theme/themeOverride754.xml" ContentType="application/vnd.openxmlformats-officedocument.themeOverride+xml"/>
  <Override PartName="/ppt/theme/themeOverride755.xml" ContentType="application/vnd.openxmlformats-officedocument.themeOverride+xml"/>
  <Override PartName="/ppt/theme/themeOverride756.xml" ContentType="application/vnd.openxmlformats-officedocument.themeOverride+xml"/>
  <Override PartName="/ppt/theme/themeOverride757.xml" ContentType="application/vnd.openxmlformats-officedocument.themeOverride+xml"/>
  <Override PartName="/ppt/theme/themeOverride758.xml" ContentType="application/vnd.openxmlformats-officedocument.themeOverride+xml"/>
  <Override PartName="/ppt/theme/themeOverride759.xml" ContentType="application/vnd.openxmlformats-officedocument.themeOverride+xml"/>
  <Override PartName="/ppt/theme/themeOverride76.xml" ContentType="application/vnd.openxmlformats-officedocument.themeOverride+xml"/>
  <Override PartName="/ppt/theme/themeOverride760.xml" ContentType="application/vnd.openxmlformats-officedocument.themeOverride+xml"/>
  <Override PartName="/ppt/theme/themeOverride761.xml" ContentType="application/vnd.openxmlformats-officedocument.themeOverride+xml"/>
  <Override PartName="/ppt/theme/themeOverride762.xml" ContentType="application/vnd.openxmlformats-officedocument.themeOverride+xml"/>
  <Override PartName="/ppt/theme/themeOverride763.xml" ContentType="application/vnd.openxmlformats-officedocument.themeOverride+xml"/>
  <Override PartName="/ppt/theme/themeOverride764.xml" ContentType="application/vnd.openxmlformats-officedocument.themeOverride+xml"/>
  <Override PartName="/ppt/theme/themeOverride765.xml" ContentType="application/vnd.openxmlformats-officedocument.themeOverride+xml"/>
  <Override PartName="/ppt/theme/themeOverride766.xml" ContentType="application/vnd.openxmlformats-officedocument.themeOverride+xml"/>
  <Override PartName="/ppt/theme/themeOverride767.xml" ContentType="application/vnd.openxmlformats-officedocument.themeOverride+xml"/>
  <Override PartName="/ppt/theme/themeOverride768.xml" ContentType="application/vnd.openxmlformats-officedocument.themeOverride+xml"/>
  <Override PartName="/ppt/theme/themeOverride769.xml" ContentType="application/vnd.openxmlformats-officedocument.themeOverride+xml"/>
  <Override PartName="/ppt/theme/themeOverride77.xml" ContentType="application/vnd.openxmlformats-officedocument.themeOverride+xml"/>
  <Override PartName="/ppt/theme/themeOverride770.xml" ContentType="application/vnd.openxmlformats-officedocument.themeOverride+xml"/>
  <Override PartName="/ppt/theme/themeOverride771.xml" ContentType="application/vnd.openxmlformats-officedocument.themeOverride+xml"/>
  <Override PartName="/ppt/theme/themeOverride772.xml" ContentType="application/vnd.openxmlformats-officedocument.themeOverride+xml"/>
  <Override PartName="/ppt/theme/themeOverride773.xml" ContentType="application/vnd.openxmlformats-officedocument.themeOverride+xml"/>
  <Override PartName="/ppt/theme/themeOverride774.xml" ContentType="application/vnd.openxmlformats-officedocument.themeOverride+xml"/>
  <Override PartName="/ppt/theme/themeOverride775.xml" ContentType="application/vnd.openxmlformats-officedocument.themeOverride+xml"/>
  <Override PartName="/ppt/theme/themeOverride776.xml" ContentType="application/vnd.openxmlformats-officedocument.themeOverride+xml"/>
  <Override PartName="/ppt/theme/themeOverride777.xml" ContentType="application/vnd.openxmlformats-officedocument.themeOverride+xml"/>
  <Override PartName="/ppt/theme/themeOverride778.xml" ContentType="application/vnd.openxmlformats-officedocument.themeOverride+xml"/>
  <Override PartName="/ppt/theme/themeOverride779.xml" ContentType="application/vnd.openxmlformats-officedocument.themeOverride+xml"/>
  <Override PartName="/ppt/theme/themeOverride78.xml" ContentType="application/vnd.openxmlformats-officedocument.themeOverride+xml"/>
  <Override PartName="/ppt/theme/themeOverride780.xml" ContentType="application/vnd.openxmlformats-officedocument.themeOverride+xml"/>
  <Override PartName="/ppt/theme/themeOverride781.xml" ContentType="application/vnd.openxmlformats-officedocument.themeOverride+xml"/>
  <Override PartName="/ppt/theme/themeOverride782.xml" ContentType="application/vnd.openxmlformats-officedocument.themeOverride+xml"/>
  <Override PartName="/ppt/theme/themeOverride783.xml" ContentType="application/vnd.openxmlformats-officedocument.themeOverride+xml"/>
  <Override PartName="/ppt/theme/themeOverride784.xml" ContentType="application/vnd.openxmlformats-officedocument.themeOverride+xml"/>
  <Override PartName="/ppt/theme/themeOverride785.xml" ContentType="application/vnd.openxmlformats-officedocument.themeOverride+xml"/>
  <Override PartName="/ppt/theme/themeOverride786.xml" ContentType="application/vnd.openxmlformats-officedocument.themeOverride+xml"/>
  <Override PartName="/ppt/theme/themeOverride787.xml" ContentType="application/vnd.openxmlformats-officedocument.themeOverride+xml"/>
  <Override PartName="/ppt/theme/themeOverride788.xml" ContentType="application/vnd.openxmlformats-officedocument.themeOverride+xml"/>
  <Override PartName="/ppt/theme/themeOverride789.xml" ContentType="application/vnd.openxmlformats-officedocument.themeOverride+xml"/>
  <Override PartName="/ppt/theme/themeOverride79.xml" ContentType="application/vnd.openxmlformats-officedocument.themeOverride+xml"/>
  <Override PartName="/ppt/theme/themeOverride790.xml" ContentType="application/vnd.openxmlformats-officedocument.themeOverride+xml"/>
  <Override PartName="/ppt/theme/themeOverride791.xml" ContentType="application/vnd.openxmlformats-officedocument.themeOverride+xml"/>
  <Override PartName="/ppt/theme/themeOverride792.xml" ContentType="application/vnd.openxmlformats-officedocument.themeOverride+xml"/>
  <Override PartName="/ppt/theme/themeOverride793.xml" ContentType="application/vnd.openxmlformats-officedocument.themeOverride+xml"/>
  <Override PartName="/ppt/theme/themeOverride794.xml" ContentType="application/vnd.openxmlformats-officedocument.themeOverride+xml"/>
  <Override PartName="/ppt/theme/themeOverride795.xml" ContentType="application/vnd.openxmlformats-officedocument.themeOverride+xml"/>
  <Override PartName="/ppt/theme/themeOverride796.xml" ContentType="application/vnd.openxmlformats-officedocument.themeOverride+xml"/>
  <Override PartName="/ppt/theme/themeOverride797.xml" ContentType="application/vnd.openxmlformats-officedocument.themeOverride+xml"/>
  <Override PartName="/ppt/theme/themeOverride798.xml" ContentType="application/vnd.openxmlformats-officedocument.themeOverride+xml"/>
  <Override PartName="/ppt/theme/themeOverride79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00.xml" ContentType="application/vnd.openxmlformats-officedocument.themeOverride+xml"/>
  <Override PartName="/ppt/theme/themeOverride801.xml" ContentType="application/vnd.openxmlformats-officedocument.themeOverride+xml"/>
  <Override PartName="/ppt/theme/themeOverride802.xml" ContentType="application/vnd.openxmlformats-officedocument.themeOverride+xml"/>
  <Override PartName="/ppt/theme/themeOverride803.xml" ContentType="application/vnd.openxmlformats-officedocument.themeOverride+xml"/>
  <Override PartName="/ppt/theme/themeOverride804.xml" ContentType="application/vnd.openxmlformats-officedocument.themeOverride+xml"/>
  <Override PartName="/ppt/theme/themeOverride805.xml" ContentType="application/vnd.openxmlformats-officedocument.themeOverride+xml"/>
  <Override PartName="/ppt/theme/themeOverride806.xml" ContentType="application/vnd.openxmlformats-officedocument.themeOverride+xml"/>
  <Override PartName="/ppt/theme/themeOverride807.xml" ContentType="application/vnd.openxmlformats-officedocument.themeOverride+xml"/>
  <Override PartName="/ppt/theme/themeOverride808.xml" ContentType="application/vnd.openxmlformats-officedocument.themeOverride+xml"/>
  <Override PartName="/ppt/theme/themeOverride809.xml" ContentType="application/vnd.openxmlformats-officedocument.themeOverride+xml"/>
  <Override PartName="/ppt/theme/themeOverride81.xml" ContentType="application/vnd.openxmlformats-officedocument.themeOverride+xml"/>
  <Override PartName="/ppt/theme/themeOverride810.xml" ContentType="application/vnd.openxmlformats-officedocument.themeOverride+xml"/>
  <Override PartName="/ppt/theme/themeOverride811.xml" ContentType="application/vnd.openxmlformats-officedocument.themeOverride+xml"/>
  <Override PartName="/ppt/theme/themeOverride812.xml" ContentType="application/vnd.openxmlformats-officedocument.themeOverride+xml"/>
  <Override PartName="/ppt/theme/themeOverride813.xml" ContentType="application/vnd.openxmlformats-officedocument.themeOverride+xml"/>
  <Override PartName="/ppt/theme/themeOverride814.xml" ContentType="application/vnd.openxmlformats-officedocument.themeOverride+xml"/>
  <Override PartName="/ppt/theme/themeOverride815.xml" ContentType="application/vnd.openxmlformats-officedocument.themeOverride+xml"/>
  <Override PartName="/ppt/theme/themeOverride816.xml" ContentType="application/vnd.openxmlformats-officedocument.themeOverride+xml"/>
  <Override PartName="/ppt/theme/themeOverride817.xml" ContentType="application/vnd.openxmlformats-officedocument.themeOverride+xml"/>
  <Override PartName="/ppt/theme/themeOverride818.xml" ContentType="application/vnd.openxmlformats-officedocument.themeOverride+xml"/>
  <Override PartName="/ppt/theme/themeOverride819.xml" ContentType="application/vnd.openxmlformats-officedocument.themeOverride+xml"/>
  <Override PartName="/ppt/theme/themeOverride82.xml" ContentType="application/vnd.openxmlformats-officedocument.themeOverride+xml"/>
  <Override PartName="/ppt/theme/themeOverride820.xml" ContentType="application/vnd.openxmlformats-officedocument.themeOverride+xml"/>
  <Override PartName="/ppt/theme/themeOverride821.xml" ContentType="application/vnd.openxmlformats-officedocument.themeOverride+xml"/>
  <Override PartName="/ppt/theme/themeOverride822.xml" ContentType="application/vnd.openxmlformats-officedocument.themeOverride+xml"/>
  <Override PartName="/ppt/theme/themeOverride823.xml" ContentType="application/vnd.openxmlformats-officedocument.themeOverride+xml"/>
  <Override PartName="/ppt/theme/themeOverride824.xml" ContentType="application/vnd.openxmlformats-officedocument.themeOverride+xml"/>
  <Override PartName="/ppt/theme/themeOverride825.xml" ContentType="application/vnd.openxmlformats-officedocument.themeOverride+xml"/>
  <Override PartName="/ppt/theme/themeOverride826.xml" ContentType="application/vnd.openxmlformats-officedocument.themeOverride+xml"/>
  <Override PartName="/ppt/theme/themeOverride827.xml" ContentType="application/vnd.openxmlformats-officedocument.themeOverride+xml"/>
  <Override PartName="/ppt/theme/themeOverride828.xml" ContentType="application/vnd.openxmlformats-officedocument.themeOverride+xml"/>
  <Override PartName="/ppt/theme/themeOverride829.xml" ContentType="application/vnd.openxmlformats-officedocument.themeOverride+xml"/>
  <Override PartName="/ppt/theme/themeOverride83.xml" ContentType="application/vnd.openxmlformats-officedocument.themeOverride+xml"/>
  <Override PartName="/ppt/theme/themeOverride830.xml" ContentType="application/vnd.openxmlformats-officedocument.themeOverride+xml"/>
  <Override PartName="/ppt/theme/themeOverride831.xml" ContentType="application/vnd.openxmlformats-officedocument.themeOverride+xml"/>
  <Override PartName="/ppt/theme/themeOverride832.xml" ContentType="application/vnd.openxmlformats-officedocument.themeOverride+xml"/>
  <Override PartName="/ppt/theme/themeOverride833.xml" ContentType="application/vnd.openxmlformats-officedocument.themeOverride+xml"/>
  <Override PartName="/ppt/theme/themeOverride834.xml" ContentType="application/vnd.openxmlformats-officedocument.themeOverride+xml"/>
  <Override PartName="/ppt/theme/themeOverride835.xml" ContentType="application/vnd.openxmlformats-officedocument.themeOverride+xml"/>
  <Override PartName="/ppt/theme/themeOverride836.xml" ContentType="application/vnd.openxmlformats-officedocument.themeOverride+xml"/>
  <Override PartName="/ppt/theme/themeOverride837.xml" ContentType="application/vnd.openxmlformats-officedocument.themeOverride+xml"/>
  <Override PartName="/ppt/theme/themeOverride838.xml" ContentType="application/vnd.openxmlformats-officedocument.themeOverride+xml"/>
  <Override PartName="/ppt/theme/themeOverride839.xml" ContentType="application/vnd.openxmlformats-officedocument.themeOverride+xml"/>
  <Override PartName="/ppt/theme/themeOverride84.xml" ContentType="application/vnd.openxmlformats-officedocument.themeOverride+xml"/>
  <Override PartName="/ppt/theme/themeOverride840.xml" ContentType="application/vnd.openxmlformats-officedocument.themeOverride+xml"/>
  <Override PartName="/ppt/theme/themeOverride841.xml" ContentType="application/vnd.openxmlformats-officedocument.themeOverride+xml"/>
  <Override PartName="/ppt/theme/themeOverride842.xml" ContentType="application/vnd.openxmlformats-officedocument.themeOverride+xml"/>
  <Override PartName="/ppt/theme/themeOverride843.xml" ContentType="application/vnd.openxmlformats-officedocument.themeOverride+xml"/>
  <Override PartName="/ppt/theme/themeOverride844.xml" ContentType="application/vnd.openxmlformats-officedocument.themeOverride+xml"/>
  <Override PartName="/ppt/theme/themeOverride845.xml" ContentType="application/vnd.openxmlformats-officedocument.themeOverride+xml"/>
  <Override PartName="/ppt/theme/themeOverride846.xml" ContentType="application/vnd.openxmlformats-officedocument.themeOverride+xml"/>
  <Override PartName="/ppt/theme/themeOverride847.xml" ContentType="application/vnd.openxmlformats-officedocument.themeOverride+xml"/>
  <Override PartName="/ppt/theme/themeOverride848.xml" ContentType="application/vnd.openxmlformats-officedocument.themeOverride+xml"/>
  <Override PartName="/ppt/theme/themeOverride849.xml" ContentType="application/vnd.openxmlformats-officedocument.themeOverride+xml"/>
  <Override PartName="/ppt/theme/themeOverride85.xml" ContentType="application/vnd.openxmlformats-officedocument.themeOverride+xml"/>
  <Override PartName="/ppt/theme/themeOverride850.xml" ContentType="application/vnd.openxmlformats-officedocument.themeOverride+xml"/>
  <Override PartName="/ppt/theme/themeOverride851.xml" ContentType="application/vnd.openxmlformats-officedocument.themeOverride+xml"/>
  <Override PartName="/ppt/theme/themeOverride852.xml" ContentType="application/vnd.openxmlformats-officedocument.themeOverride+xml"/>
  <Override PartName="/ppt/theme/themeOverride853.xml" ContentType="application/vnd.openxmlformats-officedocument.themeOverride+xml"/>
  <Override PartName="/ppt/theme/themeOverride854.xml" ContentType="application/vnd.openxmlformats-officedocument.themeOverride+xml"/>
  <Override PartName="/ppt/theme/themeOverride855.xml" ContentType="application/vnd.openxmlformats-officedocument.themeOverride+xml"/>
  <Override PartName="/ppt/theme/themeOverride856.xml" ContentType="application/vnd.openxmlformats-officedocument.themeOverride+xml"/>
  <Override PartName="/ppt/theme/themeOverride857.xml" ContentType="application/vnd.openxmlformats-officedocument.themeOverride+xml"/>
  <Override PartName="/ppt/theme/themeOverride858.xml" ContentType="application/vnd.openxmlformats-officedocument.themeOverride+xml"/>
  <Override PartName="/ppt/theme/themeOverride859.xml" ContentType="application/vnd.openxmlformats-officedocument.themeOverride+xml"/>
  <Override PartName="/ppt/theme/themeOverride86.xml" ContentType="application/vnd.openxmlformats-officedocument.themeOverride+xml"/>
  <Override PartName="/ppt/theme/themeOverride860.xml" ContentType="application/vnd.openxmlformats-officedocument.themeOverride+xml"/>
  <Override PartName="/ppt/theme/themeOverride861.xml" ContentType="application/vnd.openxmlformats-officedocument.themeOverride+xml"/>
  <Override PartName="/ppt/theme/themeOverride862.xml" ContentType="application/vnd.openxmlformats-officedocument.themeOverride+xml"/>
  <Override PartName="/ppt/theme/themeOverride863.xml" ContentType="application/vnd.openxmlformats-officedocument.themeOverride+xml"/>
  <Override PartName="/ppt/theme/themeOverride864.xml" ContentType="application/vnd.openxmlformats-officedocument.themeOverride+xml"/>
  <Override PartName="/ppt/theme/themeOverride865.xml" ContentType="application/vnd.openxmlformats-officedocument.themeOverride+xml"/>
  <Override PartName="/ppt/theme/themeOverride866.xml" ContentType="application/vnd.openxmlformats-officedocument.themeOverride+xml"/>
  <Override PartName="/ppt/theme/themeOverride867.xml" ContentType="application/vnd.openxmlformats-officedocument.themeOverride+xml"/>
  <Override PartName="/ppt/theme/themeOverride868.xml" ContentType="application/vnd.openxmlformats-officedocument.themeOverride+xml"/>
  <Override PartName="/ppt/theme/themeOverride869.xml" ContentType="application/vnd.openxmlformats-officedocument.themeOverride+xml"/>
  <Override PartName="/ppt/theme/themeOverride87.xml" ContentType="application/vnd.openxmlformats-officedocument.themeOverride+xml"/>
  <Override PartName="/ppt/theme/themeOverride870.xml" ContentType="application/vnd.openxmlformats-officedocument.themeOverride+xml"/>
  <Override PartName="/ppt/theme/themeOverride871.xml" ContentType="application/vnd.openxmlformats-officedocument.themeOverride+xml"/>
  <Override PartName="/ppt/theme/themeOverride872.xml" ContentType="application/vnd.openxmlformats-officedocument.themeOverride+xml"/>
  <Override PartName="/ppt/theme/themeOverride873.xml" ContentType="application/vnd.openxmlformats-officedocument.themeOverride+xml"/>
  <Override PartName="/ppt/theme/themeOverride874.xml" ContentType="application/vnd.openxmlformats-officedocument.themeOverride+xml"/>
  <Override PartName="/ppt/theme/themeOverride875.xml" ContentType="application/vnd.openxmlformats-officedocument.themeOverride+xml"/>
  <Override PartName="/ppt/theme/themeOverride876.xml" ContentType="application/vnd.openxmlformats-officedocument.themeOverride+xml"/>
  <Override PartName="/ppt/theme/themeOverride877.xml" ContentType="application/vnd.openxmlformats-officedocument.themeOverride+xml"/>
  <Override PartName="/ppt/theme/themeOverride878.xml" ContentType="application/vnd.openxmlformats-officedocument.themeOverride+xml"/>
  <Override PartName="/ppt/theme/themeOverride879.xml" ContentType="application/vnd.openxmlformats-officedocument.themeOverride+xml"/>
  <Override PartName="/ppt/theme/themeOverride88.xml" ContentType="application/vnd.openxmlformats-officedocument.themeOverride+xml"/>
  <Override PartName="/ppt/theme/themeOverride880.xml" ContentType="application/vnd.openxmlformats-officedocument.themeOverride+xml"/>
  <Override PartName="/ppt/theme/themeOverride881.xml" ContentType="application/vnd.openxmlformats-officedocument.themeOverride+xml"/>
  <Override PartName="/ppt/theme/themeOverride882.xml" ContentType="application/vnd.openxmlformats-officedocument.themeOverride+xml"/>
  <Override PartName="/ppt/theme/themeOverride883.xml" ContentType="application/vnd.openxmlformats-officedocument.themeOverride+xml"/>
  <Override PartName="/ppt/theme/themeOverride884.xml" ContentType="application/vnd.openxmlformats-officedocument.themeOverride+xml"/>
  <Override PartName="/ppt/theme/themeOverride885.xml" ContentType="application/vnd.openxmlformats-officedocument.themeOverride+xml"/>
  <Override PartName="/ppt/theme/themeOverride886.xml" ContentType="application/vnd.openxmlformats-officedocument.themeOverride+xml"/>
  <Override PartName="/ppt/theme/themeOverride887.xml" ContentType="application/vnd.openxmlformats-officedocument.themeOverride+xml"/>
  <Override PartName="/ppt/theme/themeOverride888.xml" ContentType="application/vnd.openxmlformats-officedocument.themeOverride+xml"/>
  <Override PartName="/ppt/theme/themeOverride889.xml" ContentType="application/vnd.openxmlformats-officedocument.themeOverride+xml"/>
  <Override PartName="/ppt/theme/themeOverride89.xml" ContentType="application/vnd.openxmlformats-officedocument.themeOverride+xml"/>
  <Override PartName="/ppt/theme/themeOverride890.xml" ContentType="application/vnd.openxmlformats-officedocument.themeOverride+xml"/>
  <Override PartName="/ppt/theme/themeOverride891.xml" ContentType="application/vnd.openxmlformats-officedocument.themeOverride+xml"/>
  <Override PartName="/ppt/theme/themeOverride892.xml" ContentType="application/vnd.openxmlformats-officedocument.themeOverride+xml"/>
  <Override PartName="/ppt/theme/themeOverride893.xml" ContentType="application/vnd.openxmlformats-officedocument.themeOverride+xml"/>
  <Override PartName="/ppt/theme/themeOverride894.xml" ContentType="application/vnd.openxmlformats-officedocument.themeOverride+xml"/>
  <Override PartName="/ppt/theme/themeOverride895.xml" ContentType="application/vnd.openxmlformats-officedocument.themeOverride+xml"/>
  <Override PartName="/ppt/theme/themeOverride896.xml" ContentType="application/vnd.openxmlformats-officedocument.themeOverride+xml"/>
  <Override PartName="/ppt/theme/themeOverride897.xml" ContentType="application/vnd.openxmlformats-officedocument.themeOverride+xml"/>
  <Override PartName="/ppt/theme/themeOverride898.xml" ContentType="application/vnd.openxmlformats-officedocument.themeOverride+xml"/>
  <Override PartName="/ppt/theme/themeOverride899.xml" ContentType="application/vnd.openxmlformats-officedocument.themeOverride+xml"/>
  <Override PartName="/ppt/theme/themeOverride9.xml" ContentType="application/vnd.openxmlformats-officedocument.themeOverride+xml"/>
  <Override PartName="/ppt/theme/themeOverride90.xml" ContentType="application/vnd.openxmlformats-officedocument.themeOverride+xml"/>
  <Override PartName="/ppt/theme/themeOverride900.xml" ContentType="application/vnd.openxmlformats-officedocument.themeOverride+xml"/>
  <Override PartName="/ppt/theme/themeOverride901.xml" ContentType="application/vnd.openxmlformats-officedocument.themeOverride+xml"/>
  <Override PartName="/ppt/theme/themeOverride902.xml" ContentType="application/vnd.openxmlformats-officedocument.themeOverride+xml"/>
  <Override PartName="/ppt/theme/themeOverride903.xml" ContentType="application/vnd.openxmlformats-officedocument.themeOverride+xml"/>
  <Override PartName="/ppt/theme/themeOverride904.xml" ContentType="application/vnd.openxmlformats-officedocument.themeOverride+xml"/>
  <Override PartName="/ppt/theme/themeOverride905.xml" ContentType="application/vnd.openxmlformats-officedocument.themeOverride+xml"/>
  <Override PartName="/ppt/theme/themeOverride906.xml" ContentType="application/vnd.openxmlformats-officedocument.themeOverride+xml"/>
  <Override PartName="/ppt/theme/themeOverride907.xml" ContentType="application/vnd.openxmlformats-officedocument.themeOverride+xml"/>
  <Override PartName="/ppt/theme/themeOverride908.xml" ContentType="application/vnd.openxmlformats-officedocument.themeOverride+xml"/>
  <Override PartName="/ppt/theme/themeOverride909.xml" ContentType="application/vnd.openxmlformats-officedocument.themeOverride+xml"/>
  <Override PartName="/ppt/theme/themeOverride91.xml" ContentType="application/vnd.openxmlformats-officedocument.themeOverride+xml"/>
  <Override PartName="/ppt/theme/themeOverride910.xml" ContentType="application/vnd.openxmlformats-officedocument.themeOverride+xml"/>
  <Override PartName="/ppt/theme/themeOverride911.xml" ContentType="application/vnd.openxmlformats-officedocument.themeOverride+xml"/>
  <Override PartName="/ppt/theme/themeOverride912.xml" ContentType="application/vnd.openxmlformats-officedocument.themeOverride+xml"/>
  <Override PartName="/ppt/theme/themeOverride913.xml" ContentType="application/vnd.openxmlformats-officedocument.themeOverride+xml"/>
  <Override PartName="/ppt/theme/themeOverride914.xml" ContentType="application/vnd.openxmlformats-officedocument.themeOverride+xml"/>
  <Override PartName="/ppt/theme/themeOverride915.xml" ContentType="application/vnd.openxmlformats-officedocument.themeOverride+xml"/>
  <Override PartName="/ppt/theme/themeOverride916.xml" ContentType="application/vnd.openxmlformats-officedocument.themeOverride+xml"/>
  <Override PartName="/ppt/theme/themeOverride917.xml" ContentType="application/vnd.openxmlformats-officedocument.themeOverride+xml"/>
  <Override PartName="/ppt/theme/themeOverride918.xml" ContentType="application/vnd.openxmlformats-officedocument.themeOverride+xml"/>
  <Override PartName="/ppt/theme/themeOverride919.xml" ContentType="application/vnd.openxmlformats-officedocument.themeOverride+xml"/>
  <Override PartName="/ppt/theme/themeOverride92.xml" ContentType="application/vnd.openxmlformats-officedocument.themeOverride+xml"/>
  <Override PartName="/ppt/theme/themeOverride920.xml" ContentType="application/vnd.openxmlformats-officedocument.themeOverride+xml"/>
  <Override PartName="/ppt/theme/themeOverride921.xml" ContentType="application/vnd.openxmlformats-officedocument.themeOverride+xml"/>
  <Override PartName="/ppt/theme/themeOverride922.xml" ContentType="application/vnd.openxmlformats-officedocument.themeOverride+xml"/>
  <Override PartName="/ppt/theme/themeOverride923.xml" ContentType="application/vnd.openxmlformats-officedocument.themeOverride+xml"/>
  <Override PartName="/ppt/theme/themeOverride924.xml" ContentType="application/vnd.openxmlformats-officedocument.themeOverride+xml"/>
  <Override PartName="/ppt/theme/themeOverride925.xml" ContentType="application/vnd.openxmlformats-officedocument.themeOverride+xml"/>
  <Override PartName="/ppt/theme/themeOverride926.xml" ContentType="application/vnd.openxmlformats-officedocument.themeOverride+xml"/>
  <Override PartName="/ppt/theme/themeOverride927.xml" ContentType="application/vnd.openxmlformats-officedocument.themeOverride+xml"/>
  <Override PartName="/ppt/theme/themeOverride928.xml" ContentType="application/vnd.openxmlformats-officedocument.themeOverride+xml"/>
  <Override PartName="/ppt/theme/themeOverride929.xml" ContentType="application/vnd.openxmlformats-officedocument.themeOverride+xml"/>
  <Override PartName="/ppt/theme/themeOverride93.xml" ContentType="application/vnd.openxmlformats-officedocument.themeOverride+xml"/>
  <Override PartName="/ppt/theme/themeOverride930.xml" ContentType="application/vnd.openxmlformats-officedocument.themeOverride+xml"/>
  <Override PartName="/ppt/theme/themeOverride931.xml" ContentType="application/vnd.openxmlformats-officedocument.themeOverride+xml"/>
  <Override PartName="/ppt/theme/themeOverride932.xml" ContentType="application/vnd.openxmlformats-officedocument.themeOverride+xml"/>
  <Override PartName="/ppt/theme/themeOverride933.xml" ContentType="application/vnd.openxmlformats-officedocument.themeOverride+xml"/>
  <Override PartName="/ppt/theme/themeOverride934.xml" ContentType="application/vnd.openxmlformats-officedocument.themeOverride+xml"/>
  <Override PartName="/ppt/theme/themeOverride935.xml" ContentType="application/vnd.openxmlformats-officedocument.themeOverride+xml"/>
  <Override PartName="/ppt/theme/themeOverride936.xml" ContentType="application/vnd.openxmlformats-officedocument.themeOverride+xml"/>
  <Override PartName="/ppt/theme/themeOverride937.xml" ContentType="application/vnd.openxmlformats-officedocument.themeOverride+xml"/>
  <Override PartName="/ppt/theme/themeOverride938.xml" ContentType="application/vnd.openxmlformats-officedocument.themeOverride+xml"/>
  <Override PartName="/ppt/theme/themeOverride939.xml" ContentType="application/vnd.openxmlformats-officedocument.themeOverride+xml"/>
  <Override PartName="/ppt/theme/themeOverride94.xml" ContentType="application/vnd.openxmlformats-officedocument.themeOverride+xml"/>
  <Override PartName="/ppt/theme/themeOverride940.xml" ContentType="application/vnd.openxmlformats-officedocument.themeOverride+xml"/>
  <Override PartName="/ppt/theme/themeOverride941.xml" ContentType="application/vnd.openxmlformats-officedocument.themeOverride+xml"/>
  <Override PartName="/ppt/theme/themeOverride942.xml" ContentType="application/vnd.openxmlformats-officedocument.themeOverride+xml"/>
  <Override PartName="/ppt/theme/themeOverride943.xml" ContentType="application/vnd.openxmlformats-officedocument.themeOverride+xml"/>
  <Override PartName="/ppt/theme/themeOverride944.xml" ContentType="application/vnd.openxmlformats-officedocument.themeOverride+xml"/>
  <Override PartName="/ppt/theme/themeOverride945.xml" ContentType="application/vnd.openxmlformats-officedocument.themeOverride+xml"/>
  <Override PartName="/ppt/theme/themeOverride946.xml" ContentType="application/vnd.openxmlformats-officedocument.themeOverride+xml"/>
  <Override PartName="/ppt/theme/themeOverride947.xml" ContentType="application/vnd.openxmlformats-officedocument.themeOverride+xml"/>
  <Override PartName="/ppt/theme/themeOverride948.xml" ContentType="application/vnd.openxmlformats-officedocument.themeOverride+xml"/>
  <Override PartName="/ppt/theme/themeOverride949.xml" ContentType="application/vnd.openxmlformats-officedocument.themeOverride+xml"/>
  <Override PartName="/ppt/theme/themeOverride95.xml" ContentType="application/vnd.openxmlformats-officedocument.themeOverride+xml"/>
  <Override PartName="/ppt/theme/themeOverride950.xml" ContentType="application/vnd.openxmlformats-officedocument.themeOverride+xml"/>
  <Override PartName="/ppt/theme/themeOverride951.xml" ContentType="application/vnd.openxmlformats-officedocument.themeOverride+xml"/>
  <Override PartName="/ppt/theme/themeOverride952.xml" ContentType="application/vnd.openxmlformats-officedocument.themeOverride+xml"/>
  <Override PartName="/ppt/theme/themeOverride953.xml" ContentType="application/vnd.openxmlformats-officedocument.themeOverride+xml"/>
  <Override PartName="/ppt/theme/themeOverride954.xml" ContentType="application/vnd.openxmlformats-officedocument.themeOverride+xml"/>
  <Override PartName="/ppt/theme/themeOverride955.xml" ContentType="application/vnd.openxmlformats-officedocument.themeOverride+xml"/>
  <Override PartName="/ppt/theme/themeOverride956.xml" ContentType="application/vnd.openxmlformats-officedocument.themeOverride+xml"/>
  <Override PartName="/ppt/theme/themeOverride957.xml" ContentType="application/vnd.openxmlformats-officedocument.themeOverride+xml"/>
  <Override PartName="/ppt/theme/themeOverride958.xml" ContentType="application/vnd.openxmlformats-officedocument.themeOverride+xml"/>
  <Override PartName="/ppt/theme/themeOverride959.xml" ContentType="application/vnd.openxmlformats-officedocument.themeOverride+xml"/>
  <Override PartName="/ppt/theme/themeOverride96.xml" ContentType="application/vnd.openxmlformats-officedocument.themeOverride+xml"/>
  <Override PartName="/ppt/theme/themeOverride960.xml" ContentType="application/vnd.openxmlformats-officedocument.themeOverride+xml"/>
  <Override PartName="/ppt/theme/themeOverride961.xml" ContentType="application/vnd.openxmlformats-officedocument.themeOverride+xml"/>
  <Override PartName="/ppt/theme/themeOverride962.xml" ContentType="application/vnd.openxmlformats-officedocument.themeOverride+xml"/>
  <Override PartName="/ppt/theme/themeOverride963.xml" ContentType="application/vnd.openxmlformats-officedocument.themeOverride+xml"/>
  <Override PartName="/ppt/theme/themeOverride964.xml" ContentType="application/vnd.openxmlformats-officedocument.themeOverride+xml"/>
  <Override PartName="/ppt/theme/themeOverride965.xml" ContentType="application/vnd.openxmlformats-officedocument.themeOverride+xml"/>
  <Override PartName="/ppt/theme/themeOverride966.xml" ContentType="application/vnd.openxmlformats-officedocument.themeOverride+xml"/>
  <Override PartName="/ppt/theme/themeOverride967.xml" ContentType="application/vnd.openxmlformats-officedocument.themeOverride+xml"/>
  <Override PartName="/ppt/theme/themeOverride968.xml" ContentType="application/vnd.openxmlformats-officedocument.themeOverride+xml"/>
  <Override PartName="/ppt/theme/themeOverride969.xml" ContentType="application/vnd.openxmlformats-officedocument.themeOverride+xml"/>
  <Override PartName="/ppt/theme/themeOverride97.xml" ContentType="application/vnd.openxmlformats-officedocument.themeOverride+xml"/>
  <Override PartName="/ppt/theme/themeOverride970.xml" ContentType="application/vnd.openxmlformats-officedocument.themeOverride+xml"/>
  <Override PartName="/ppt/theme/themeOverride971.xml" ContentType="application/vnd.openxmlformats-officedocument.themeOverride+xml"/>
  <Override PartName="/ppt/theme/themeOverride972.xml" ContentType="application/vnd.openxmlformats-officedocument.themeOverride+xml"/>
  <Override PartName="/ppt/theme/themeOverride973.xml" ContentType="application/vnd.openxmlformats-officedocument.themeOverride+xml"/>
  <Override PartName="/ppt/theme/themeOverride974.xml" ContentType="application/vnd.openxmlformats-officedocument.themeOverride+xml"/>
  <Override PartName="/ppt/theme/themeOverride975.xml" ContentType="application/vnd.openxmlformats-officedocument.themeOverride+xml"/>
  <Override PartName="/ppt/theme/themeOverride976.xml" ContentType="application/vnd.openxmlformats-officedocument.themeOverride+xml"/>
  <Override PartName="/ppt/theme/themeOverride977.xml" ContentType="application/vnd.openxmlformats-officedocument.themeOverride+xml"/>
  <Override PartName="/ppt/theme/themeOverride978.xml" ContentType="application/vnd.openxmlformats-officedocument.themeOverride+xml"/>
  <Override PartName="/ppt/theme/themeOverride979.xml" ContentType="application/vnd.openxmlformats-officedocument.themeOverride+xml"/>
  <Override PartName="/ppt/theme/themeOverride98.xml" ContentType="application/vnd.openxmlformats-officedocument.themeOverride+xml"/>
  <Override PartName="/ppt/theme/themeOverride980.xml" ContentType="application/vnd.openxmlformats-officedocument.themeOverride+xml"/>
  <Override PartName="/ppt/theme/themeOverride981.xml" ContentType="application/vnd.openxmlformats-officedocument.themeOverride+xml"/>
  <Override PartName="/ppt/theme/themeOverride982.xml" ContentType="application/vnd.openxmlformats-officedocument.themeOverride+xml"/>
  <Override PartName="/ppt/theme/themeOverride983.xml" ContentType="application/vnd.openxmlformats-officedocument.themeOverride+xml"/>
  <Override PartName="/ppt/theme/themeOverride984.xml" ContentType="application/vnd.openxmlformats-officedocument.themeOverride+xml"/>
  <Override PartName="/ppt/theme/themeOverride985.xml" ContentType="application/vnd.openxmlformats-officedocument.themeOverride+xml"/>
  <Override PartName="/ppt/theme/themeOverride986.xml" ContentType="application/vnd.openxmlformats-officedocument.themeOverride+xml"/>
  <Override PartName="/ppt/theme/themeOverride987.xml" ContentType="application/vnd.openxmlformats-officedocument.themeOverride+xml"/>
  <Override PartName="/ppt/theme/themeOverride988.xml" ContentType="application/vnd.openxmlformats-officedocument.themeOverride+xml"/>
  <Override PartName="/ppt/theme/themeOverride989.xml" ContentType="application/vnd.openxmlformats-officedocument.themeOverride+xml"/>
  <Override PartName="/ppt/theme/themeOverride99.xml" ContentType="application/vnd.openxmlformats-officedocument.themeOverride+xml"/>
  <Override PartName="/ppt/theme/themeOverride990.xml" ContentType="application/vnd.openxmlformats-officedocument.themeOverride+xml"/>
  <Override PartName="/ppt/theme/themeOverride991.xml" ContentType="application/vnd.openxmlformats-officedocument.themeOverride+xml"/>
  <Override PartName="/ppt/theme/themeOverride992.xml" ContentType="application/vnd.openxmlformats-officedocument.themeOverride+xml"/>
  <Override PartName="/ppt/theme/themeOverride993.xml" ContentType="application/vnd.openxmlformats-officedocument.themeOverride+xml"/>
  <Override PartName="/ppt/theme/themeOverride994.xml" ContentType="application/vnd.openxmlformats-officedocument.themeOverride+xml"/>
  <Override PartName="/ppt/theme/themeOverride995.xml" ContentType="application/vnd.openxmlformats-officedocument.themeOverride+xml"/>
  <Override PartName="/ppt/theme/themeOverride996.xml" ContentType="application/vnd.openxmlformats-officedocument.themeOverride+xml"/>
  <Override PartName="/ppt/theme/themeOverride997.xml" ContentType="application/vnd.openxmlformats-officedocument.themeOverride+xml"/>
  <Override PartName="/ppt/theme/themeOverride998.xml" ContentType="application/vnd.openxmlformats-officedocument.themeOverride+xml"/>
  <Override PartName="/ppt/theme/themeOverride99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278"/>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0F190460-579E-4795-A4C6-3847147B4D27}">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Lst>
        </p14:section>
        <p14:section name="Share And Growth By Manufacturer By Channel" id="{7817482A-6DBB-407F-9233-EAD2B79A94B9}">
          <p14:sldIdLst>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Lst>
        </p14:section>
        <p14:section name="Share And Growth By Brands By Channel" id="{832A95F6-3C1B-4689-AD34-B7F83C62E02F}">
          <p14:sldIdLst>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Lst>
        </p14:section>
        <p14:section name="Share And Growth By Manufacturer By Channel" id="{455D0128-1F47-4E17-9385-E40F549D4EF6}">
          <p14:sldIdLst>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Lst>
        </p14:section>
        <p14:section name="Share And Growth By Brands By Channel" id="{18F99B8D-2DA4-4DF2-B438-5DB69E8C82A3}">
          <p14:sldIdLst>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Lst>
        </p14:section>
        <p14:section name="Share And Growth By Manufacturer By Region" id="{1BF788C6-2D13-4E63-86F4-9E5CF8057C11}">
          <p14:sldIdLst>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Lst>
        </p14:section>
        <p14:section name="Share And Growth By Brands By Region" id="{273B5AB3-0C57-47A0-80D2-27F79E89140B}">
          <p14:sldIdLst>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Lst>
        </p14:section>
        <p14:section name="Share And Growth By Manufacturer By REVENUE" id="{4DB2BB06-AD20-4F73-8B3B-CE5BC0F89C68}">
          <p14:sldIdLst>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Lst>
        </p14:section>
        <p14:section name="Share And Growth By Brands By REVENUE" id="{03588E5D-66D9-46C7-9797-581FACC49679}">
          <p14:sldIdLst>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Lst>
        </p14:section>
        <p14:section name="Share And Growth By Manufacturer By Sector" id="{2E6C8622-7CE1-4436-B8C6-A7AE80B99762}">
          <p14:sldIdLst>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Lst>
        </p14:section>
        <p14:section name="Share And Growth By Brands By Sector" id="{88A2FE1F-17CA-49A2-AC33-20311FE902A6}">
          <p14:sldIdLst>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Lst>
        </p14:section>
        <p14:section name="Share And Growth By Manufacturer By Segment" id="{2FAA80D2-241E-4886-821D-54B1AF83EAE9}">
          <p14:sldIdLst>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Lst>
        </p14:section>
        <p14:section name="Share And Growth By Brands By Segment" id="{60BDF570-D39B-48C5-82D2-7809938D2D98}">
          <p14:sldIdLst>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Lst>
        </p14:section>
        <p14:section name="Sales and Growth By Sector" id="{64969F9B-B942-4E2A-81A4-E1779E1A796C}">
          <p14:sldIdLst>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Lst>
        </p14:section>
        <p14:section name="Sales and Growth By Segment" id="{C9389FBA-E754-4FB1-B3FE-CB803F06D1C4}">
          <p14:sldIdLst>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Lst>
        </p14:section>
        <p14:section name="Share and Growth By Category for Region For Channel" id="{520310B6-F1FA-4785-A855-5C232B85082C}">
          <p14:sldIdLst>
            <p14:sldId id="2147476302"/>
            <p14:sldId id="2147476303"/>
          </p14:sldIdLst>
        </p14:section>
        <p14:section name="Share and Growth By Sector for Region For Channel" id="{CCCF3847-45AF-4526-AB52-985439C5745D}">
          <p14:sldIdLst>
            <p14:sldId id="2147476304"/>
            <p14:sldId id="2147476305"/>
          </p14:sldIdLst>
        </p14:section>
        <p14:section name="Share and Growth By Segment for Region For Channel" id="{83413565-DEBC-424E-B606-955E9EDF8841}">
          <p14:sldIdLst>
            <p14:sldId id="2147476306"/>
            <p14:sldId id="2147476307"/>
            <p14:sldId id="2147476308"/>
            <p14:sldId id="2147476309"/>
            <p14:sldId id="2147476310"/>
            <p14:sldId id="2147476311"/>
            <p14:sldId id="2147476312"/>
            <p14:sldId id="2147476313"/>
          </p14:sldIdLst>
        </p14:section>
        <p14:section name="Share and Growth By Category for Channel For Channel" id="{B3AF5248-0C39-40B9-9429-E9BDA00B4219}">
          <p14:sldIdLst>
            <p14:sldId id="2147476314"/>
            <p14:sldId id="2147476315"/>
          </p14:sldIdLst>
        </p14:section>
        <p14:section name="Share and Growth By Sector for Channel For Channel" id="{C6EF88AF-FC60-4DEA-9AA8-6E8691940F3F}">
          <p14:sldIdLst>
            <p14:sldId id="2147476316"/>
            <p14:sldId id="2147476317"/>
          </p14:sldIdLst>
        </p14:section>
        <p14:section name="Share and Growth By Segment for Channel For Channel" id="{9E0BC190-CFDE-4966-9986-4960A9A3EE18}">
          <p14:sldIdLst>
            <p14:sldId id="2147476318"/>
            <p14:sldId id="2147476319"/>
            <p14:sldId id="2147476320"/>
            <p14:sldId id="2147476321"/>
            <p14:sldId id="2147476322"/>
            <p14:sldId id="2147476323"/>
            <p14:sldId id="2147476324"/>
            <p14:sldId id="2147476325"/>
          </p14:sldIdLst>
        </p14:section>
        <p14:section name="Share and Growth By Category for Channel For Region" id="{D02AC49D-3A7D-4358-BD3A-074E10CB6A2D}">
          <p14:sldIdLst>
            <p14:sldId id="2147476326"/>
            <p14:sldId id="2147476327"/>
          </p14:sldIdLst>
        </p14:section>
        <p14:section name="Share and Growth By Sector for Channel For Region" id="{8B566D95-382A-40F9-B02D-C7AB4A35CC7D}">
          <p14:sldIdLst>
            <p14:sldId id="2147476328"/>
            <p14:sldId id="2147476329"/>
          </p14:sldIdLst>
        </p14:section>
        <p14:section name="Share and Growth By Segment for Channel For Region" id="{A617F4D1-F801-4970-8920-676F88F25100}">
          <p14:sldIdLst>
            <p14:sldId id="2147476330"/>
            <p14:sldId id="2147476331"/>
            <p14:sldId id="2147476332"/>
            <p14:sldId id="2147476333"/>
            <p14:sldId id="2147476334"/>
            <p14:sldId id="2147476335"/>
            <p14:sldId id="2147476336"/>
            <p14:sldId id="2147476337"/>
          </p14:sldIdLst>
        </p14:section>
        <p14:section name="Share and Growth By Category for Channel For REVENUE" id="{ABD8E566-A92B-43DB-B5ED-51437A83102A}">
          <p14:sldIdLst>
            <p14:sldId id="2147476338"/>
            <p14:sldId id="2147476339"/>
          </p14:sldIdLst>
        </p14:section>
        <p14:section name="Share and Growth By Sector for Channel For REVENUE" id="{1AB10AC3-4389-4A07-9EC3-8D341D04A2A2}">
          <p14:sldIdLst>
            <p14:sldId id="2147476340"/>
            <p14:sldId id="2147476341"/>
          </p14:sldIdLst>
        </p14:section>
        <p14:section name="Share and Growth By Segment for Channel For REVENUE" id="{678F65B9-F922-42B2-87A1-56A85EDC1C2B}">
          <p14:sldIdLst>
            <p14:sldId id="2147476342"/>
            <p14:sldId id="2147476343"/>
            <p14:sldId id="2147476344"/>
            <p14:sldId id="2147476345"/>
            <p14:sldId id="2147476346"/>
            <p14:sldId id="2147476347"/>
            <p14:sldId id="2147476348"/>
            <p14:sldId id="2147476349"/>
          </p14:sldIdLst>
        </p14:section>
        <p14:section name="Momentum Analysis By Channels" id="{004C3E10-B3D1-441B-9A09-68AF7E028DD3}">
          <p14:sldIdLst>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Lst>
        </p14:section>
        <p14:section name="Momentum Analysis By Regions" id="{399DEB7A-EF10-4411-AF2E-580BAD966629}">
          <p14:sldIdLst>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Lst>
        </p14:section>
        <p14:section name="Momentum Analysis By REVENUE" id="{20650D0F-593A-4947-91D4-627AE3CA6424}">
          <p14:sldIdLst>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Lst>
        </p14:section>
        <p14:section name="Momentum Analysis By Channels By Segments" id="{76A948FB-C533-438B-B08A-9785C437A526}">
          <p14:sldIdLst>
            <p14:sldId id="2147476410"/>
            <p14:sldId id="2147476411"/>
          </p14:sldIdLst>
        </p14:section>
        <p14:section name="Momentum Analysis By Regions By Segments" id="{8515D1F2-052A-46FE-9708-0A91B9D1411A}">
          <p14:sldIdLst>
            <p14:sldId id="2147476412"/>
          </p14:sldIdLst>
        </p14:section>
        <p14:section name="Momentum Analysis By REVENUE By Segments" id="{3D451BAB-74FC-458B-8B5A-D79D8A1D7D93}">
          <p14:sldIdLst>
            <p14:sldId id="2147476413"/>
          </p14:sldIdLst>
        </p14:section>
        <p14:section name="Momentum Analysis By Sectors" id="{091E4486-2563-42BB-82E3-DC059E33265C}">
          <p14:sldIdLst>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slide" Target="slides/slide1189.xml"/><Relationship Id="rId1194" Type="http://schemas.openxmlformats.org/officeDocument/2006/relationships/slide" Target="slides/slide1190.xml"/><Relationship Id="rId1195" Type="http://schemas.openxmlformats.org/officeDocument/2006/relationships/slide" Target="slides/slide1191.xml"/><Relationship Id="rId1196" Type="http://schemas.openxmlformats.org/officeDocument/2006/relationships/slide" Target="slides/slide1192.xml"/><Relationship Id="rId1197" Type="http://schemas.openxmlformats.org/officeDocument/2006/relationships/slide" Target="slides/slide1193.xml"/><Relationship Id="rId1198" Type="http://schemas.openxmlformats.org/officeDocument/2006/relationships/slide" Target="slides/slide1194.xml"/><Relationship Id="rId1199" Type="http://schemas.openxmlformats.org/officeDocument/2006/relationships/slide" Target="slides/slide1195.xml"/><Relationship Id="rId1200" Type="http://schemas.openxmlformats.org/officeDocument/2006/relationships/slide" Target="slides/slide1196.xml"/><Relationship Id="rId1201" Type="http://schemas.openxmlformats.org/officeDocument/2006/relationships/slide" Target="slides/slide1197.xml"/><Relationship Id="rId1202" Type="http://schemas.openxmlformats.org/officeDocument/2006/relationships/slide" Target="slides/slide1198.xml"/><Relationship Id="rId1203" Type="http://schemas.openxmlformats.org/officeDocument/2006/relationships/slide" Target="slides/slide1199.xml"/><Relationship Id="rId1204" Type="http://schemas.openxmlformats.org/officeDocument/2006/relationships/slide" Target="slides/slide1200.xml"/><Relationship Id="rId1205" Type="http://schemas.openxmlformats.org/officeDocument/2006/relationships/slide" Target="slides/slide1201.xml"/><Relationship Id="rId1206" Type="http://schemas.openxmlformats.org/officeDocument/2006/relationships/slide" Target="slides/slide1202.xml"/><Relationship Id="rId1207" Type="http://schemas.openxmlformats.org/officeDocument/2006/relationships/slide" Target="slides/slide1203.xml"/><Relationship Id="rId1208" Type="http://schemas.openxmlformats.org/officeDocument/2006/relationships/slide" Target="slides/slide1204.xml"/><Relationship Id="rId1209" Type="http://schemas.openxmlformats.org/officeDocument/2006/relationships/slide" Target="slides/slide1205.xml"/><Relationship Id="rId1210" Type="http://schemas.openxmlformats.org/officeDocument/2006/relationships/slide" Target="slides/slide1206.xml"/><Relationship Id="rId1211" Type="http://schemas.openxmlformats.org/officeDocument/2006/relationships/slide" Target="slides/slide1207.xml"/><Relationship Id="rId1212" Type="http://schemas.openxmlformats.org/officeDocument/2006/relationships/slide" Target="slides/slide1208.xml"/><Relationship Id="rId1213" Type="http://schemas.openxmlformats.org/officeDocument/2006/relationships/slide" Target="slides/slide1209.xml"/><Relationship Id="rId1214" Type="http://schemas.openxmlformats.org/officeDocument/2006/relationships/slide" Target="slides/slide1210.xml"/><Relationship Id="rId1215" Type="http://schemas.openxmlformats.org/officeDocument/2006/relationships/slide" Target="slides/slide1211.xml"/><Relationship Id="rId1216" Type="http://schemas.openxmlformats.org/officeDocument/2006/relationships/slide" Target="slides/slide1212.xml"/><Relationship Id="rId1217" Type="http://schemas.openxmlformats.org/officeDocument/2006/relationships/slide" Target="slides/slide1213.xml"/><Relationship Id="rId1218" Type="http://schemas.openxmlformats.org/officeDocument/2006/relationships/slide" Target="slides/slide1214.xml"/><Relationship Id="rId1219" Type="http://schemas.openxmlformats.org/officeDocument/2006/relationships/slide" Target="slides/slide1215.xml"/><Relationship Id="rId1220" Type="http://schemas.openxmlformats.org/officeDocument/2006/relationships/slide" Target="slides/slide1216.xml"/><Relationship Id="rId1221" Type="http://schemas.openxmlformats.org/officeDocument/2006/relationships/slide" Target="slides/slide1217.xml"/><Relationship Id="rId1222" Type="http://schemas.openxmlformats.org/officeDocument/2006/relationships/slide" Target="slides/slide1218.xml"/><Relationship Id="rId1223" Type="http://schemas.openxmlformats.org/officeDocument/2006/relationships/slide" Target="slides/slide1219.xml"/><Relationship Id="rId1224" Type="http://schemas.openxmlformats.org/officeDocument/2006/relationships/slide" Target="slides/slide1220.xml"/><Relationship Id="rId1225" Type="http://schemas.openxmlformats.org/officeDocument/2006/relationships/slide" Target="slides/slide1221.xml"/><Relationship Id="rId1226" Type="http://schemas.openxmlformats.org/officeDocument/2006/relationships/slide" Target="slides/slide1222.xml"/><Relationship Id="rId1227" Type="http://schemas.openxmlformats.org/officeDocument/2006/relationships/slide" Target="slides/slide1223.xml"/><Relationship Id="rId1228" Type="http://schemas.openxmlformats.org/officeDocument/2006/relationships/slide" Target="slides/slide1224.xml"/><Relationship Id="rId1229" Type="http://schemas.openxmlformats.org/officeDocument/2006/relationships/slide" Target="slides/slide1225.xml"/><Relationship Id="rId1230" Type="http://schemas.openxmlformats.org/officeDocument/2006/relationships/slide" Target="slides/slide1226.xml"/><Relationship Id="rId1231" Type="http://schemas.openxmlformats.org/officeDocument/2006/relationships/slide" Target="slides/slide1227.xml"/><Relationship Id="rId1232" Type="http://schemas.openxmlformats.org/officeDocument/2006/relationships/slide" Target="slides/slide1228.xml"/><Relationship Id="rId1233" Type="http://schemas.openxmlformats.org/officeDocument/2006/relationships/slide" Target="slides/slide1229.xml"/><Relationship Id="rId1234" Type="http://schemas.openxmlformats.org/officeDocument/2006/relationships/slide" Target="slides/slide1230.xml"/><Relationship Id="rId1235" Type="http://schemas.openxmlformats.org/officeDocument/2006/relationships/slide" Target="slides/slide1231.xml"/><Relationship Id="rId1236" Type="http://schemas.openxmlformats.org/officeDocument/2006/relationships/slide" Target="slides/slide1232.xml"/><Relationship Id="rId1237" Type="http://schemas.openxmlformats.org/officeDocument/2006/relationships/slide" Target="slides/slide1233.xml"/><Relationship Id="rId1238" Type="http://schemas.openxmlformats.org/officeDocument/2006/relationships/slide" Target="slides/slide1234.xml"/><Relationship Id="rId1239" Type="http://schemas.openxmlformats.org/officeDocument/2006/relationships/slide" Target="slides/slide1235.xml"/><Relationship Id="rId1240" Type="http://schemas.openxmlformats.org/officeDocument/2006/relationships/slide" Target="slides/slide1236.xml"/><Relationship Id="rId1241" Type="http://schemas.openxmlformats.org/officeDocument/2006/relationships/slide" Target="slides/slide1237.xml"/><Relationship Id="rId1242" Type="http://schemas.openxmlformats.org/officeDocument/2006/relationships/slide" Target="slides/slide1238.xml"/><Relationship Id="rId1243" Type="http://schemas.openxmlformats.org/officeDocument/2006/relationships/slide" Target="slides/slide1239.xml"/><Relationship Id="rId1244" Type="http://schemas.openxmlformats.org/officeDocument/2006/relationships/slide" Target="slides/slide1240.xml"/><Relationship Id="rId1245" Type="http://schemas.openxmlformats.org/officeDocument/2006/relationships/slide" Target="slides/slide1241.xml"/><Relationship Id="rId1246" Type="http://schemas.openxmlformats.org/officeDocument/2006/relationships/slide" Target="slides/slide1242.xml"/><Relationship Id="rId1247" Type="http://schemas.openxmlformats.org/officeDocument/2006/relationships/slide" Target="slides/slide1243.xml"/><Relationship Id="rId1248" Type="http://schemas.openxmlformats.org/officeDocument/2006/relationships/slide" Target="slides/slide1244.xml"/><Relationship Id="rId1249" Type="http://schemas.openxmlformats.org/officeDocument/2006/relationships/slide" Target="slides/slide1245.xml"/><Relationship Id="rId1250" Type="http://schemas.openxmlformats.org/officeDocument/2006/relationships/slide" Target="slides/slide1246.xml"/><Relationship Id="rId1251" Type="http://schemas.openxmlformats.org/officeDocument/2006/relationships/slide" Target="slides/slide1247.xml"/><Relationship Id="rId1252" Type="http://schemas.openxmlformats.org/officeDocument/2006/relationships/slide" Target="slides/slide1248.xml"/><Relationship Id="rId1253" Type="http://schemas.openxmlformats.org/officeDocument/2006/relationships/slide" Target="slides/slide1249.xml"/><Relationship Id="rId1254" Type="http://schemas.openxmlformats.org/officeDocument/2006/relationships/slide" Target="slides/slide1250.xml"/><Relationship Id="rId1255" Type="http://schemas.openxmlformats.org/officeDocument/2006/relationships/slide" Target="slides/slide1251.xml"/><Relationship Id="rId1256" Type="http://schemas.openxmlformats.org/officeDocument/2006/relationships/slide" Target="slides/slide1252.xml"/><Relationship Id="rId1257" Type="http://schemas.openxmlformats.org/officeDocument/2006/relationships/slide" Target="slides/slide1253.xml"/><Relationship Id="rId1258" Type="http://schemas.openxmlformats.org/officeDocument/2006/relationships/slide" Target="slides/slide1254.xml"/><Relationship Id="rId1259" Type="http://schemas.openxmlformats.org/officeDocument/2006/relationships/slide" Target="slides/slide1255.xml"/><Relationship Id="rId1260" Type="http://schemas.openxmlformats.org/officeDocument/2006/relationships/slide" Target="slides/slide1256.xml"/><Relationship Id="rId1261" Type="http://schemas.openxmlformats.org/officeDocument/2006/relationships/slide" Target="slides/slide1257.xml"/><Relationship Id="rId1262" Type="http://schemas.openxmlformats.org/officeDocument/2006/relationships/slide" Target="slides/slide1258.xml"/><Relationship Id="rId1263" Type="http://schemas.openxmlformats.org/officeDocument/2006/relationships/slide" Target="slides/slide1259.xml"/><Relationship Id="rId1264" Type="http://schemas.openxmlformats.org/officeDocument/2006/relationships/slide" Target="slides/slide1260.xml"/><Relationship Id="rId1265" Type="http://schemas.openxmlformats.org/officeDocument/2006/relationships/slide" Target="slides/slide1261.xml"/><Relationship Id="rId1266" Type="http://schemas.openxmlformats.org/officeDocument/2006/relationships/slide" Target="slides/slide1262.xml"/><Relationship Id="rId1267" Type="http://schemas.openxmlformats.org/officeDocument/2006/relationships/slide" Target="slides/slide1263.xml"/><Relationship Id="rId1268" Type="http://schemas.openxmlformats.org/officeDocument/2006/relationships/slide" Target="slides/slide1264.xml"/><Relationship Id="rId1269" Type="http://schemas.openxmlformats.org/officeDocument/2006/relationships/slide" Target="slides/slide1265.xml"/><Relationship Id="rId1270" Type="http://schemas.openxmlformats.org/officeDocument/2006/relationships/slide" Target="slides/slide1266.xml"/><Relationship Id="rId1271" Type="http://schemas.openxmlformats.org/officeDocument/2006/relationships/slide" Target="slides/slide1267.xml"/><Relationship Id="rId1272" Type="http://schemas.openxmlformats.org/officeDocument/2006/relationships/slide" Target="slides/slide1268.xml"/><Relationship Id="rId1273" Type="http://schemas.openxmlformats.org/officeDocument/2006/relationships/slide" Target="slides/slide1269.xml"/><Relationship Id="rId1274" Type="http://schemas.openxmlformats.org/officeDocument/2006/relationships/slide" Target="slides/slide1270.xml"/><Relationship Id="rId1275" Type="http://schemas.openxmlformats.org/officeDocument/2006/relationships/slide" Target="slides/slide1271.xml"/><Relationship Id="rId1276" Type="http://schemas.openxmlformats.org/officeDocument/2006/relationships/slide" Target="slides/slide1272.xml"/><Relationship Id="rId1277" Type="http://schemas.openxmlformats.org/officeDocument/2006/relationships/slide" Target="slides/slide1273.xml"/><Relationship Id="rId1278" Type="http://schemas.openxmlformats.org/officeDocument/2006/relationships/notesMaster" Target="notesMasters/notesMaster1.xml"/><Relationship Id="rId1279" Type="http://schemas.openxmlformats.org/officeDocument/2006/relationships/presProps" Target="presProps.xml"/><Relationship Id="rId1280" Type="http://schemas.openxmlformats.org/officeDocument/2006/relationships/viewProps" Target="viewProps.xml"/><Relationship Id="rId1281" Type="http://schemas.openxmlformats.org/officeDocument/2006/relationships/theme" Target="theme/theme1.xml"/><Relationship Id="rId1282" Type="http://schemas.openxmlformats.org/officeDocument/2006/relationships/tableStyles" Target="tableStyles.xml"/><Relationship Id="rId1283" Type="http://schemas.microsoft.com/office/2018/10/relationships/authors" Target="authors.xml"/></Relationships>
</file>

<file path=ppt/charts/_rels/chart10.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themeOverride" Target="../theme/themeOverride100.xml"/><Relationship Id="rId2" Type="http://schemas.openxmlformats.org/officeDocument/2006/relationships/package" Target="../embeddings/Microsoft_Excel_Worksheet99.xlsx"/></Relationships>
</file>

<file path=ppt/charts/_rels/chart1001.xml.rels><?xml version='1.0' encoding='UTF-8' standalone='yes'?>
<Relationships xmlns="http://schemas.openxmlformats.org/package/2006/relationships"><Relationship Id="rId1" Type="http://schemas.openxmlformats.org/officeDocument/2006/relationships/themeOverride" Target="../theme/themeOverride1001.xml"/><Relationship Id="rId2"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themeOverride" Target="../theme/themeOverride1002.xml"/><Relationship Id="rId2"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themeOverride" Target="../theme/themeOverride1003.xml"/><Relationship Id="rId2"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themeOverride" Target="../theme/themeOverride1004.xml"/><Relationship Id="rId2"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themeOverride" Target="../theme/themeOverride1005.xml"/><Relationship Id="rId2" Type="http://schemas.openxmlformats.org/officeDocument/2006/relationships/package" Target="../embeddings/Microsoft_Excel_Worksheet1004.xlsx"/></Relationships>
</file>

<file path=ppt/charts/_rels/chart1056.xml.rels><?xml version='1.0' encoding='UTF-8' standalone='yes'?>
<Relationships xmlns="http://schemas.openxmlformats.org/package/2006/relationships"><Relationship Id="rId1" Type="http://schemas.openxmlformats.org/officeDocument/2006/relationships/themeOverride" Target="../theme/themeOverride1056.xml"/><Relationship Id="rId2"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themeOverride" Target="../theme/themeOverride1057.xml"/><Relationship Id="rId2"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themeOverride" Target="../theme/themeOverride1058.xml"/><Relationship Id="rId2"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themeOverride" Target="../theme/themeOverride1059.xml"/><Relationship Id="rId2" Type="http://schemas.openxmlformats.org/officeDocument/2006/relationships/package" Target="../embeddings/Microsoft_Excel_Worksheet1058.xlsx"/></Relationships>
</file>

<file path=ppt/charts/_rels/chart1060.xml.rels><?xml version='1.0' encoding='UTF-8' standalone='yes'?>
<Relationships xmlns="http://schemas.openxmlformats.org/package/2006/relationships"><Relationship Id="rId1" Type="http://schemas.openxmlformats.org/officeDocument/2006/relationships/themeOverride" Target="../theme/themeOverride1060.xml"/><Relationship Id="rId2"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themeOverride" Target="../theme/themeOverride1061.xml"/><Relationship Id="rId2"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themeOverride" Target="../theme/themeOverride1062.xml"/><Relationship Id="rId2"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themeOverride" Target="../theme/themeOverride1063.xml"/><Relationship Id="rId2"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themeOverride" Target="../theme/themeOverride1064.xml"/><Relationship Id="rId2"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themeOverride" Target="../theme/themeOverride1065.xml"/><Relationship Id="rId2" Type="http://schemas.openxmlformats.org/officeDocument/2006/relationships/package" Target="../embeddings/Microsoft_Excel_Worksheet1064.xlsx"/></Relationships>
</file>

<file path=ppt/charts/_rels/chart1091.xml.rels><?xml version='1.0' encoding='UTF-8' standalone='yes'?>
<Relationships xmlns="http://schemas.openxmlformats.org/package/2006/relationships"><Relationship Id="rId1" Type="http://schemas.openxmlformats.org/officeDocument/2006/relationships/themeOverride" Target="../theme/themeOverride1091.xml"/><Relationship Id="rId2"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themeOverride" Target="../theme/themeOverride1092.xml"/><Relationship Id="rId2"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themeOverride" Target="../theme/themeOverride1093.xml"/><Relationship Id="rId2"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themeOverride" Target="../theme/themeOverride1094.xml"/><Relationship Id="rId2"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themeOverride" Target="../theme/themeOverride1095.xml"/><Relationship Id="rId2" Type="http://schemas.openxmlformats.org/officeDocument/2006/relationships/package" Target="../embeddings/Microsoft_Excel_Worksheet1094.xlsx"/></Relationships>
</file>

<file path=ppt/charts/_rels/chart11.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10.xlsx"/></Relationships>
</file>

<file path=ppt/charts/_rels/chart1111.xml.rels><?xml version='1.0' encoding='UTF-8' standalone='yes'?>
<Relationships xmlns="http://schemas.openxmlformats.org/package/2006/relationships"><Relationship Id="rId1" Type="http://schemas.openxmlformats.org/officeDocument/2006/relationships/themeOverride" Target="../theme/themeOverride1111.xml"/><Relationship Id="rId2"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themeOverride" Target="../theme/themeOverride1112.xml"/><Relationship Id="rId2"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themeOverride" Target="../theme/themeOverride1113.xml"/><Relationship Id="rId2"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themeOverride" Target="../theme/themeOverride1114.xml"/><Relationship Id="rId2"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themeOverride" Target="../theme/themeOverride1115.xml"/><Relationship Id="rId2" Type="http://schemas.openxmlformats.org/officeDocument/2006/relationships/package" Target="../embeddings/Microsoft_Excel_Worksheet1114.xlsx"/></Relationships>
</file>

<file path=ppt/charts/_rels/chart1126.xml.rels><?xml version='1.0' encoding='UTF-8' standalone='yes'?>
<Relationships xmlns="http://schemas.openxmlformats.org/package/2006/relationships"><Relationship Id="rId1" Type="http://schemas.openxmlformats.org/officeDocument/2006/relationships/themeOverride" Target="../theme/themeOverride1126.xml"/><Relationship Id="rId2"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themeOverride" Target="../theme/themeOverride1127.xml"/><Relationship Id="rId2"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themeOverride" Target="../theme/themeOverride1128.xml"/><Relationship Id="rId2"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themeOverride" Target="../theme/themeOverride1129.xml"/><Relationship Id="rId2" Type="http://schemas.openxmlformats.org/officeDocument/2006/relationships/package" Target="../embeddings/Microsoft_Excel_Worksheet1128.xlsx"/></Relationships>
</file>

<file path=ppt/charts/_rels/chart1130.xml.rels><?xml version='1.0' encoding='UTF-8' standalone='yes'?>
<Relationships xmlns="http://schemas.openxmlformats.org/package/2006/relationships"><Relationship Id="rId1" Type="http://schemas.openxmlformats.org/officeDocument/2006/relationships/themeOverride" Target="../theme/themeOverride1130.xml"/><Relationship Id="rId2" Type="http://schemas.openxmlformats.org/officeDocument/2006/relationships/package" Target="../embeddings/Microsoft_Excel_Worksheet1129.xlsx"/></Relationships>
</file>

<file path=ppt/charts/_rels/chart1166.xml.rels><?xml version='1.0' encoding='UTF-8' standalone='yes'?>
<Relationships xmlns="http://schemas.openxmlformats.org/package/2006/relationships"><Relationship Id="rId1" Type="http://schemas.openxmlformats.org/officeDocument/2006/relationships/themeOverride" Target="../theme/themeOverride1166.xml"/><Relationship Id="rId2" Type="http://schemas.openxmlformats.org/officeDocument/2006/relationships/package" Target="../embeddings/Microsoft_Excel_Worksheet1165.xlsx"/></Relationships>
</file>

<file path=ppt/charts/_rels/chart1167.xml.rels><?xml version='1.0' encoding='UTF-8' standalone='yes'?>
<Relationships xmlns="http://schemas.openxmlformats.org/package/2006/relationships"><Relationship Id="rId1" Type="http://schemas.openxmlformats.org/officeDocument/2006/relationships/themeOverride" Target="../theme/themeOverride1167.xml"/><Relationship Id="rId2" Type="http://schemas.openxmlformats.org/officeDocument/2006/relationships/package" Target="../embeddings/Microsoft_Excel_Worksheet1166.xlsx"/></Relationships>
</file>

<file path=ppt/charts/_rels/chart1168.xml.rels><?xml version='1.0' encoding='UTF-8' standalone='yes'?>
<Relationships xmlns="http://schemas.openxmlformats.org/package/2006/relationships"><Relationship Id="rId1" Type="http://schemas.openxmlformats.org/officeDocument/2006/relationships/themeOverride" Target="../theme/themeOverride1168.xml"/><Relationship Id="rId2" Type="http://schemas.openxmlformats.org/officeDocument/2006/relationships/package" Target="../embeddings/Microsoft_Excel_Worksheet1167.xlsx"/></Relationships>
</file>

<file path=ppt/charts/_rels/chart1169.xml.rels><?xml version='1.0' encoding='UTF-8' standalone='yes'?>
<Relationships xmlns="http://schemas.openxmlformats.org/package/2006/relationships"><Relationship Id="rId1" Type="http://schemas.openxmlformats.org/officeDocument/2006/relationships/themeOverride" Target="../theme/themeOverride1169.xml"/><Relationship Id="rId2" Type="http://schemas.openxmlformats.org/officeDocument/2006/relationships/package" Target="../embeddings/Microsoft_Excel_Worksheet1168.xlsx"/></Relationships>
</file>

<file path=ppt/charts/_rels/chart1170.xml.rels><?xml version='1.0' encoding='UTF-8' standalone='yes'?>
<Relationships xmlns="http://schemas.openxmlformats.org/package/2006/relationships"><Relationship Id="rId1" Type="http://schemas.openxmlformats.org/officeDocument/2006/relationships/themeOverride" Target="../theme/themeOverride1170.xml"/><Relationship Id="rId2" Type="http://schemas.openxmlformats.org/officeDocument/2006/relationships/package" Target="../embeddings/Microsoft_Excel_Worksheet1169.xlsx"/></Relationships>
</file>

<file path=ppt/charts/_rels/chart1171.xml.rels><?xml version='1.0' encoding='UTF-8' standalone='yes'?>
<Relationships xmlns="http://schemas.openxmlformats.org/package/2006/relationships"><Relationship Id="rId1" Type="http://schemas.openxmlformats.org/officeDocument/2006/relationships/themeOverride" Target="../theme/themeOverride1171.xml"/><Relationship Id="rId2" Type="http://schemas.openxmlformats.org/officeDocument/2006/relationships/package" Target="../embeddings/Microsoft_Excel_Worksheet1170.xlsx"/></Relationships>
</file>

<file path=ppt/charts/_rels/chart1172.xml.rels><?xml version='1.0' encoding='UTF-8' standalone='yes'?>
<Relationships xmlns="http://schemas.openxmlformats.org/package/2006/relationships"><Relationship Id="rId1" Type="http://schemas.openxmlformats.org/officeDocument/2006/relationships/themeOverride" Target="../theme/themeOverride1172.xml"/><Relationship Id="rId2" Type="http://schemas.openxmlformats.org/officeDocument/2006/relationships/package" Target="../embeddings/Microsoft_Excel_Worksheet1171.xlsx"/></Relationships>
</file>

<file path=ppt/charts/_rels/chart1173.xml.rels><?xml version='1.0' encoding='UTF-8' standalone='yes'?>
<Relationships xmlns="http://schemas.openxmlformats.org/package/2006/relationships"><Relationship Id="rId1" Type="http://schemas.openxmlformats.org/officeDocument/2006/relationships/themeOverride" Target="../theme/themeOverride1173.xml"/><Relationship Id="rId2"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themeOverride" Target="../theme/themeOverride1174.xml"/><Relationship Id="rId2"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themeOverride" Target="../theme/themeOverride1175.xml"/><Relationship Id="rId2"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themeOverride" Target="../theme/themeOverride1176.xml"/><Relationship Id="rId2" Type="http://schemas.openxmlformats.org/officeDocument/2006/relationships/package" Target="../embeddings/Microsoft_Excel_Worksheet1175.xlsx"/></Relationships>
</file>

<file path=ppt/charts/_rels/chart1177.xml.rels><?xml version='1.0' encoding='UTF-8' standalone='yes'?>
<Relationships xmlns="http://schemas.openxmlformats.org/package/2006/relationships"><Relationship Id="rId1" Type="http://schemas.openxmlformats.org/officeDocument/2006/relationships/themeOverride" Target="../theme/themeOverride1177.xml"/><Relationship Id="rId2" Type="http://schemas.openxmlformats.org/officeDocument/2006/relationships/package" Target="../embeddings/Microsoft_Excel_Worksheet1176.xlsx"/></Relationships>
</file>

<file path=ppt/charts/_rels/chart1178.xml.rels><?xml version='1.0' encoding='UTF-8' standalone='yes'?>
<Relationships xmlns="http://schemas.openxmlformats.org/package/2006/relationships"><Relationship Id="rId1" Type="http://schemas.openxmlformats.org/officeDocument/2006/relationships/themeOverride" Target="../theme/themeOverride1178.xml"/><Relationship Id="rId2" Type="http://schemas.openxmlformats.org/officeDocument/2006/relationships/package" Target="../embeddings/Microsoft_Excel_Worksheet1177.xlsx"/></Relationships>
</file>

<file path=ppt/charts/_rels/chart1179.xml.rels><?xml version='1.0' encoding='UTF-8' standalone='yes'?>
<Relationships xmlns="http://schemas.openxmlformats.org/package/2006/relationships"><Relationship Id="rId1" Type="http://schemas.openxmlformats.org/officeDocument/2006/relationships/themeOverride" Target="../theme/themeOverride1179.xml"/><Relationship Id="rId2" Type="http://schemas.openxmlformats.org/officeDocument/2006/relationships/package" Target="../embeddings/Microsoft_Excel_Worksheet1178.xlsx"/></Relationships>
</file>

<file path=ppt/charts/_rels/chart1180.xml.rels><?xml version='1.0' encoding='UTF-8' standalone='yes'?>
<Relationships xmlns="http://schemas.openxmlformats.org/package/2006/relationships"><Relationship Id="rId1" Type="http://schemas.openxmlformats.org/officeDocument/2006/relationships/themeOverride" Target="../theme/themeOverride1180.xml"/><Relationship Id="rId2" Type="http://schemas.openxmlformats.org/officeDocument/2006/relationships/package" Target="../embeddings/Microsoft_Excel_Worksheet1179.xlsx"/></Relationships>
</file>

<file path=ppt/charts/_rels/chart12.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11.xlsx"/></Relationships>
</file>

<file path=ppt/charts/_rels/chart1201.xml.rels><?xml version='1.0' encoding='UTF-8' standalone='yes'?>
<Relationships xmlns="http://schemas.openxmlformats.org/package/2006/relationships"><Relationship Id="rId1" Type="http://schemas.openxmlformats.org/officeDocument/2006/relationships/themeOverride" Target="../theme/themeOverride1201.xml"/><Relationship Id="rId2" Type="http://schemas.openxmlformats.org/officeDocument/2006/relationships/package" Target="../embeddings/Microsoft_Excel_Worksheet1200.xlsx"/></Relationships>
</file>

<file path=ppt/charts/_rels/chart1202.xml.rels><?xml version='1.0' encoding='UTF-8' standalone='yes'?>
<Relationships xmlns="http://schemas.openxmlformats.org/package/2006/relationships"><Relationship Id="rId1" Type="http://schemas.openxmlformats.org/officeDocument/2006/relationships/themeOverride" Target="../theme/themeOverride1202.xml"/><Relationship Id="rId2" Type="http://schemas.openxmlformats.org/officeDocument/2006/relationships/package" Target="../embeddings/Microsoft_Excel_Worksheet1201.xlsx"/></Relationships>
</file>

<file path=ppt/charts/_rels/chart1203.xml.rels><?xml version='1.0' encoding='UTF-8' standalone='yes'?>
<Relationships xmlns="http://schemas.openxmlformats.org/package/2006/relationships"><Relationship Id="rId1" Type="http://schemas.openxmlformats.org/officeDocument/2006/relationships/themeOverride" Target="../theme/themeOverride1203.xml"/><Relationship Id="rId2" Type="http://schemas.openxmlformats.org/officeDocument/2006/relationships/package" Target="../embeddings/Microsoft_Excel_Worksheet1202.xlsx"/></Relationships>
</file>

<file path=ppt/charts/_rels/chart1204.xml.rels><?xml version='1.0' encoding='UTF-8' standalone='yes'?>
<Relationships xmlns="http://schemas.openxmlformats.org/package/2006/relationships"><Relationship Id="rId1" Type="http://schemas.openxmlformats.org/officeDocument/2006/relationships/themeOverride" Target="../theme/themeOverride1204.xml"/><Relationship Id="rId2" Type="http://schemas.openxmlformats.org/officeDocument/2006/relationships/package" Target="../embeddings/Microsoft_Excel_Worksheet1203.xlsx"/></Relationships>
</file>

<file path=ppt/charts/_rels/chart1205.xml.rels><?xml version='1.0' encoding='UTF-8' standalone='yes'?>
<Relationships xmlns="http://schemas.openxmlformats.org/package/2006/relationships"><Relationship Id="rId1" Type="http://schemas.openxmlformats.org/officeDocument/2006/relationships/themeOverride" Target="../theme/themeOverride1205.xml"/><Relationship Id="rId2" Type="http://schemas.openxmlformats.org/officeDocument/2006/relationships/package" Target="../embeddings/Microsoft_Excel_Worksheet1204.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121.xml"/><Relationship Id="rId2"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themeOverride" Target="../theme/themeOverride122.xml"/><Relationship Id="rId2" Type="http://schemas.openxmlformats.org/officeDocument/2006/relationships/package" Target="../embeddings/Microsoft_Excel_Worksheet121.xlsx"/></Relationships>
</file>

<file path=ppt/charts/_rels/chart1221.xml.rels><?xml version='1.0' encoding='UTF-8' standalone='yes'?>
<Relationships xmlns="http://schemas.openxmlformats.org/package/2006/relationships"><Relationship Id="rId1" Type="http://schemas.openxmlformats.org/officeDocument/2006/relationships/themeOverride" Target="../theme/themeOverride1221.xml"/><Relationship Id="rId2" Type="http://schemas.openxmlformats.org/officeDocument/2006/relationships/package" Target="../embeddings/Microsoft_Excel_Worksheet1220.xlsx"/></Relationships>
</file>

<file path=ppt/charts/_rels/chart1222.xml.rels><?xml version='1.0' encoding='UTF-8' standalone='yes'?>
<Relationships xmlns="http://schemas.openxmlformats.org/package/2006/relationships"><Relationship Id="rId1" Type="http://schemas.openxmlformats.org/officeDocument/2006/relationships/themeOverride" Target="../theme/themeOverride1222.xml"/><Relationship Id="rId2" Type="http://schemas.openxmlformats.org/officeDocument/2006/relationships/package" Target="../embeddings/Microsoft_Excel_Worksheet1221.xlsx"/></Relationships>
</file>

<file path=ppt/charts/_rels/chart1223.xml.rels><?xml version='1.0' encoding='UTF-8' standalone='yes'?>
<Relationships xmlns="http://schemas.openxmlformats.org/package/2006/relationships"><Relationship Id="rId1" Type="http://schemas.openxmlformats.org/officeDocument/2006/relationships/themeOverride" Target="../theme/themeOverride1223.xml"/><Relationship Id="rId2"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themeOverride" Target="../theme/themeOverride1224.xml"/><Relationship Id="rId2"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themeOverride" Target="../theme/themeOverride1225.xml"/><Relationship Id="rId2" Type="http://schemas.openxmlformats.org/officeDocument/2006/relationships/package" Target="../embeddings/Microsoft_Excel_Worksheet1224.xlsx"/></Relationships>
</file>

<file path=ppt/charts/_rels/chart123.xml.rels><?xml version='1.0' encoding='UTF-8' standalone='yes'?>
<Relationships xmlns="http://schemas.openxmlformats.org/package/2006/relationships"><Relationship Id="rId1" Type="http://schemas.openxmlformats.org/officeDocument/2006/relationships/themeOverride" Target="../theme/themeOverride123.xml"/><Relationship Id="rId2" Type="http://schemas.openxmlformats.org/officeDocument/2006/relationships/package" Target="../embeddings/Microsoft_Excel_Worksheet122.xlsx"/></Relationships>
</file>

<file path=ppt/charts/_rels/chart1236.xml.rels><?xml version='1.0' encoding='UTF-8' standalone='yes'?>
<Relationships xmlns="http://schemas.openxmlformats.org/package/2006/relationships"><Relationship Id="rId1" Type="http://schemas.openxmlformats.org/officeDocument/2006/relationships/themeOverride" Target="../theme/themeOverride1236.xml"/><Relationship Id="rId2" Type="http://schemas.openxmlformats.org/officeDocument/2006/relationships/package" Target="../embeddings/Microsoft_Excel_Worksheet1235.xlsx"/></Relationships>
</file>

<file path=ppt/charts/_rels/chart1237.xml.rels><?xml version='1.0' encoding='UTF-8' standalone='yes'?>
<Relationships xmlns="http://schemas.openxmlformats.org/package/2006/relationships"><Relationship Id="rId1" Type="http://schemas.openxmlformats.org/officeDocument/2006/relationships/themeOverride" Target="../theme/themeOverride1237.xml"/><Relationship Id="rId2"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themeOverride" Target="../theme/themeOverride1238.xml"/><Relationship Id="rId2"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themeOverride" Target="../theme/themeOverride1239.xml"/><Relationship Id="rId2" Type="http://schemas.openxmlformats.org/officeDocument/2006/relationships/package" Target="../embeddings/Microsoft_Excel_Worksheet1238.xlsx"/></Relationships>
</file>

<file path=ppt/charts/_rels/chart124.xml.rels><?xml version='1.0' encoding='UTF-8' standalone='yes'?>
<Relationships xmlns="http://schemas.openxmlformats.org/package/2006/relationships"><Relationship Id="rId1" Type="http://schemas.openxmlformats.org/officeDocument/2006/relationships/themeOverride" Target="../theme/themeOverride124.xml"/><Relationship Id="rId2" Type="http://schemas.openxmlformats.org/officeDocument/2006/relationships/package" Target="../embeddings/Microsoft_Excel_Worksheet123.xlsx"/></Relationships>
</file>

<file path=ppt/charts/_rels/chart1240.xml.rels><?xml version='1.0' encoding='UTF-8' standalone='yes'?>
<Relationships xmlns="http://schemas.openxmlformats.org/package/2006/relationships"><Relationship Id="rId1" Type="http://schemas.openxmlformats.org/officeDocument/2006/relationships/themeOverride" Target="../theme/themeOverride1240.xml"/><Relationship Id="rId2" Type="http://schemas.openxmlformats.org/officeDocument/2006/relationships/package" Target="../embeddings/Microsoft_Excel_Worksheet1239.xlsx"/></Relationships>
</file>

<file path=ppt/charts/_rels/chart125.xml.rels><?xml version='1.0' encoding='UTF-8' standalone='yes'?>
<Relationships xmlns="http://schemas.openxmlformats.org/package/2006/relationships"><Relationship Id="rId1" Type="http://schemas.openxmlformats.org/officeDocument/2006/relationships/themeOverride" Target="../theme/themeOverride125.xml"/><Relationship Id="rId2" Type="http://schemas.openxmlformats.org/officeDocument/2006/relationships/package" Target="../embeddings/Microsoft_Excel_Worksheet124.xlsx"/></Relationships>
</file>

<file path=ppt/charts/_rels/chart13.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12.xlsx"/></Relationships>
</file>

<file path=ppt/charts/_rels/chart1311.xml.rels><?xml version='1.0' encoding='UTF-8' standalone='yes'?>
<Relationships xmlns="http://schemas.openxmlformats.org/package/2006/relationships"><Relationship Id="rId1" Type="http://schemas.openxmlformats.org/officeDocument/2006/relationships/themeOverride" Target="../theme/themeOverride1311.xml"/><Relationship Id="rId2" Type="http://schemas.openxmlformats.org/officeDocument/2006/relationships/package" Target="../embeddings/Microsoft_Excel_Worksheet1310.xlsx"/></Relationships>
</file>

<file path=ppt/charts/_rels/chart1312.xml.rels><?xml version='1.0' encoding='UTF-8' standalone='yes'?>
<Relationships xmlns="http://schemas.openxmlformats.org/package/2006/relationships"><Relationship Id="rId1" Type="http://schemas.openxmlformats.org/officeDocument/2006/relationships/themeOverride" Target="../theme/themeOverride1312.xml"/><Relationship Id="rId2" Type="http://schemas.openxmlformats.org/officeDocument/2006/relationships/package" Target="../embeddings/Microsoft_Excel_Worksheet1311.xlsx"/></Relationships>
</file>

<file path=ppt/charts/_rels/chart1313.xml.rels><?xml version='1.0' encoding='UTF-8' standalone='yes'?>
<Relationships xmlns="http://schemas.openxmlformats.org/package/2006/relationships"><Relationship Id="rId1" Type="http://schemas.openxmlformats.org/officeDocument/2006/relationships/themeOverride" Target="../theme/themeOverride1313.xml"/><Relationship Id="rId2"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openxmlformats.org/officeDocument/2006/relationships/themeOverride" Target="../theme/themeOverride1314.xml"/><Relationship Id="rId2" Type="http://schemas.openxmlformats.org/officeDocument/2006/relationships/package" Target="../embeddings/Microsoft_Excel_Worksheet1313.xlsx"/></Relationships>
</file>

<file path=ppt/charts/_rels/chart1315.xml.rels><?xml version='1.0' encoding='UTF-8' standalone='yes'?>
<Relationships xmlns="http://schemas.openxmlformats.org/package/2006/relationships"><Relationship Id="rId1" Type="http://schemas.openxmlformats.org/officeDocument/2006/relationships/themeOverride" Target="../theme/themeOverride1315.xml"/><Relationship Id="rId2" Type="http://schemas.openxmlformats.org/officeDocument/2006/relationships/package" Target="../embeddings/Microsoft_Excel_Worksheet1314.xlsx"/></Relationships>
</file>

<file path=ppt/charts/_rels/chart1316.xml.rels><?xml version='1.0' encoding='UTF-8' standalone='yes'?>
<Relationships xmlns="http://schemas.openxmlformats.org/package/2006/relationships"><Relationship Id="rId1" Type="http://schemas.openxmlformats.org/officeDocument/2006/relationships/themeOverride" Target="../theme/themeOverride1316.xml"/><Relationship Id="rId2" Type="http://schemas.openxmlformats.org/officeDocument/2006/relationships/package" Target="../embeddings/Microsoft_Excel_Worksheet1315.xlsx"/></Relationships>
</file>

<file path=ppt/charts/_rels/chart1317.xml.rels><?xml version='1.0' encoding='UTF-8' standalone='yes'?>
<Relationships xmlns="http://schemas.openxmlformats.org/package/2006/relationships"><Relationship Id="rId1" Type="http://schemas.openxmlformats.org/officeDocument/2006/relationships/themeOverride" Target="../theme/themeOverride1317.xml"/><Relationship Id="rId2" Type="http://schemas.openxmlformats.org/officeDocument/2006/relationships/package" Target="../embeddings/Microsoft_Excel_Worksheet1316.xlsx"/></Relationships>
</file>

<file path=ppt/charts/_rels/chart1318.xml.rels><?xml version='1.0' encoding='UTF-8' standalone='yes'?>
<Relationships xmlns="http://schemas.openxmlformats.org/package/2006/relationships"><Relationship Id="rId1" Type="http://schemas.openxmlformats.org/officeDocument/2006/relationships/themeOverride" Target="../theme/themeOverride1318.xml"/><Relationship Id="rId2" Type="http://schemas.openxmlformats.org/officeDocument/2006/relationships/package" Target="../embeddings/Microsoft_Excel_Worksheet1317.xlsx"/></Relationships>
</file>

<file path=ppt/charts/_rels/chart1319.xml.rels><?xml version='1.0' encoding='UTF-8' standalone='yes'?>
<Relationships xmlns="http://schemas.openxmlformats.org/package/2006/relationships"><Relationship Id="rId1" Type="http://schemas.openxmlformats.org/officeDocument/2006/relationships/themeOverride" Target="../theme/themeOverride1319.xml"/><Relationship Id="rId2" Type="http://schemas.openxmlformats.org/officeDocument/2006/relationships/package" Target="../embeddings/Microsoft_Excel_Worksheet1318.xlsx"/></Relationships>
</file>

<file path=ppt/charts/_rels/chart1320.xml.rels><?xml version='1.0' encoding='UTF-8' standalone='yes'?>
<Relationships xmlns="http://schemas.openxmlformats.org/package/2006/relationships"><Relationship Id="rId1" Type="http://schemas.openxmlformats.org/officeDocument/2006/relationships/themeOverride" Target="../theme/themeOverride1320.xml"/><Relationship Id="rId2" Type="http://schemas.openxmlformats.org/officeDocument/2006/relationships/package" Target="../embeddings/Microsoft_Excel_Worksheet1319.xlsx"/></Relationships>
</file>

<file path=ppt/charts/_rels/chart1346.xml.rels><?xml version='1.0' encoding='UTF-8' standalone='yes'?>
<Relationships xmlns="http://schemas.openxmlformats.org/package/2006/relationships"><Relationship Id="rId1" Type="http://schemas.openxmlformats.org/officeDocument/2006/relationships/themeOverride" Target="../theme/themeOverride1346.xml"/><Relationship Id="rId2" Type="http://schemas.openxmlformats.org/officeDocument/2006/relationships/package" Target="../embeddings/Microsoft_Excel_Worksheet1345.xlsx"/></Relationships>
</file>

<file path=ppt/charts/_rels/chart1347.xml.rels><?xml version='1.0' encoding='UTF-8' standalone='yes'?>
<Relationships xmlns="http://schemas.openxmlformats.org/package/2006/relationships"><Relationship Id="rId1" Type="http://schemas.openxmlformats.org/officeDocument/2006/relationships/themeOverride" Target="../theme/themeOverride1347.xml"/><Relationship Id="rId2" Type="http://schemas.openxmlformats.org/officeDocument/2006/relationships/package" Target="../embeddings/Microsoft_Excel_Worksheet1346.xlsx"/></Relationships>
</file>

<file path=ppt/charts/_rels/chart1348.xml.rels><?xml version='1.0' encoding='UTF-8' standalone='yes'?>
<Relationships xmlns="http://schemas.openxmlformats.org/package/2006/relationships"><Relationship Id="rId1" Type="http://schemas.openxmlformats.org/officeDocument/2006/relationships/themeOverride" Target="../theme/themeOverride1348.xml"/><Relationship Id="rId2" Type="http://schemas.openxmlformats.org/officeDocument/2006/relationships/package" Target="../embeddings/Microsoft_Excel_Worksheet1347.xlsx"/></Relationships>
</file>

<file path=ppt/charts/_rels/chart1349.xml.rels><?xml version='1.0' encoding='UTF-8' standalone='yes'?>
<Relationships xmlns="http://schemas.openxmlformats.org/package/2006/relationships"><Relationship Id="rId1" Type="http://schemas.openxmlformats.org/officeDocument/2006/relationships/themeOverride" Target="../theme/themeOverride1349.xml"/><Relationship Id="rId2" Type="http://schemas.openxmlformats.org/officeDocument/2006/relationships/package" Target="../embeddings/Microsoft_Excel_Worksheet1348.xlsx"/></Relationships>
</file>

<file path=ppt/charts/_rels/chart1350.xml.rels><?xml version='1.0' encoding='UTF-8' standalone='yes'?>
<Relationships xmlns="http://schemas.openxmlformats.org/package/2006/relationships"><Relationship Id="rId1" Type="http://schemas.openxmlformats.org/officeDocument/2006/relationships/themeOverride" Target="../theme/themeOverride1350.xml"/><Relationship Id="rId2" Type="http://schemas.openxmlformats.org/officeDocument/2006/relationships/package" Target="../embeddings/Microsoft_Excel_Worksheet1349.xlsx"/></Relationships>
</file>

<file path=ppt/charts/_rels/chart1376.xml.rels><?xml version='1.0' encoding='UTF-8' standalone='yes'?>
<Relationships xmlns="http://schemas.openxmlformats.org/package/2006/relationships"><Relationship Id="rId1" Type="http://schemas.openxmlformats.org/officeDocument/2006/relationships/themeOverride" Target="../theme/themeOverride1376.xml"/><Relationship Id="rId2" Type="http://schemas.openxmlformats.org/officeDocument/2006/relationships/package" Target="../embeddings/Microsoft_Excel_Worksheet1375.xlsx"/></Relationships>
</file>

<file path=ppt/charts/_rels/chart1377.xml.rels><?xml version='1.0' encoding='UTF-8' standalone='yes'?>
<Relationships xmlns="http://schemas.openxmlformats.org/package/2006/relationships"><Relationship Id="rId1" Type="http://schemas.openxmlformats.org/officeDocument/2006/relationships/themeOverride" Target="../theme/themeOverride1377.xml"/><Relationship Id="rId2" Type="http://schemas.openxmlformats.org/officeDocument/2006/relationships/package" Target="../embeddings/Microsoft_Excel_Worksheet1376.xlsx"/></Relationships>
</file>

<file path=ppt/charts/_rels/chart1378.xml.rels><?xml version='1.0' encoding='UTF-8' standalone='yes'?>
<Relationships xmlns="http://schemas.openxmlformats.org/package/2006/relationships"><Relationship Id="rId1" Type="http://schemas.openxmlformats.org/officeDocument/2006/relationships/themeOverride" Target="../theme/themeOverride1378.xml"/><Relationship Id="rId2" Type="http://schemas.openxmlformats.org/officeDocument/2006/relationships/package" Target="../embeddings/Microsoft_Excel_Worksheet1377.xlsx"/></Relationships>
</file>

<file path=ppt/charts/_rels/chart1379.xml.rels><?xml version='1.0' encoding='UTF-8' standalone='yes'?>
<Relationships xmlns="http://schemas.openxmlformats.org/package/2006/relationships"><Relationship Id="rId1" Type="http://schemas.openxmlformats.org/officeDocument/2006/relationships/themeOverride" Target="../theme/themeOverride1379.xml"/><Relationship Id="rId2" Type="http://schemas.openxmlformats.org/officeDocument/2006/relationships/package" Target="../embeddings/Microsoft_Excel_Worksheet1378.xlsx"/></Relationships>
</file>

<file path=ppt/charts/_rels/chart1380.xml.rels><?xml version='1.0' encoding='UTF-8' standalone='yes'?>
<Relationships xmlns="http://schemas.openxmlformats.org/package/2006/relationships"><Relationship Id="rId1" Type="http://schemas.openxmlformats.org/officeDocument/2006/relationships/themeOverride" Target="../theme/themeOverride1380.xml"/><Relationship Id="rId2" Type="http://schemas.openxmlformats.org/officeDocument/2006/relationships/package" Target="../embeddings/Microsoft_Excel_Worksheet1379.xlsx"/></Relationships>
</file>

<file path=ppt/charts/_rels/chart1381.xml.rels><?xml version='1.0' encoding='UTF-8' standalone='yes'?>
<Relationships xmlns="http://schemas.openxmlformats.org/package/2006/relationships"><Relationship Id="rId1" Type="http://schemas.openxmlformats.org/officeDocument/2006/relationships/themeOverride" Target="../theme/themeOverride1381.xml"/><Relationship Id="rId2" Type="http://schemas.openxmlformats.org/officeDocument/2006/relationships/package" Target="../embeddings/Microsoft_Excel_Worksheet1380.xlsx"/></Relationships>
</file>

<file path=ppt/charts/_rels/chart1382.xml.rels><?xml version='1.0' encoding='UTF-8' standalone='yes'?>
<Relationships xmlns="http://schemas.openxmlformats.org/package/2006/relationships"><Relationship Id="rId1" Type="http://schemas.openxmlformats.org/officeDocument/2006/relationships/themeOverride" Target="../theme/themeOverride1382.xml"/><Relationship Id="rId2" Type="http://schemas.openxmlformats.org/officeDocument/2006/relationships/package" Target="../embeddings/Microsoft_Excel_Worksheet1381.xlsx"/></Relationships>
</file>

<file path=ppt/charts/_rels/chart1383.xml.rels><?xml version='1.0' encoding='UTF-8' standalone='yes'?>
<Relationships xmlns="http://schemas.openxmlformats.org/package/2006/relationships"><Relationship Id="rId1" Type="http://schemas.openxmlformats.org/officeDocument/2006/relationships/themeOverride" Target="../theme/themeOverride1383.xml"/><Relationship Id="rId2"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themeOverride" Target="../theme/themeOverride1384.xml"/><Relationship Id="rId2"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themeOverride" Target="../theme/themeOverride1385.xml"/><Relationship Id="rId2" Type="http://schemas.openxmlformats.org/officeDocument/2006/relationships/package" Target="../embeddings/Microsoft_Excel_Worksheet1384.xlsx"/></Relationships>
</file>

<file path=ppt/charts/_rels/chart14.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13.xlsx"/></Relationships>
</file>

<file path=ppt/charts/_rels/chart1421.xml.rels><?xml version='1.0' encoding='UTF-8' standalone='yes'?>
<Relationships xmlns="http://schemas.openxmlformats.org/package/2006/relationships"><Relationship Id="rId1" Type="http://schemas.openxmlformats.org/officeDocument/2006/relationships/themeOverride" Target="../theme/themeOverride1421.xml"/><Relationship Id="rId2" Type="http://schemas.openxmlformats.org/officeDocument/2006/relationships/package" Target="../embeddings/Microsoft_Excel_Worksheet1420.xlsx"/></Relationships>
</file>

<file path=ppt/charts/_rels/chart1422.xml.rels><?xml version='1.0' encoding='UTF-8' standalone='yes'?>
<Relationships xmlns="http://schemas.openxmlformats.org/package/2006/relationships"><Relationship Id="rId1" Type="http://schemas.openxmlformats.org/officeDocument/2006/relationships/themeOverride" Target="../theme/themeOverride1422.xml"/><Relationship Id="rId2" Type="http://schemas.openxmlformats.org/officeDocument/2006/relationships/package" Target="../embeddings/Microsoft_Excel_Worksheet1421.xlsx"/></Relationships>
</file>

<file path=ppt/charts/_rels/chart1423.xml.rels><?xml version='1.0' encoding='UTF-8' standalone='yes'?>
<Relationships xmlns="http://schemas.openxmlformats.org/package/2006/relationships"><Relationship Id="rId1" Type="http://schemas.openxmlformats.org/officeDocument/2006/relationships/themeOverride" Target="../theme/themeOverride1423.xml"/><Relationship Id="rId2" Type="http://schemas.openxmlformats.org/officeDocument/2006/relationships/package" Target="../embeddings/Microsoft_Excel_Worksheet1422.xlsx"/></Relationships>
</file>

<file path=ppt/charts/_rels/chart1424.xml.rels><?xml version='1.0' encoding='UTF-8' standalone='yes'?>
<Relationships xmlns="http://schemas.openxmlformats.org/package/2006/relationships"><Relationship Id="rId1" Type="http://schemas.openxmlformats.org/officeDocument/2006/relationships/themeOverride" Target="../theme/themeOverride1424.xml"/><Relationship Id="rId2" Type="http://schemas.openxmlformats.org/officeDocument/2006/relationships/package" Target="../embeddings/Microsoft_Excel_Worksheet1423.xlsx"/></Relationships>
</file>

<file path=ppt/charts/_rels/chart1425.xml.rels><?xml version='1.0' encoding='UTF-8' standalone='yes'?>
<Relationships xmlns="http://schemas.openxmlformats.org/package/2006/relationships"><Relationship Id="rId1" Type="http://schemas.openxmlformats.org/officeDocument/2006/relationships/themeOverride" Target="../theme/themeOverride1425.xml"/><Relationship Id="rId2" Type="http://schemas.openxmlformats.org/officeDocument/2006/relationships/package" Target="../embeddings/Microsoft_Excel_Worksheet1424.xlsx"/></Relationships>
</file>

<file path=ppt/charts/_rels/chart1431.xml.rels><?xml version='1.0' encoding='UTF-8' standalone='yes'?>
<Relationships xmlns="http://schemas.openxmlformats.org/package/2006/relationships"><Relationship Id="rId1" Type="http://schemas.openxmlformats.org/officeDocument/2006/relationships/themeOverride" Target="../theme/themeOverride1431.xml"/><Relationship Id="rId2"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themeOverride" Target="../theme/themeOverride1432.xml"/><Relationship Id="rId2" Type="http://schemas.openxmlformats.org/officeDocument/2006/relationships/package" Target="../embeddings/Microsoft_Excel_Worksheet1431.xlsx"/></Relationships>
</file>

<file path=ppt/charts/_rels/chart1433.xml.rels><?xml version='1.0' encoding='UTF-8' standalone='yes'?>
<Relationships xmlns="http://schemas.openxmlformats.org/package/2006/relationships"><Relationship Id="rId1" Type="http://schemas.openxmlformats.org/officeDocument/2006/relationships/themeOverride" Target="../theme/themeOverride1433.xml"/><Relationship Id="rId2" Type="http://schemas.openxmlformats.org/officeDocument/2006/relationships/package" Target="../embeddings/Microsoft_Excel_Worksheet1432.xlsx"/></Relationships>
</file>

<file path=ppt/charts/_rels/chart1434.xml.rels><?xml version='1.0' encoding='UTF-8' standalone='yes'?>
<Relationships xmlns="http://schemas.openxmlformats.org/package/2006/relationships"><Relationship Id="rId1" Type="http://schemas.openxmlformats.org/officeDocument/2006/relationships/themeOverride" Target="../theme/themeOverride1434.xml"/><Relationship Id="rId2" Type="http://schemas.openxmlformats.org/officeDocument/2006/relationships/package" Target="../embeddings/Microsoft_Excel_Worksheet1433.xlsx"/></Relationships>
</file>

<file path=ppt/charts/_rels/chart1435.xml.rels><?xml version='1.0' encoding='UTF-8' standalone='yes'?>
<Relationships xmlns="http://schemas.openxmlformats.org/package/2006/relationships"><Relationship Id="rId1" Type="http://schemas.openxmlformats.org/officeDocument/2006/relationships/themeOverride" Target="../theme/themeOverride1435.xml"/><Relationship Id="rId2" Type="http://schemas.openxmlformats.org/officeDocument/2006/relationships/package" Target="../embeddings/Microsoft_Excel_Worksheet1434.xlsx"/></Relationships>
</file>

<file path=ppt/charts/_rels/chart1456.xml.rels><?xml version='1.0' encoding='UTF-8' standalone='yes'?>
<Relationships xmlns="http://schemas.openxmlformats.org/package/2006/relationships"><Relationship Id="rId1" Type="http://schemas.openxmlformats.org/officeDocument/2006/relationships/themeOverride" Target="../theme/themeOverride1456.xml"/><Relationship Id="rId2"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openxmlformats.org/officeDocument/2006/relationships/themeOverride" Target="../theme/themeOverride1457.xml"/><Relationship Id="rId2" Type="http://schemas.openxmlformats.org/officeDocument/2006/relationships/package" Target="../embeddings/Microsoft_Excel_Worksheet1456.xlsx"/></Relationships>
</file>

<file path=ppt/charts/_rels/chart1458.xml.rels><?xml version='1.0' encoding='UTF-8' standalone='yes'?>
<Relationships xmlns="http://schemas.openxmlformats.org/package/2006/relationships"><Relationship Id="rId1" Type="http://schemas.openxmlformats.org/officeDocument/2006/relationships/themeOverride" Target="../theme/themeOverride1458.xml"/><Relationship Id="rId2" Type="http://schemas.openxmlformats.org/officeDocument/2006/relationships/package" Target="../embeddings/Microsoft_Excel_Worksheet1457.xlsx"/></Relationships>
</file>

<file path=ppt/charts/_rels/chart1459.xml.rels><?xml version='1.0' encoding='UTF-8' standalone='yes'?>
<Relationships xmlns="http://schemas.openxmlformats.org/package/2006/relationships"><Relationship Id="rId1" Type="http://schemas.openxmlformats.org/officeDocument/2006/relationships/themeOverride" Target="../theme/themeOverride1459.xml"/><Relationship Id="rId2" Type="http://schemas.openxmlformats.org/officeDocument/2006/relationships/package" Target="../embeddings/Microsoft_Excel_Worksheet1458.xlsx"/></Relationships>
</file>

<file path=ppt/charts/_rels/chart1460.xml.rels><?xml version='1.0' encoding='UTF-8' standalone='yes'?>
<Relationships xmlns="http://schemas.openxmlformats.org/package/2006/relationships"><Relationship Id="rId1" Type="http://schemas.openxmlformats.org/officeDocument/2006/relationships/themeOverride" Target="../theme/themeOverride1460.xml"/><Relationship Id="rId2" Type="http://schemas.openxmlformats.org/officeDocument/2006/relationships/package" Target="../embeddings/Microsoft_Excel_Worksheet1459.xlsx"/></Relationships>
</file>

<file path=ppt/charts/_rels/chart15.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4.xlsx"/></Relationships>
</file>

<file path=ppt/charts/_rels/chart1501.xml.rels><?xml version='1.0' encoding='UTF-8' standalone='yes'?>
<Relationships xmlns="http://schemas.openxmlformats.org/package/2006/relationships"><Relationship Id="rId1" Type="http://schemas.openxmlformats.org/officeDocument/2006/relationships/themeOverride" Target="../theme/themeOverride1501.xml"/><Relationship Id="rId2" Type="http://schemas.openxmlformats.org/officeDocument/2006/relationships/package" Target="../embeddings/Microsoft_Excel_Worksheet1500.xlsx"/></Relationships>
</file>

<file path=ppt/charts/_rels/chart1502.xml.rels><?xml version='1.0' encoding='UTF-8' standalone='yes'?>
<Relationships xmlns="http://schemas.openxmlformats.org/package/2006/relationships"><Relationship Id="rId1" Type="http://schemas.openxmlformats.org/officeDocument/2006/relationships/themeOverride" Target="../theme/themeOverride1502.xml"/><Relationship Id="rId2" Type="http://schemas.openxmlformats.org/officeDocument/2006/relationships/package" Target="../embeddings/Microsoft_Excel_Worksheet1501.xlsx"/></Relationships>
</file>

<file path=ppt/charts/_rels/chart1503.xml.rels><?xml version='1.0' encoding='UTF-8' standalone='yes'?>
<Relationships xmlns="http://schemas.openxmlformats.org/package/2006/relationships"><Relationship Id="rId1" Type="http://schemas.openxmlformats.org/officeDocument/2006/relationships/themeOverride" Target="../theme/themeOverride1503.xml"/><Relationship Id="rId2"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openxmlformats.org/officeDocument/2006/relationships/themeOverride" Target="../theme/themeOverride1504.xml"/><Relationship Id="rId2" Type="http://schemas.openxmlformats.org/officeDocument/2006/relationships/package" Target="../embeddings/Microsoft_Excel_Worksheet1503.xlsx"/></Relationships>
</file>

<file path=ppt/charts/_rels/chart1505.xml.rels><?xml version='1.0' encoding='UTF-8' standalone='yes'?>
<Relationships xmlns="http://schemas.openxmlformats.org/package/2006/relationships"><Relationship Id="rId1" Type="http://schemas.openxmlformats.org/officeDocument/2006/relationships/themeOverride" Target="../theme/themeOverride1505.xml"/><Relationship Id="rId2" Type="http://schemas.openxmlformats.org/officeDocument/2006/relationships/package" Target="../embeddings/Microsoft_Excel_Worksheet1504.xlsx"/></Relationships>
</file>

<file path=ppt/charts/_rels/chart1506.xml.rels><?xml version='1.0' encoding='UTF-8' standalone='yes'?>
<Relationships xmlns="http://schemas.openxmlformats.org/package/2006/relationships"><Relationship Id="rId1" Type="http://schemas.openxmlformats.org/officeDocument/2006/relationships/themeOverride" Target="../theme/themeOverride1506.xml"/><Relationship Id="rId2" Type="http://schemas.openxmlformats.org/officeDocument/2006/relationships/package" Target="../embeddings/Microsoft_Excel_Worksheet1505.xlsx"/></Relationships>
</file>

<file path=ppt/charts/_rels/chart1507.xml.rels><?xml version='1.0' encoding='UTF-8' standalone='yes'?>
<Relationships xmlns="http://schemas.openxmlformats.org/package/2006/relationships"><Relationship Id="rId1" Type="http://schemas.openxmlformats.org/officeDocument/2006/relationships/themeOverride" Target="../theme/themeOverride1507.xml"/><Relationship Id="rId2" Type="http://schemas.openxmlformats.org/officeDocument/2006/relationships/package" Target="../embeddings/Microsoft_Excel_Worksheet1506.xlsx"/></Relationships>
</file>

<file path=ppt/charts/_rels/chart1508.xml.rels><?xml version='1.0' encoding='UTF-8' standalone='yes'?>
<Relationships xmlns="http://schemas.openxmlformats.org/package/2006/relationships"><Relationship Id="rId1" Type="http://schemas.openxmlformats.org/officeDocument/2006/relationships/themeOverride" Target="../theme/themeOverride1508.xml"/><Relationship Id="rId2" Type="http://schemas.openxmlformats.org/officeDocument/2006/relationships/package" Target="../embeddings/Microsoft_Excel_Worksheet1507.xlsx"/></Relationships>
</file>

<file path=ppt/charts/_rels/chart1509.xml.rels><?xml version='1.0' encoding='UTF-8' standalone='yes'?>
<Relationships xmlns="http://schemas.openxmlformats.org/package/2006/relationships"><Relationship Id="rId1" Type="http://schemas.openxmlformats.org/officeDocument/2006/relationships/themeOverride" Target="../theme/themeOverride1509.xml"/><Relationship Id="rId2" Type="http://schemas.openxmlformats.org/officeDocument/2006/relationships/package" Target="../embeddings/Microsoft_Excel_Worksheet1508.xlsx"/></Relationships>
</file>

<file path=ppt/charts/_rels/chart151.xml.rels><?xml version='1.0' encoding='UTF-8' standalone='yes'?>
<Relationships xmlns="http://schemas.openxmlformats.org/package/2006/relationships"><Relationship Id="rId1" Type="http://schemas.openxmlformats.org/officeDocument/2006/relationships/themeOverride" Target="../theme/themeOverride151.xml"/><Relationship Id="rId2" Type="http://schemas.openxmlformats.org/officeDocument/2006/relationships/package" Target="../embeddings/Microsoft_Excel_Worksheet150.xlsx"/></Relationships>
</file>

<file path=ppt/charts/_rels/chart1510.xml.rels><?xml version='1.0' encoding='UTF-8' standalone='yes'?>
<Relationships xmlns="http://schemas.openxmlformats.org/package/2006/relationships"><Relationship Id="rId1" Type="http://schemas.openxmlformats.org/officeDocument/2006/relationships/themeOverride" Target="../theme/themeOverride1510.xml"/><Relationship Id="rId2" Type="http://schemas.openxmlformats.org/officeDocument/2006/relationships/package" Target="../embeddings/Microsoft_Excel_Worksheet1509.xlsx"/></Relationships>
</file>

<file path=ppt/charts/_rels/chart152.xml.rels><?xml version='1.0' encoding='UTF-8' standalone='yes'?>
<Relationships xmlns="http://schemas.openxmlformats.org/package/2006/relationships"><Relationship Id="rId1" Type="http://schemas.openxmlformats.org/officeDocument/2006/relationships/themeOverride" Target="../theme/themeOverride152.xml"/><Relationship Id="rId2"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themeOverride" Target="../theme/themeOverride153.xml"/><Relationship Id="rId2" Type="http://schemas.openxmlformats.org/officeDocument/2006/relationships/package" Target="../embeddings/Microsoft_Excel_Worksheet152.xlsx"/></Relationships>
</file>

<file path=ppt/charts/_rels/chart1536.xml.rels><?xml version='1.0' encoding='UTF-8' standalone='yes'?>
<Relationships xmlns="http://schemas.openxmlformats.org/package/2006/relationships"><Relationship Id="rId1" Type="http://schemas.openxmlformats.org/officeDocument/2006/relationships/themeOverride" Target="../theme/themeOverride1536.xml"/><Relationship Id="rId2" Type="http://schemas.openxmlformats.org/officeDocument/2006/relationships/package" Target="../embeddings/Microsoft_Excel_Worksheet1535.xlsx"/></Relationships>
</file>

<file path=ppt/charts/_rels/chart1537.xml.rels><?xml version='1.0' encoding='UTF-8' standalone='yes'?>
<Relationships xmlns="http://schemas.openxmlformats.org/package/2006/relationships"><Relationship Id="rId1" Type="http://schemas.openxmlformats.org/officeDocument/2006/relationships/themeOverride" Target="../theme/themeOverride1537.xml"/><Relationship Id="rId2" Type="http://schemas.openxmlformats.org/officeDocument/2006/relationships/package" Target="../embeddings/Microsoft_Excel_Worksheet1536.xlsx"/></Relationships>
</file>

<file path=ppt/charts/_rels/chart1538.xml.rels><?xml version='1.0' encoding='UTF-8' standalone='yes'?>
<Relationships xmlns="http://schemas.openxmlformats.org/package/2006/relationships"><Relationship Id="rId1" Type="http://schemas.openxmlformats.org/officeDocument/2006/relationships/themeOverride" Target="../theme/themeOverride1538.xml"/><Relationship Id="rId2" Type="http://schemas.openxmlformats.org/officeDocument/2006/relationships/package" Target="../embeddings/Microsoft_Excel_Worksheet1537.xlsx"/></Relationships>
</file>

<file path=ppt/charts/_rels/chart1539.xml.rels><?xml version='1.0' encoding='UTF-8' standalone='yes'?>
<Relationships xmlns="http://schemas.openxmlformats.org/package/2006/relationships"><Relationship Id="rId1" Type="http://schemas.openxmlformats.org/officeDocument/2006/relationships/themeOverride" Target="../theme/themeOverride1539.xml"/><Relationship Id="rId2" Type="http://schemas.openxmlformats.org/officeDocument/2006/relationships/package" Target="../embeddings/Microsoft_Excel_Worksheet1538.xlsx"/></Relationships>
</file>

<file path=ppt/charts/_rels/chart154.xml.rels><?xml version='1.0' encoding='UTF-8' standalone='yes'?>
<Relationships xmlns="http://schemas.openxmlformats.org/package/2006/relationships"><Relationship Id="rId1" Type="http://schemas.openxmlformats.org/officeDocument/2006/relationships/themeOverride" Target="../theme/themeOverride154.xml"/><Relationship Id="rId2" Type="http://schemas.openxmlformats.org/officeDocument/2006/relationships/package" Target="../embeddings/Microsoft_Excel_Worksheet153.xlsx"/></Relationships>
</file>

<file path=ppt/charts/_rels/chart1540.xml.rels><?xml version='1.0' encoding='UTF-8' standalone='yes'?>
<Relationships xmlns="http://schemas.openxmlformats.org/package/2006/relationships"><Relationship Id="rId1" Type="http://schemas.openxmlformats.org/officeDocument/2006/relationships/themeOverride" Target="../theme/themeOverride1540.xml"/><Relationship Id="rId2" Type="http://schemas.openxmlformats.org/officeDocument/2006/relationships/package" Target="../embeddings/Microsoft_Excel_Worksheet1539.xlsx"/></Relationships>
</file>

<file path=ppt/charts/_rels/chart155.xml.rels><?xml version='1.0' encoding='UTF-8' standalone='yes'?>
<Relationships xmlns="http://schemas.openxmlformats.org/package/2006/relationships"><Relationship Id="rId1" Type="http://schemas.openxmlformats.org/officeDocument/2006/relationships/themeOverride" Target="../theme/themeOverride155.xml"/><Relationship Id="rId2" Type="http://schemas.openxmlformats.org/officeDocument/2006/relationships/package" Target="../embeddings/Microsoft_Excel_Worksheet154.xlsx"/></Relationships>
</file>

<file path=ppt/charts/_rels/chart1556.xml.rels><?xml version='1.0' encoding='UTF-8' standalone='yes'?>
<Relationships xmlns="http://schemas.openxmlformats.org/package/2006/relationships"><Relationship Id="rId1" Type="http://schemas.openxmlformats.org/officeDocument/2006/relationships/themeOverride" Target="../theme/themeOverride1556.xml"/><Relationship Id="rId2" Type="http://schemas.openxmlformats.org/officeDocument/2006/relationships/package" Target="../embeddings/Microsoft_Excel_Worksheet1555.xlsx"/></Relationships>
</file>

<file path=ppt/charts/_rels/chart1557.xml.rels><?xml version='1.0' encoding='UTF-8' standalone='yes'?>
<Relationships xmlns="http://schemas.openxmlformats.org/package/2006/relationships"><Relationship Id="rId1" Type="http://schemas.openxmlformats.org/officeDocument/2006/relationships/themeOverride" Target="../theme/themeOverride1557.xml"/><Relationship Id="rId2" Type="http://schemas.openxmlformats.org/officeDocument/2006/relationships/package" Target="../embeddings/Microsoft_Excel_Worksheet1556.xlsx"/></Relationships>
</file>

<file path=ppt/charts/_rels/chart1558.xml.rels><?xml version='1.0' encoding='UTF-8' standalone='yes'?>
<Relationships xmlns="http://schemas.openxmlformats.org/package/2006/relationships"><Relationship Id="rId1" Type="http://schemas.openxmlformats.org/officeDocument/2006/relationships/themeOverride" Target="../theme/themeOverride1558.xml"/><Relationship Id="rId2" Type="http://schemas.openxmlformats.org/officeDocument/2006/relationships/package" Target="../embeddings/Microsoft_Excel_Worksheet1557.xlsx"/></Relationships>
</file>

<file path=ppt/charts/_rels/chart1559.xml.rels><?xml version='1.0' encoding='UTF-8' standalone='yes'?>
<Relationships xmlns="http://schemas.openxmlformats.org/package/2006/relationships"><Relationship Id="rId1" Type="http://schemas.openxmlformats.org/officeDocument/2006/relationships/themeOverride" Target="../theme/themeOverride1559.xml"/><Relationship Id="rId2" Type="http://schemas.openxmlformats.org/officeDocument/2006/relationships/package" Target="../embeddings/Microsoft_Excel_Worksheet1558.xlsx"/></Relationships>
</file>

<file path=ppt/charts/_rels/chart156.xml.rels><?xml version='1.0' encoding='UTF-8' standalone='yes'?>
<Relationships xmlns="http://schemas.openxmlformats.org/package/2006/relationships"><Relationship Id="rId1" Type="http://schemas.openxmlformats.org/officeDocument/2006/relationships/themeOverride" Target="../theme/themeOverride156.xml"/><Relationship Id="rId2" Type="http://schemas.openxmlformats.org/officeDocument/2006/relationships/package" Target="../embeddings/Microsoft_Excel_Worksheet155.xlsx"/></Relationships>
</file>

<file path=ppt/charts/_rels/chart1560.xml.rels><?xml version='1.0' encoding='UTF-8' standalone='yes'?>
<Relationships xmlns="http://schemas.openxmlformats.org/package/2006/relationships"><Relationship Id="rId1" Type="http://schemas.openxmlformats.org/officeDocument/2006/relationships/themeOverride" Target="../theme/themeOverride1560.xml"/><Relationship Id="rId2" Type="http://schemas.openxmlformats.org/officeDocument/2006/relationships/package" Target="../embeddings/Microsoft_Excel_Worksheet1559.xlsx"/></Relationships>
</file>

<file path=ppt/charts/_rels/chart157.xml.rels><?xml version='1.0' encoding='UTF-8' standalone='yes'?>
<Relationships xmlns="http://schemas.openxmlformats.org/package/2006/relationships"><Relationship Id="rId1" Type="http://schemas.openxmlformats.org/officeDocument/2006/relationships/themeOverride" Target="../theme/themeOverride157.xml"/><Relationship Id="rId2"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themeOverride" Target="../theme/themeOverride158.xml"/><Relationship Id="rId2"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themeOverride" Target="../theme/themeOverride159.xml"/><Relationship Id="rId2" Type="http://schemas.openxmlformats.org/officeDocument/2006/relationships/package" Target="../embeddings/Microsoft_Excel_Worksheet158.xlsx"/></Relationships>
</file>

<file path=ppt/charts/_rels/chart160.xml.rels><?xml version='1.0' encoding='UTF-8' standalone='yes'?>
<Relationships xmlns="http://schemas.openxmlformats.org/package/2006/relationships"><Relationship Id="rId1" Type="http://schemas.openxmlformats.org/officeDocument/2006/relationships/themeOverride" Target="../theme/themeOverride160.xml"/><Relationship Id="rId2" Type="http://schemas.openxmlformats.org/officeDocument/2006/relationships/package" Target="../embeddings/Microsoft_Excel_Worksheet159.xlsx"/></Relationships>
</file>

<file path=ppt/charts/_rels/chart1611.xml.rels><?xml version='1.0' encoding='UTF-8' standalone='yes'?>
<Relationships xmlns="http://schemas.openxmlformats.org/package/2006/relationships"><Relationship Id="rId1" Type="http://schemas.openxmlformats.org/officeDocument/2006/relationships/themeOverride" Target="../theme/themeOverride1611.xml"/><Relationship Id="rId2" Type="http://schemas.openxmlformats.org/officeDocument/2006/relationships/package" Target="../embeddings/Microsoft_Excel_Worksheet1610.xlsx"/></Relationships>
</file>

<file path=ppt/charts/_rels/chart1612.xml.rels><?xml version='1.0' encoding='UTF-8' standalone='yes'?>
<Relationships xmlns="http://schemas.openxmlformats.org/package/2006/relationships"><Relationship Id="rId1" Type="http://schemas.openxmlformats.org/officeDocument/2006/relationships/themeOverride" Target="../theme/themeOverride1612.xml"/><Relationship Id="rId2" Type="http://schemas.openxmlformats.org/officeDocument/2006/relationships/package" Target="../embeddings/Microsoft_Excel_Worksheet1611.xlsx"/></Relationships>
</file>

<file path=ppt/charts/_rels/chart1613.xml.rels><?xml version='1.0' encoding='UTF-8' standalone='yes'?>
<Relationships xmlns="http://schemas.openxmlformats.org/package/2006/relationships"><Relationship Id="rId1" Type="http://schemas.openxmlformats.org/officeDocument/2006/relationships/themeOverride" Target="../theme/themeOverride1613.xml"/><Relationship Id="rId2" Type="http://schemas.openxmlformats.org/officeDocument/2006/relationships/package" Target="../embeddings/Microsoft_Excel_Worksheet1612.xlsx"/></Relationships>
</file>

<file path=ppt/charts/_rels/chart1614.xml.rels><?xml version='1.0' encoding='UTF-8' standalone='yes'?>
<Relationships xmlns="http://schemas.openxmlformats.org/package/2006/relationships"><Relationship Id="rId1" Type="http://schemas.openxmlformats.org/officeDocument/2006/relationships/themeOverride" Target="../theme/themeOverride1614.xml"/><Relationship Id="rId2" Type="http://schemas.openxmlformats.org/officeDocument/2006/relationships/package" Target="../embeddings/Microsoft_Excel_Worksheet1613.xlsx"/></Relationships>
</file>

<file path=ppt/charts/_rels/chart1615.xml.rels><?xml version='1.0' encoding='UTF-8' standalone='yes'?>
<Relationships xmlns="http://schemas.openxmlformats.org/package/2006/relationships"><Relationship Id="rId1" Type="http://schemas.openxmlformats.org/officeDocument/2006/relationships/themeOverride" Target="../theme/themeOverride1615.xml"/><Relationship Id="rId2" Type="http://schemas.openxmlformats.org/officeDocument/2006/relationships/package" Target="../embeddings/Microsoft_Excel_Worksheet1614.xlsx"/></Relationships>
</file>

<file path=ppt/charts/_rels/chart1616.xml.rels><?xml version='1.0' encoding='UTF-8' standalone='yes'?>
<Relationships xmlns="http://schemas.openxmlformats.org/package/2006/relationships"><Relationship Id="rId1" Type="http://schemas.openxmlformats.org/officeDocument/2006/relationships/themeOverride" Target="../theme/themeOverride1616.xml"/><Relationship Id="rId2" Type="http://schemas.openxmlformats.org/officeDocument/2006/relationships/package" Target="../embeddings/Microsoft_Excel_Worksheet1615.xlsx"/></Relationships>
</file>

<file path=ppt/charts/_rels/chart1617.xml.rels><?xml version='1.0' encoding='UTF-8' standalone='yes'?>
<Relationships xmlns="http://schemas.openxmlformats.org/package/2006/relationships"><Relationship Id="rId1" Type="http://schemas.openxmlformats.org/officeDocument/2006/relationships/themeOverride" Target="../theme/themeOverride1617.xml"/><Relationship Id="rId2" Type="http://schemas.openxmlformats.org/officeDocument/2006/relationships/package" Target="../embeddings/Microsoft_Excel_Worksheet1616.xlsx"/></Relationships>
</file>

<file path=ppt/charts/_rels/chart1618.xml.rels><?xml version='1.0' encoding='UTF-8' standalone='yes'?>
<Relationships xmlns="http://schemas.openxmlformats.org/package/2006/relationships"><Relationship Id="rId1" Type="http://schemas.openxmlformats.org/officeDocument/2006/relationships/themeOverride" Target="../theme/themeOverride1618.xml"/><Relationship Id="rId2" Type="http://schemas.openxmlformats.org/officeDocument/2006/relationships/package" Target="../embeddings/Microsoft_Excel_Worksheet1617.xlsx"/></Relationships>
</file>

<file path=ppt/charts/_rels/chart1619.xml.rels><?xml version='1.0' encoding='UTF-8' standalone='yes'?>
<Relationships xmlns="http://schemas.openxmlformats.org/package/2006/relationships"><Relationship Id="rId1" Type="http://schemas.openxmlformats.org/officeDocument/2006/relationships/themeOverride" Target="../theme/themeOverride1619.xml"/><Relationship Id="rId2" Type="http://schemas.openxmlformats.org/officeDocument/2006/relationships/package" Target="../embeddings/Microsoft_Excel_Worksheet1618.xlsx"/></Relationships>
</file>

<file path=ppt/charts/_rels/chart1620.xml.rels><?xml version='1.0' encoding='UTF-8' standalone='yes'?>
<Relationships xmlns="http://schemas.openxmlformats.org/package/2006/relationships"><Relationship Id="rId1" Type="http://schemas.openxmlformats.org/officeDocument/2006/relationships/themeOverride" Target="../theme/themeOverride1620.xml"/><Relationship Id="rId2" Type="http://schemas.openxmlformats.org/officeDocument/2006/relationships/package" Target="../embeddings/Microsoft_Excel_Worksheet1619.xlsx"/></Relationships>
</file>

<file path=ppt/charts/_rels/chart1646.xml.rels><?xml version='1.0' encoding='UTF-8' standalone='yes'?>
<Relationships xmlns="http://schemas.openxmlformats.org/package/2006/relationships"><Relationship Id="rId1" Type="http://schemas.openxmlformats.org/officeDocument/2006/relationships/themeOverride" Target="../theme/themeOverride1646.xml"/><Relationship Id="rId2" Type="http://schemas.openxmlformats.org/officeDocument/2006/relationships/package" Target="../embeddings/Microsoft_Excel_Worksheet1645.xlsx"/></Relationships>
</file>

<file path=ppt/charts/_rels/chart1647.xml.rels><?xml version='1.0' encoding='UTF-8' standalone='yes'?>
<Relationships xmlns="http://schemas.openxmlformats.org/package/2006/relationships"><Relationship Id="rId1" Type="http://schemas.openxmlformats.org/officeDocument/2006/relationships/themeOverride" Target="../theme/themeOverride1647.xml"/><Relationship Id="rId2" Type="http://schemas.openxmlformats.org/officeDocument/2006/relationships/package" Target="../embeddings/Microsoft_Excel_Worksheet1646.xlsx"/></Relationships>
</file>

<file path=ppt/charts/_rels/chart1648.xml.rels><?xml version='1.0' encoding='UTF-8' standalone='yes'?>
<Relationships xmlns="http://schemas.openxmlformats.org/package/2006/relationships"><Relationship Id="rId1" Type="http://schemas.openxmlformats.org/officeDocument/2006/relationships/themeOverride" Target="../theme/themeOverride1648.xml"/><Relationship Id="rId2" Type="http://schemas.openxmlformats.org/officeDocument/2006/relationships/package" Target="../embeddings/Microsoft_Excel_Worksheet1647.xlsx"/></Relationships>
</file>

<file path=ppt/charts/_rels/chart1649.xml.rels><?xml version='1.0' encoding='UTF-8' standalone='yes'?>
<Relationships xmlns="http://schemas.openxmlformats.org/package/2006/relationships"><Relationship Id="rId1" Type="http://schemas.openxmlformats.org/officeDocument/2006/relationships/themeOverride" Target="../theme/themeOverride1649.xml"/><Relationship Id="rId2" Type="http://schemas.openxmlformats.org/officeDocument/2006/relationships/package" Target="../embeddings/Microsoft_Excel_Worksheet1648.xlsx"/></Relationships>
</file>

<file path=ppt/charts/_rels/chart1650.xml.rels><?xml version='1.0' encoding='UTF-8' standalone='yes'?>
<Relationships xmlns="http://schemas.openxmlformats.org/package/2006/relationships"><Relationship Id="rId1" Type="http://schemas.openxmlformats.org/officeDocument/2006/relationships/themeOverride" Target="../theme/themeOverride1650.xml"/><Relationship Id="rId2" Type="http://schemas.openxmlformats.org/officeDocument/2006/relationships/package" Target="../embeddings/Microsoft_Excel_Worksheet1649.xlsx"/></Relationships>
</file>

<file path=ppt/charts/_rels/chart1651.xml.rels><?xml version='1.0' encoding='UTF-8' standalone='yes'?>
<Relationships xmlns="http://schemas.openxmlformats.org/package/2006/relationships"><Relationship Id="rId1" Type="http://schemas.openxmlformats.org/officeDocument/2006/relationships/themeOverride" Target="../theme/themeOverride1651.xml"/><Relationship Id="rId2" Type="http://schemas.openxmlformats.org/officeDocument/2006/relationships/package" Target="../embeddings/Microsoft_Excel_Worksheet1650.xlsx"/></Relationships>
</file>

<file path=ppt/charts/_rels/chart1652.xml.rels><?xml version='1.0' encoding='UTF-8' standalone='yes'?>
<Relationships xmlns="http://schemas.openxmlformats.org/package/2006/relationships"><Relationship Id="rId1" Type="http://schemas.openxmlformats.org/officeDocument/2006/relationships/themeOverride" Target="../theme/themeOverride1652.xml"/><Relationship Id="rId2" Type="http://schemas.openxmlformats.org/officeDocument/2006/relationships/package" Target="../embeddings/Microsoft_Excel_Worksheet1651.xlsx"/></Relationships>
</file>

<file path=ppt/charts/_rels/chart1653.xml.rels><?xml version='1.0' encoding='UTF-8' standalone='yes'?>
<Relationships xmlns="http://schemas.openxmlformats.org/package/2006/relationships"><Relationship Id="rId1" Type="http://schemas.openxmlformats.org/officeDocument/2006/relationships/themeOverride" Target="../theme/themeOverride1653.xml"/><Relationship Id="rId2" Type="http://schemas.openxmlformats.org/officeDocument/2006/relationships/package" Target="../embeddings/Microsoft_Excel_Worksheet1652.xlsx"/></Relationships>
</file>

<file path=ppt/charts/_rels/chart1654.xml.rels><?xml version='1.0' encoding='UTF-8' standalone='yes'?>
<Relationships xmlns="http://schemas.openxmlformats.org/package/2006/relationships"><Relationship Id="rId1" Type="http://schemas.openxmlformats.org/officeDocument/2006/relationships/themeOverride" Target="../theme/themeOverride1654.xml"/><Relationship Id="rId2" Type="http://schemas.openxmlformats.org/officeDocument/2006/relationships/package" Target="../embeddings/Microsoft_Excel_Worksheet1653.xlsx"/></Relationships>
</file>

<file path=ppt/charts/_rels/chart1655.xml.rels><?xml version='1.0' encoding='UTF-8' standalone='yes'?>
<Relationships xmlns="http://schemas.openxmlformats.org/package/2006/relationships"><Relationship Id="rId1" Type="http://schemas.openxmlformats.org/officeDocument/2006/relationships/themeOverride" Target="../theme/themeOverride1655.xml"/><Relationship Id="rId2" Type="http://schemas.openxmlformats.org/officeDocument/2006/relationships/package" Target="../embeddings/Microsoft_Excel_Worksheet1654.xlsx"/></Relationships>
</file>

<file path=ppt/charts/_rels/chart1666.xml.rels><?xml version='1.0' encoding='UTF-8' standalone='yes'?>
<Relationships xmlns="http://schemas.openxmlformats.org/package/2006/relationships"><Relationship Id="rId1" Type="http://schemas.openxmlformats.org/officeDocument/2006/relationships/themeOverride" Target="../theme/themeOverride1666.xml"/><Relationship Id="rId2" Type="http://schemas.openxmlformats.org/officeDocument/2006/relationships/package" Target="../embeddings/Microsoft_Excel_Worksheet1665.xlsx"/></Relationships>
</file>

<file path=ppt/charts/_rels/chart1667.xml.rels><?xml version='1.0' encoding='UTF-8' standalone='yes'?>
<Relationships xmlns="http://schemas.openxmlformats.org/package/2006/relationships"><Relationship Id="rId1" Type="http://schemas.openxmlformats.org/officeDocument/2006/relationships/themeOverride" Target="../theme/themeOverride1667.xml"/><Relationship Id="rId2" Type="http://schemas.openxmlformats.org/officeDocument/2006/relationships/package" Target="../embeddings/Microsoft_Excel_Worksheet1666.xlsx"/></Relationships>
</file>

<file path=ppt/charts/_rels/chart1668.xml.rels><?xml version='1.0' encoding='UTF-8' standalone='yes'?>
<Relationships xmlns="http://schemas.openxmlformats.org/package/2006/relationships"><Relationship Id="rId1" Type="http://schemas.openxmlformats.org/officeDocument/2006/relationships/themeOverride" Target="../theme/themeOverride1668.xml"/><Relationship Id="rId2" Type="http://schemas.openxmlformats.org/officeDocument/2006/relationships/package" Target="../embeddings/Microsoft_Excel_Worksheet1667.xlsx"/></Relationships>
</file>

<file path=ppt/charts/_rels/chart1669.xml.rels><?xml version='1.0' encoding='UTF-8' standalone='yes'?>
<Relationships xmlns="http://schemas.openxmlformats.org/package/2006/relationships"><Relationship Id="rId1" Type="http://schemas.openxmlformats.org/officeDocument/2006/relationships/themeOverride" Target="../theme/themeOverride1669.xml"/><Relationship Id="rId2" Type="http://schemas.openxmlformats.org/officeDocument/2006/relationships/package" Target="../embeddings/Microsoft_Excel_Worksheet1668.xlsx"/></Relationships>
</file>

<file path=ppt/charts/_rels/chart1670.xml.rels><?xml version='1.0' encoding='UTF-8' standalone='yes'?>
<Relationships xmlns="http://schemas.openxmlformats.org/package/2006/relationships"><Relationship Id="rId1" Type="http://schemas.openxmlformats.org/officeDocument/2006/relationships/themeOverride" Target="../theme/themeOverride1670.xml"/><Relationship Id="rId2" Type="http://schemas.openxmlformats.org/officeDocument/2006/relationships/package" Target="../embeddings/Microsoft_Excel_Worksheet1669.xlsx"/></Relationships>
</file>

<file path=ppt/charts/_rels/chart1681.xml.rels><?xml version='1.0' encoding='UTF-8' standalone='yes'?>
<Relationships xmlns="http://schemas.openxmlformats.org/package/2006/relationships"><Relationship Id="rId1" Type="http://schemas.openxmlformats.org/officeDocument/2006/relationships/themeOverride" Target="../theme/themeOverride1681.xml"/><Relationship Id="rId2" Type="http://schemas.openxmlformats.org/officeDocument/2006/relationships/package" Target="../embeddings/Microsoft_Excel_Worksheet1680.xlsx"/></Relationships>
</file>

<file path=ppt/charts/_rels/chart1682.xml.rels><?xml version='1.0' encoding='UTF-8' standalone='yes'?>
<Relationships xmlns="http://schemas.openxmlformats.org/package/2006/relationships"><Relationship Id="rId1" Type="http://schemas.openxmlformats.org/officeDocument/2006/relationships/themeOverride" Target="../theme/themeOverride1682.xml"/><Relationship Id="rId2" Type="http://schemas.openxmlformats.org/officeDocument/2006/relationships/package" Target="../embeddings/Microsoft_Excel_Worksheet1681.xlsx"/></Relationships>
</file>

<file path=ppt/charts/_rels/chart1683.xml.rels><?xml version='1.0' encoding='UTF-8' standalone='yes'?>
<Relationships xmlns="http://schemas.openxmlformats.org/package/2006/relationships"><Relationship Id="rId1" Type="http://schemas.openxmlformats.org/officeDocument/2006/relationships/themeOverride" Target="../theme/themeOverride1683.xml"/><Relationship Id="rId2" Type="http://schemas.openxmlformats.org/officeDocument/2006/relationships/package" Target="../embeddings/Microsoft_Excel_Worksheet1682.xlsx"/></Relationships>
</file>

<file path=ppt/charts/_rels/chart1684.xml.rels><?xml version='1.0' encoding='UTF-8' standalone='yes'?>
<Relationships xmlns="http://schemas.openxmlformats.org/package/2006/relationships"><Relationship Id="rId1" Type="http://schemas.openxmlformats.org/officeDocument/2006/relationships/themeOverride" Target="../theme/themeOverride1684.xml"/><Relationship Id="rId2" Type="http://schemas.openxmlformats.org/officeDocument/2006/relationships/package" Target="../embeddings/Microsoft_Excel_Worksheet1683.xlsx"/></Relationships>
</file>

<file path=ppt/charts/_rels/chart1685.xml.rels><?xml version='1.0' encoding='UTF-8' standalone='yes'?>
<Relationships xmlns="http://schemas.openxmlformats.org/package/2006/relationships"><Relationship Id="rId1" Type="http://schemas.openxmlformats.org/officeDocument/2006/relationships/themeOverride" Target="../theme/themeOverride1685.xml"/><Relationship Id="rId2" Type="http://schemas.openxmlformats.org/officeDocument/2006/relationships/package" Target="../embeddings/Microsoft_Excel_Worksheet1684.xlsx"/></Relationships>
</file>

<file path=ppt/charts/_rels/chart1701.xml.rels><?xml version='1.0' encoding='UTF-8' standalone='yes'?>
<Relationships xmlns="http://schemas.openxmlformats.org/package/2006/relationships"><Relationship Id="rId1" Type="http://schemas.openxmlformats.org/officeDocument/2006/relationships/themeOverride" Target="../theme/themeOverride1701.xml"/><Relationship Id="rId2" Type="http://schemas.openxmlformats.org/officeDocument/2006/relationships/package" Target="../embeddings/Microsoft_Excel_Worksheet1700.xlsx"/></Relationships>
</file>

<file path=ppt/charts/_rels/chart1702.xml.rels><?xml version='1.0' encoding='UTF-8' standalone='yes'?>
<Relationships xmlns="http://schemas.openxmlformats.org/package/2006/relationships"><Relationship Id="rId1" Type="http://schemas.openxmlformats.org/officeDocument/2006/relationships/themeOverride" Target="../theme/themeOverride1702.xml"/><Relationship Id="rId2" Type="http://schemas.openxmlformats.org/officeDocument/2006/relationships/package" Target="../embeddings/Microsoft_Excel_Worksheet1701.xlsx"/></Relationships>
</file>

<file path=ppt/charts/_rels/chart1703.xml.rels><?xml version='1.0' encoding='UTF-8' standalone='yes'?>
<Relationships xmlns="http://schemas.openxmlformats.org/package/2006/relationships"><Relationship Id="rId1" Type="http://schemas.openxmlformats.org/officeDocument/2006/relationships/themeOverride" Target="../theme/themeOverride1703.xml"/><Relationship Id="rId2" Type="http://schemas.openxmlformats.org/officeDocument/2006/relationships/package" Target="../embeddings/Microsoft_Excel_Worksheet1702.xlsx"/></Relationships>
</file>

<file path=ppt/charts/_rels/chart1704.xml.rels><?xml version='1.0' encoding='UTF-8' standalone='yes'?>
<Relationships xmlns="http://schemas.openxmlformats.org/package/2006/relationships"><Relationship Id="rId1" Type="http://schemas.openxmlformats.org/officeDocument/2006/relationships/themeOverride" Target="../theme/themeOverride1704.xml"/><Relationship Id="rId2" Type="http://schemas.openxmlformats.org/officeDocument/2006/relationships/package" Target="../embeddings/Microsoft_Excel_Worksheet1703.xlsx"/></Relationships>
</file>

<file path=ppt/charts/_rels/chart1705.xml.rels><?xml version='1.0' encoding='UTF-8' standalone='yes'?>
<Relationships xmlns="http://schemas.openxmlformats.org/package/2006/relationships"><Relationship Id="rId1" Type="http://schemas.openxmlformats.org/officeDocument/2006/relationships/themeOverride" Target="../theme/themeOverride1705.xml"/><Relationship Id="rId2" Type="http://schemas.openxmlformats.org/officeDocument/2006/relationships/package" Target="../embeddings/Microsoft_Excel_Worksheet1704.xlsx"/></Relationships>
</file>

<file path=ppt/charts/_rels/chart1756.xml.rels><?xml version='1.0' encoding='UTF-8' standalone='yes'?>
<Relationships xmlns="http://schemas.openxmlformats.org/package/2006/relationships"><Relationship Id="rId1" Type="http://schemas.openxmlformats.org/officeDocument/2006/relationships/themeOverride" Target="../theme/themeOverride1756.xml"/><Relationship Id="rId2" Type="http://schemas.openxmlformats.org/officeDocument/2006/relationships/package" Target="../embeddings/Microsoft_Excel_Worksheet1755.xlsx"/></Relationships>
</file>

<file path=ppt/charts/_rels/chart1757.xml.rels><?xml version='1.0' encoding='UTF-8' standalone='yes'?>
<Relationships xmlns="http://schemas.openxmlformats.org/package/2006/relationships"><Relationship Id="rId1" Type="http://schemas.openxmlformats.org/officeDocument/2006/relationships/themeOverride" Target="../theme/themeOverride1757.xml"/><Relationship Id="rId2" Type="http://schemas.openxmlformats.org/officeDocument/2006/relationships/package" Target="../embeddings/Microsoft_Excel_Worksheet1756.xlsx"/></Relationships>
</file>

<file path=ppt/charts/_rels/chart1758.xml.rels><?xml version='1.0' encoding='UTF-8' standalone='yes'?>
<Relationships xmlns="http://schemas.openxmlformats.org/package/2006/relationships"><Relationship Id="rId1" Type="http://schemas.openxmlformats.org/officeDocument/2006/relationships/themeOverride" Target="../theme/themeOverride1758.xml"/><Relationship Id="rId2" Type="http://schemas.openxmlformats.org/officeDocument/2006/relationships/package" Target="../embeddings/Microsoft_Excel_Worksheet1757.xlsx"/></Relationships>
</file>

<file path=ppt/charts/_rels/chart1759.xml.rels><?xml version='1.0' encoding='UTF-8' standalone='yes'?>
<Relationships xmlns="http://schemas.openxmlformats.org/package/2006/relationships"><Relationship Id="rId1" Type="http://schemas.openxmlformats.org/officeDocument/2006/relationships/themeOverride" Target="../theme/themeOverride1759.xml"/><Relationship Id="rId2" Type="http://schemas.openxmlformats.org/officeDocument/2006/relationships/package" Target="../embeddings/Microsoft_Excel_Worksheet1758.xlsx"/></Relationships>
</file>

<file path=ppt/charts/_rels/chart1760.xml.rels><?xml version='1.0' encoding='UTF-8' standalone='yes'?>
<Relationships xmlns="http://schemas.openxmlformats.org/package/2006/relationships"><Relationship Id="rId1" Type="http://schemas.openxmlformats.org/officeDocument/2006/relationships/themeOverride" Target="../theme/themeOverride1760.xml"/><Relationship Id="rId2" Type="http://schemas.openxmlformats.org/officeDocument/2006/relationships/package" Target="../embeddings/Microsoft_Excel_Worksheet1759.xlsx"/></Relationships>
</file>

<file path=ppt/charts/_rels/chart1761.xml.rels><?xml version='1.0' encoding='UTF-8' standalone='yes'?>
<Relationships xmlns="http://schemas.openxmlformats.org/package/2006/relationships"><Relationship Id="rId1" Type="http://schemas.openxmlformats.org/officeDocument/2006/relationships/themeOverride" Target="../theme/themeOverride1761.xml"/><Relationship Id="rId2" Type="http://schemas.openxmlformats.org/officeDocument/2006/relationships/package" Target="../embeddings/Microsoft_Excel_Worksheet1760.xlsx"/></Relationships>
</file>

<file path=ppt/charts/_rels/chart1762.xml.rels><?xml version='1.0' encoding='UTF-8' standalone='yes'?>
<Relationships xmlns="http://schemas.openxmlformats.org/package/2006/relationships"><Relationship Id="rId1" Type="http://schemas.openxmlformats.org/officeDocument/2006/relationships/themeOverride" Target="../theme/themeOverride1762.xml"/><Relationship Id="rId2" Type="http://schemas.openxmlformats.org/officeDocument/2006/relationships/package" Target="../embeddings/Microsoft_Excel_Worksheet1761.xlsx"/></Relationships>
</file>

<file path=ppt/charts/_rels/chart1763.xml.rels><?xml version='1.0' encoding='UTF-8' standalone='yes'?>
<Relationships xmlns="http://schemas.openxmlformats.org/package/2006/relationships"><Relationship Id="rId1" Type="http://schemas.openxmlformats.org/officeDocument/2006/relationships/themeOverride" Target="../theme/themeOverride1763.xml"/><Relationship Id="rId2" Type="http://schemas.openxmlformats.org/officeDocument/2006/relationships/package" Target="../embeddings/Microsoft_Excel_Worksheet1762.xlsx"/></Relationships>
</file>

<file path=ppt/charts/_rels/chart1764.xml.rels><?xml version='1.0' encoding='UTF-8' standalone='yes'?>
<Relationships xmlns="http://schemas.openxmlformats.org/package/2006/relationships"><Relationship Id="rId1" Type="http://schemas.openxmlformats.org/officeDocument/2006/relationships/themeOverride" Target="../theme/themeOverride1764.xml"/><Relationship Id="rId2" Type="http://schemas.openxmlformats.org/officeDocument/2006/relationships/package" Target="../embeddings/Microsoft_Excel_Worksheet1763.xlsx"/></Relationships>
</file>

<file path=ppt/charts/_rels/chart1765.xml.rels><?xml version='1.0' encoding='UTF-8' standalone='yes'?>
<Relationships xmlns="http://schemas.openxmlformats.org/package/2006/relationships"><Relationship Id="rId1" Type="http://schemas.openxmlformats.org/officeDocument/2006/relationships/themeOverride" Target="../theme/themeOverride1765.xml"/><Relationship Id="rId2" Type="http://schemas.openxmlformats.org/officeDocument/2006/relationships/package" Target="../embeddings/Microsoft_Excel_Worksheet1764.xlsx"/></Relationships>
</file>

<file path=ppt/charts/_rels/chart1791.xml.rels><?xml version='1.0' encoding='UTF-8' standalone='yes'?>
<Relationships xmlns="http://schemas.openxmlformats.org/package/2006/relationships"><Relationship Id="rId1" Type="http://schemas.openxmlformats.org/officeDocument/2006/relationships/themeOverride" Target="../theme/themeOverride1791.xml"/><Relationship Id="rId2" Type="http://schemas.openxmlformats.org/officeDocument/2006/relationships/package" Target="../embeddings/Microsoft_Excel_Worksheet1790.xlsx"/></Relationships>
</file>

<file path=ppt/charts/_rels/chart1792.xml.rels><?xml version='1.0' encoding='UTF-8' standalone='yes'?>
<Relationships xmlns="http://schemas.openxmlformats.org/package/2006/relationships"><Relationship Id="rId1" Type="http://schemas.openxmlformats.org/officeDocument/2006/relationships/themeOverride" Target="../theme/themeOverride1792.xml"/><Relationship Id="rId2" Type="http://schemas.openxmlformats.org/officeDocument/2006/relationships/package" Target="../embeddings/Microsoft_Excel_Worksheet1791.xlsx"/></Relationships>
</file>

<file path=ppt/charts/_rels/chart1793.xml.rels><?xml version='1.0' encoding='UTF-8' standalone='yes'?>
<Relationships xmlns="http://schemas.openxmlformats.org/package/2006/relationships"><Relationship Id="rId1" Type="http://schemas.openxmlformats.org/officeDocument/2006/relationships/themeOverride" Target="../theme/themeOverride1793.xml"/><Relationship Id="rId2" Type="http://schemas.openxmlformats.org/officeDocument/2006/relationships/package" Target="../embeddings/Microsoft_Excel_Worksheet1792.xlsx"/></Relationships>
</file>

<file path=ppt/charts/_rels/chart1794.xml.rels><?xml version='1.0' encoding='UTF-8' standalone='yes'?>
<Relationships xmlns="http://schemas.openxmlformats.org/package/2006/relationships"><Relationship Id="rId1" Type="http://schemas.openxmlformats.org/officeDocument/2006/relationships/themeOverride" Target="../theme/themeOverride1794.xml"/><Relationship Id="rId2" Type="http://schemas.openxmlformats.org/officeDocument/2006/relationships/package" Target="../embeddings/Microsoft_Excel_Worksheet1793.xlsx"/></Relationships>
</file>

<file path=ppt/charts/_rels/chart1795.xml.rels><?xml version='1.0' encoding='UTF-8' standalone='yes'?>
<Relationships xmlns="http://schemas.openxmlformats.org/package/2006/relationships"><Relationship Id="rId1" Type="http://schemas.openxmlformats.org/officeDocument/2006/relationships/themeOverride" Target="../theme/themeOverride1795.xml"/><Relationship Id="rId2" Type="http://schemas.openxmlformats.org/officeDocument/2006/relationships/package" Target="../embeddings/Microsoft_Excel_Worksheet1794.xlsx"/></Relationships>
</file>

<file path=ppt/charts/_rels/chart1811.xml.rels><?xml version='1.0' encoding='UTF-8' standalone='yes'?>
<Relationships xmlns="http://schemas.openxmlformats.org/package/2006/relationships"><Relationship Id="rId1" Type="http://schemas.openxmlformats.org/officeDocument/2006/relationships/themeOverride" Target="../theme/themeOverride1811.xml"/><Relationship Id="rId2" Type="http://schemas.openxmlformats.org/officeDocument/2006/relationships/package" Target="../embeddings/Microsoft_Excel_Worksheet1810.xlsx"/></Relationships>
</file>

<file path=ppt/charts/_rels/chart1812.xml.rels><?xml version='1.0' encoding='UTF-8' standalone='yes'?>
<Relationships xmlns="http://schemas.openxmlformats.org/package/2006/relationships"><Relationship Id="rId1" Type="http://schemas.openxmlformats.org/officeDocument/2006/relationships/themeOverride" Target="../theme/themeOverride1812.xml"/><Relationship Id="rId2" Type="http://schemas.openxmlformats.org/officeDocument/2006/relationships/package" Target="../embeddings/Microsoft_Excel_Worksheet1811.xlsx"/></Relationships>
</file>

<file path=ppt/charts/_rels/chart1813.xml.rels><?xml version='1.0' encoding='UTF-8' standalone='yes'?>
<Relationships xmlns="http://schemas.openxmlformats.org/package/2006/relationships"><Relationship Id="rId1" Type="http://schemas.openxmlformats.org/officeDocument/2006/relationships/themeOverride" Target="../theme/themeOverride1813.xml"/><Relationship Id="rId2" Type="http://schemas.openxmlformats.org/officeDocument/2006/relationships/package" Target="../embeddings/Microsoft_Excel_Worksheet1812.xlsx"/></Relationships>
</file>

<file path=ppt/charts/_rels/chart1814.xml.rels><?xml version='1.0' encoding='UTF-8' standalone='yes'?>
<Relationships xmlns="http://schemas.openxmlformats.org/package/2006/relationships"><Relationship Id="rId1" Type="http://schemas.openxmlformats.org/officeDocument/2006/relationships/themeOverride" Target="../theme/themeOverride1814.xml"/><Relationship Id="rId2" Type="http://schemas.openxmlformats.org/officeDocument/2006/relationships/package" Target="../embeddings/Microsoft_Excel_Worksheet1813.xlsx"/></Relationships>
</file>

<file path=ppt/charts/_rels/chart1815.xml.rels><?xml version='1.0' encoding='UTF-8' standalone='yes'?>
<Relationships xmlns="http://schemas.openxmlformats.org/package/2006/relationships"><Relationship Id="rId1" Type="http://schemas.openxmlformats.org/officeDocument/2006/relationships/themeOverride" Target="../theme/themeOverride1815.xml"/><Relationship Id="rId2" Type="http://schemas.openxmlformats.org/officeDocument/2006/relationships/package" Target="../embeddings/Microsoft_Excel_Worksheet1814.xlsx"/></Relationships>
</file>

<file path=ppt/charts/_rels/chart1826.xml.rels><?xml version='1.0' encoding='UTF-8' standalone='yes'?>
<Relationships xmlns="http://schemas.openxmlformats.org/package/2006/relationships"><Relationship Id="rId1" Type="http://schemas.openxmlformats.org/officeDocument/2006/relationships/themeOverride" Target="../theme/themeOverride1826.xml"/><Relationship Id="rId2" Type="http://schemas.openxmlformats.org/officeDocument/2006/relationships/package" Target="../embeddings/Microsoft_Excel_Worksheet1825.xlsx"/></Relationships>
</file>

<file path=ppt/charts/_rels/chart1827.xml.rels><?xml version='1.0' encoding='UTF-8' standalone='yes'?>
<Relationships xmlns="http://schemas.openxmlformats.org/package/2006/relationships"><Relationship Id="rId1" Type="http://schemas.openxmlformats.org/officeDocument/2006/relationships/themeOverride" Target="../theme/themeOverride1827.xml"/><Relationship Id="rId2" Type="http://schemas.openxmlformats.org/officeDocument/2006/relationships/package" Target="../embeddings/Microsoft_Excel_Worksheet1826.xlsx"/></Relationships>
</file>

<file path=ppt/charts/_rels/chart1828.xml.rels><?xml version='1.0' encoding='UTF-8' standalone='yes'?>
<Relationships xmlns="http://schemas.openxmlformats.org/package/2006/relationships"><Relationship Id="rId1" Type="http://schemas.openxmlformats.org/officeDocument/2006/relationships/themeOverride" Target="../theme/themeOverride1828.xml"/><Relationship Id="rId2" Type="http://schemas.openxmlformats.org/officeDocument/2006/relationships/package" Target="../embeddings/Microsoft_Excel_Worksheet1827.xlsx"/></Relationships>
</file>

<file path=ppt/charts/_rels/chart1829.xml.rels><?xml version='1.0' encoding='UTF-8' standalone='yes'?>
<Relationships xmlns="http://schemas.openxmlformats.org/package/2006/relationships"><Relationship Id="rId1" Type="http://schemas.openxmlformats.org/officeDocument/2006/relationships/themeOverride" Target="../theme/themeOverride1829.xml"/><Relationship Id="rId2" Type="http://schemas.openxmlformats.org/officeDocument/2006/relationships/package" Target="../embeddings/Microsoft_Excel_Worksheet1828.xlsx"/></Relationships>
</file>

<file path=ppt/charts/_rels/chart1830.xml.rels><?xml version='1.0' encoding='UTF-8' standalone='yes'?>
<Relationships xmlns="http://schemas.openxmlformats.org/package/2006/relationships"><Relationship Id="rId1" Type="http://schemas.openxmlformats.org/officeDocument/2006/relationships/themeOverride" Target="../theme/themeOverride1830.xml"/><Relationship Id="rId2" Type="http://schemas.openxmlformats.org/officeDocument/2006/relationships/package" Target="../embeddings/Microsoft_Excel_Worksheet1829.xlsx"/></Relationships>
</file>

<file path=ppt/charts/_rels/chart186.xml.rels><?xml version='1.0' encoding='UTF-8' standalone='yes'?>
<Relationships xmlns="http://schemas.openxmlformats.org/package/2006/relationships"><Relationship Id="rId1" Type="http://schemas.openxmlformats.org/officeDocument/2006/relationships/themeOverride" Target="../theme/themeOverride186.xml"/><Relationship Id="rId2" Type="http://schemas.openxmlformats.org/officeDocument/2006/relationships/package" Target="../embeddings/Microsoft_Excel_Worksheet185.xlsx"/></Relationships>
</file>

<file path=ppt/charts/_rels/chart1866.xml.rels><?xml version='1.0' encoding='UTF-8' standalone='yes'?>
<Relationships xmlns="http://schemas.openxmlformats.org/package/2006/relationships"><Relationship Id="rId1" Type="http://schemas.openxmlformats.org/officeDocument/2006/relationships/themeOverride" Target="../theme/themeOverride1866.xml"/><Relationship Id="rId2" Type="http://schemas.openxmlformats.org/officeDocument/2006/relationships/package" Target="../embeddings/Microsoft_Excel_Worksheet1865.xlsx"/></Relationships>
</file>

<file path=ppt/charts/_rels/chart1867.xml.rels><?xml version='1.0' encoding='UTF-8' standalone='yes'?>
<Relationships xmlns="http://schemas.openxmlformats.org/package/2006/relationships"><Relationship Id="rId1" Type="http://schemas.openxmlformats.org/officeDocument/2006/relationships/themeOverride" Target="../theme/themeOverride1867.xml"/><Relationship Id="rId2" Type="http://schemas.openxmlformats.org/officeDocument/2006/relationships/package" Target="../embeddings/Microsoft_Excel_Worksheet1866.xlsx"/></Relationships>
</file>

<file path=ppt/charts/_rels/chart1868.xml.rels><?xml version='1.0' encoding='UTF-8' standalone='yes'?>
<Relationships xmlns="http://schemas.openxmlformats.org/package/2006/relationships"><Relationship Id="rId1" Type="http://schemas.openxmlformats.org/officeDocument/2006/relationships/themeOverride" Target="../theme/themeOverride1868.xml"/><Relationship Id="rId2" Type="http://schemas.openxmlformats.org/officeDocument/2006/relationships/package" Target="../embeddings/Microsoft_Excel_Worksheet1867.xlsx"/></Relationships>
</file>

<file path=ppt/charts/_rels/chart1869.xml.rels><?xml version='1.0' encoding='UTF-8' standalone='yes'?>
<Relationships xmlns="http://schemas.openxmlformats.org/package/2006/relationships"><Relationship Id="rId1" Type="http://schemas.openxmlformats.org/officeDocument/2006/relationships/themeOverride" Target="../theme/themeOverride1869.xml"/><Relationship Id="rId2" Type="http://schemas.openxmlformats.org/officeDocument/2006/relationships/package" Target="../embeddings/Microsoft_Excel_Worksheet1868.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187.xml"/><Relationship Id="rId2" Type="http://schemas.openxmlformats.org/officeDocument/2006/relationships/package" Target="../embeddings/Microsoft_Excel_Worksheet186.xlsx"/></Relationships>
</file>

<file path=ppt/charts/_rels/chart1870.xml.rels><?xml version='1.0' encoding='UTF-8' standalone='yes'?>
<Relationships xmlns="http://schemas.openxmlformats.org/package/2006/relationships"><Relationship Id="rId1" Type="http://schemas.openxmlformats.org/officeDocument/2006/relationships/themeOverride" Target="../theme/themeOverride1870.xml"/><Relationship Id="rId2" Type="http://schemas.openxmlformats.org/officeDocument/2006/relationships/package" Target="../embeddings/Microsoft_Excel_Worksheet1869.xlsx"/></Relationships>
</file>

<file path=ppt/charts/_rels/chart1871.xml.rels><?xml version='1.0' encoding='UTF-8' standalone='yes'?>
<Relationships xmlns="http://schemas.openxmlformats.org/package/2006/relationships"><Relationship Id="rId1" Type="http://schemas.openxmlformats.org/officeDocument/2006/relationships/themeOverride" Target="../theme/themeOverride1871.xml"/><Relationship Id="rId2" Type="http://schemas.openxmlformats.org/officeDocument/2006/relationships/package" Target="../embeddings/Microsoft_Excel_Worksheet1870.xlsx"/></Relationships>
</file>

<file path=ppt/charts/_rels/chart1872.xml.rels><?xml version='1.0' encoding='UTF-8' standalone='yes'?>
<Relationships xmlns="http://schemas.openxmlformats.org/package/2006/relationships"><Relationship Id="rId1" Type="http://schemas.openxmlformats.org/officeDocument/2006/relationships/themeOverride" Target="../theme/themeOverride1872.xml"/><Relationship Id="rId2" Type="http://schemas.openxmlformats.org/officeDocument/2006/relationships/package" Target="../embeddings/Microsoft_Excel_Worksheet1871.xlsx"/></Relationships>
</file>

<file path=ppt/charts/_rels/chart1873.xml.rels><?xml version='1.0' encoding='UTF-8' standalone='yes'?>
<Relationships xmlns="http://schemas.openxmlformats.org/package/2006/relationships"><Relationship Id="rId1" Type="http://schemas.openxmlformats.org/officeDocument/2006/relationships/themeOverride" Target="../theme/themeOverride1873.xml"/><Relationship Id="rId2" Type="http://schemas.openxmlformats.org/officeDocument/2006/relationships/package" Target="../embeddings/Microsoft_Excel_Worksheet1872.xlsx"/></Relationships>
</file>

<file path=ppt/charts/_rels/chart1874.xml.rels><?xml version='1.0' encoding='UTF-8' standalone='yes'?>
<Relationships xmlns="http://schemas.openxmlformats.org/package/2006/relationships"><Relationship Id="rId1" Type="http://schemas.openxmlformats.org/officeDocument/2006/relationships/themeOverride" Target="../theme/themeOverride1874.xml"/><Relationship Id="rId2" Type="http://schemas.openxmlformats.org/officeDocument/2006/relationships/package" Target="../embeddings/Microsoft_Excel_Worksheet1873.xlsx"/></Relationships>
</file>

<file path=ppt/charts/_rels/chart1875.xml.rels><?xml version='1.0' encoding='UTF-8' standalone='yes'?>
<Relationships xmlns="http://schemas.openxmlformats.org/package/2006/relationships"><Relationship Id="rId1" Type="http://schemas.openxmlformats.org/officeDocument/2006/relationships/themeOverride" Target="../theme/themeOverride1875.xml"/><Relationship Id="rId2" Type="http://schemas.openxmlformats.org/officeDocument/2006/relationships/package" Target="../embeddings/Microsoft_Excel_Worksheet1874.xlsx"/></Relationships>
</file>

<file path=ppt/charts/_rels/chart1876.xml.rels><?xml version='1.0' encoding='UTF-8' standalone='yes'?>
<Relationships xmlns="http://schemas.openxmlformats.org/package/2006/relationships"><Relationship Id="rId1" Type="http://schemas.openxmlformats.org/officeDocument/2006/relationships/themeOverride" Target="../theme/themeOverride1876.xml"/><Relationship Id="rId2" Type="http://schemas.openxmlformats.org/officeDocument/2006/relationships/package" Target="../embeddings/Microsoft_Excel_Worksheet1875.xlsx"/></Relationships>
</file>

<file path=ppt/charts/_rels/chart1877.xml.rels><?xml version='1.0' encoding='UTF-8' standalone='yes'?>
<Relationships xmlns="http://schemas.openxmlformats.org/package/2006/relationships"><Relationship Id="rId1" Type="http://schemas.openxmlformats.org/officeDocument/2006/relationships/themeOverride" Target="../theme/themeOverride1877.xml"/><Relationship Id="rId2" Type="http://schemas.openxmlformats.org/officeDocument/2006/relationships/package" Target="../embeddings/Microsoft_Excel_Worksheet1876.xlsx"/></Relationships>
</file>

<file path=ppt/charts/_rels/chart1878.xml.rels><?xml version='1.0' encoding='UTF-8' standalone='yes'?>
<Relationships xmlns="http://schemas.openxmlformats.org/package/2006/relationships"><Relationship Id="rId1" Type="http://schemas.openxmlformats.org/officeDocument/2006/relationships/themeOverride" Target="../theme/themeOverride1878.xml"/><Relationship Id="rId2" Type="http://schemas.openxmlformats.org/officeDocument/2006/relationships/package" Target="../embeddings/Microsoft_Excel_Worksheet1877.xlsx"/></Relationships>
</file>

<file path=ppt/charts/_rels/chart1879.xml.rels><?xml version='1.0' encoding='UTF-8' standalone='yes'?>
<Relationships xmlns="http://schemas.openxmlformats.org/package/2006/relationships"><Relationship Id="rId1" Type="http://schemas.openxmlformats.org/officeDocument/2006/relationships/themeOverride" Target="../theme/themeOverride1879.xml"/><Relationship Id="rId2" Type="http://schemas.openxmlformats.org/officeDocument/2006/relationships/package" Target="../embeddings/Microsoft_Excel_Worksheet1878.xlsx"/></Relationships>
</file>

<file path=ppt/charts/_rels/chart188.xml.rels><?xml version='1.0' encoding='UTF-8' standalone='yes'?>
<Relationships xmlns="http://schemas.openxmlformats.org/package/2006/relationships"><Relationship Id="rId1" Type="http://schemas.openxmlformats.org/officeDocument/2006/relationships/themeOverride" Target="../theme/themeOverride188.xml"/><Relationship Id="rId2" Type="http://schemas.openxmlformats.org/officeDocument/2006/relationships/package" Target="../embeddings/Microsoft_Excel_Worksheet187.xlsx"/></Relationships>
</file>

<file path=ppt/charts/_rels/chart1880.xml.rels><?xml version='1.0' encoding='UTF-8' standalone='yes'?>
<Relationships xmlns="http://schemas.openxmlformats.org/package/2006/relationships"><Relationship Id="rId1" Type="http://schemas.openxmlformats.org/officeDocument/2006/relationships/themeOverride" Target="../theme/themeOverride1880.xml"/><Relationship Id="rId2" Type="http://schemas.openxmlformats.org/officeDocument/2006/relationships/package" Target="../embeddings/Microsoft_Excel_Worksheet1879.xlsx"/></Relationships>
</file>

<file path=ppt/charts/_rels/chart189.xml.rels><?xml version='1.0' encoding='UTF-8' standalone='yes'?>
<Relationships xmlns="http://schemas.openxmlformats.org/package/2006/relationships"><Relationship Id="rId1" Type="http://schemas.openxmlformats.org/officeDocument/2006/relationships/themeOverride" Target="../theme/themeOverride189.xml"/><Relationship Id="rId2" Type="http://schemas.openxmlformats.org/officeDocument/2006/relationships/package" Target="../embeddings/Microsoft_Excel_Worksheet188.xlsx"/></Relationships>
</file>

<file path=ppt/charts/_rels/chart190.xml.rels><?xml version='1.0' encoding='UTF-8' standalone='yes'?>
<Relationships xmlns="http://schemas.openxmlformats.org/package/2006/relationships"><Relationship Id="rId1" Type="http://schemas.openxmlformats.org/officeDocument/2006/relationships/themeOverride" Target="../theme/themeOverride190.xml"/><Relationship Id="rId2" Type="http://schemas.openxmlformats.org/officeDocument/2006/relationships/package" Target="../embeddings/Microsoft_Excel_Worksheet189.xlsx"/></Relationships>
</file>

<file path=ppt/charts/_rels/chart1901.xml.rels><?xml version='1.0' encoding='UTF-8' standalone='yes'?>
<Relationships xmlns="http://schemas.openxmlformats.org/package/2006/relationships"><Relationship Id="rId1" Type="http://schemas.openxmlformats.org/officeDocument/2006/relationships/themeOverride" Target="../theme/themeOverride1901.xml"/><Relationship Id="rId2" Type="http://schemas.openxmlformats.org/officeDocument/2006/relationships/package" Target="../embeddings/Microsoft_Excel_Worksheet1900.xlsx"/></Relationships>
</file>

<file path=ppt/charts/_rels/chart1902.xml.rels><?xml version='1.0' encoding='UTF-8' standalone='yes'?>
<Relationships xmlns="http://schemas.openxmlformats.org/package/2006/relationships"><Relationship Id="rId1" Type="http://schemas.openxmlformats.org/officeDocument/2006/relationships/themeOverride" Target="../theme/themeOverride1902.xml"/><Relationship Id="rId2" Type="http://schemas.openxmlformats.org/officeDocument/2006/relationships/package" Target="../embeddings/Microsoft_Excel_Worksheet1901.xlsx"/></Relationships>
</file>

<file path=ppt/charts/_rels/chart1903.xml.rels><?xml version='1.0' encoding='UTF-8' standalone='yes'?>
<Relationships xmlns="http://schemas.openxmlformats.org/package/2006/relationships"><Relationship Id="rId1" Type="http://schemas.openxmlformats.org/officeDocument/2006/relationships/themeOverride" Target="../theme/themeOverride1903.xml"/><Relationship Id="rId2" Type="http://schemas.openxmlformats.org/officeDocument/2006/relationships/package" Target="../embeddings/Microsoft_Excel_Worksheet1902.xlsx"/></Relationships>
</file>

<file path=ppt/charts/_rels/chart1904.xml.rels><?xml version='1.0' encoding='UTF-8' standalone='yes'?>
<Relationships xmlns="http://schemas.openxmlformats.org/package/2006/relationships"><Relationship Id="rId1" Type="http://schemas.openxmlformats.org/officeDocument/2006/relationships/themeOverride" Target="../theme/themeOverride1904.xml"/><Relationship Id="rId2" Type="http://schemas.openxmlformats.org/officeDocument/2006/relationships/package" Target="../embeddings/Microsoft_Excel_Worksheet1903.xlsx"/></Relationships>
</file>

<file path=ppt/charts/_rels/chart1905.xml.rels><?xml version='1.0' encoding='UTF-8' standalone='yes'?>
<Relationships xmlns="http://schemas.openxmlformats.org/package/2006/relationships"><Relationship Id="rId1" Type="http://schemas.openxmlformats.org/officeDocument/2006/relationships/themeOverride" Target="../theme/themeOverride1905.xml"/><Relationship Id="rId2" Type="http://schemas.openxmlformats.org/officeDocument/2006/relationships/package" Target="../embeddings/Microsoft_Excel_Worksheet1904.xlsx"/></Relationships>
</file>

<file path=ppt/charts/_rels/chart191.xml.rels><?xml version='1.0' encoding='UTF-8' standalone='yes'?>
<Relationships xmlns="http://schemas.openxmlformats.org/package/2006/relationships"><Relationship Id="rId1" Type="http://schemas.openxmlformats.org/officeDocument/2006/relationships/themeOverride" Target="../theme/themeOverride191.xml"/><Relationship Id="rId2"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themeOverride" Target="../theme/themeOverride192.xml"/><Relationship Id="rId2" Type="http://schemas.openxmlformats.org/officeDocument/2006/relationships/package" Target="../embeddings/Microsoft_Excel_Worksheet191.xlsx"/></Relationships>
</file>

<file path=ppt/charts/_rels/chart1921.xml.rels><?xml version='1.0' encoding='UTF-8' standalone='yes'?>
<Relationships xmlns="http://schemas.openxmlformats.org/package/2006/relationships"><Relationship Id="rId1" Type="http://schemas.openxmlformats.org/officeDocument/2006/relationships/themeOverride" Target="../theme/themeOverride1921.xml"/><Relationship Id="rId2" Type="http://schemas.openxmlformats.org/officeDocument/2006/relationships/package" Target="../embeddings/Microsoft_Excel_Worksheet1920.xlsx"/></Relationships>
</file>

<file path=ppt/charts/_rels/chart1922.xml.rels><?xml version='1.0' encoding='UTF-8' standalone='yes'?>
<Relationships xmlns="http://schemas.openxmlformats.org/package/2006/relationships"><Relationship Id="rId1" Type="http://schemas.openxmlformats.org/officeDocument/2006/relationships/themeOverride" Target="../theme/themeOverride1922.xml"/><Relationship Id="rId2" Type="http://schemas.openxmlformats.org/officeDocument/2006/relationships/package" Target="../embeddings/Microsoft_Excel_Worksheet1921.xlsx"/></Relationships>
</file>

<file path=ppt/charts/_rels/chart1923.xml.rels><?xml version='1.0' encoding='UTF-8' standalone='yes'?>
<Relationships xmlns="http://schemas.openxmlformats.org/package/2006/relationships"><Relationship Id="rId1" Type="http://schemas.openxmlformats.org/officeDocument/2006/relationships/themeOverride" Target="../theme/themeOverride1923.xml"/><Relationship Id="rId2" Type="http://schemas.openxmlformats.org/officeDocument/2006/relationships/package" Target="../embeddings/Microsoft_Excel_Worksheet1922.xlsx"/></Relationships>
</file>

<file path=ppt/charts/_rels/chart1924.xml.rels><?xml version='1.0' encoding='UTF-8' standalone='yes'?>
<Relationships xmlns="http://schemas.openxmlformats.org/package/2006/relationships"><Relationship Id="rId1" Type="http://schemas.openxmlformats.org/officeDocument/2006/relationships/themeOverride" Target="../theme/themeOverride1924.xml"/><Relationship Id="rId2" Type="http://schemas.openxmlformats.org/officeDocument/2006/relationships/package" Target="../embeddings/Microsoft_Excel_Worksheet1923.xlsx"/></Relationships>
</file>

<file path=ppt/charts/_rels/chart1925.xml.rels><?xml version='1.0' encoding='UTF-8' standalone='yes'?>
<Relationships xmlns="http://schemas.openxmlformats.org/package/2006/relationships"><Relationship Id="rId1" Type="http://schemas.openxmlformats.org/officeDocument/2006/relationships/themeOverride" Target="../theme/themeOverride1925.xml"/><Relationship Id="rId2" Type="http://schemas.openxmlformats.org/officeDocument/2006/relationships/package" Target="../embeddings/Microsoft_Excel_Worksheet1924.xlsx"/></Relationships>
</file>

<file path=ppt/charts/_rels/chart193.xml.rels><?xml version='1.0' encoding='UTF-8' standalone='yes'?>
<Relationships xmlns="http://schemas.openxmlformats.org/package/2006/relationships"><Relationship Id="rId1" Type="http://schemas.openxmlformats.org/officeDocument/2006/relationships/themeOverride" Target="../theme/themeOverride193.xml"/><Relationship Id="rId2" Type="http://schemas.openxmlformats.org/officeDocument/2006/relationships/package" Target="../embeddings/Microsoft_Excel_Worksheet192.xlsx"/></Relationships>
</file>

<file path=ppt/charts/_rels/chart1936.xml.rels><?xml version='1.0' encoding='UTF-8' standalone='yes'?>
<Relationships xmlns="http://schemas.openxmlformats.org/package/2006/relationships"><Relationship Id="rId1" Type="http://schemas.openxmlformats.org/officeDocument/2006/relationships/themeOverride" Target="../theme/themeOverride1936.xml"/><Relationship Id="rId2" Type="http://schemas.openxmlformats.org/officeDocument/2006/relationships/package" Target="../embeddings/Microsoft_Excel_Worksheet1935.xlsx"/></Relationships>
</file>

<file path=ppt/charts/_rels/chart1937.xml.rels><?xml version='1.0' encoding='UTF-8' standalone='yes'?>
<Relationships xmlns="http://schemas.openxmlformats.org/package/2006/relationships"><Relationship Id="rId1" Type="http://schemas.openxmlformats.org/officeDocument/2006/relationships/themeOverride" Target="../theme/themeOverride1937.xml"/><Relationship Id="rId2" Type="http://schemas.openxmlformats.org/officeDocument/2006/relationships/package" Target="../embeddings/Microsoft_Excel_Worksheet1936.xlsx"/></Relationships>
</file>

<file path=ppt/charts/_rels/chart1938.xml.rels><?xml version='1.0' encoding='UTF-8' standalone='yes'?>
<Relationships xmlns="http://schemas.openxmlformats.org/package/2006/relationships"><Relationship Id="rId1" Type="http://schemas.openxmlformats.org/officeDocument/2006/relationships/themeOverride" Target="../theme/themeOverride1938.xml"/><Relationship Id="rId2" Type="http://schemas.openxmlformats.org/officeDocument/2006/relationships/package" Target="../embeddings/Microsoft_Excel_Worksheet1937.xlsx"/></Relationships>
</file>

<file path=ppt/charts/_rels/chart1939.xml.rels><?xml version='1.0' encoding='UTF-8' standalone='yes'?>
<Relationships xmlns="http://schemas.openxmlformats.org/package/2006/relationships"><Relationship Id="rId1" Type="http://schemas.openxmlformats.org/officeDocument/2006/relationships/themeOverride" Target="../theme/themeOverride1939.xml"/><Relationship Id="rId2" Type="http://schemas.openxmlformats.org/officeDocument/2006/relationships/package" Target="../embeddings/Microsoft_Excel_Worksheet1938.xlsx"/></Relationships>
</file>

<file path=ppt/charts/_rels/chart194.xml.rels><?xml version='1.0' encoding='UTF-8' standalone='yes'?>
<Relationships xmlns="http://schemas.openxmlformats.org/package/2006/relationships"><Relationship Id="rId1" Type="http://schemas.openxmlformats.org/officeDocument/2006/relationships/themeOverride" Target="../theme/themeOverride194.xml"/><Relationship Id="rId2" Type="http://schemas.openxmlformats.org/officeDocument/2006/relationships/package" Target="../embeddings/Microsoft_Excel_Worksheet193.xlsx"/></Relationships>
</file>

<file path=ppt/charts/_rels/chart1940.xml.rels><?xml version='1.0' encoding='UTF-8' standalone='yes'?>
<Relationships xmlns="http://schemas.openxmlformats.org/package/2006/relationships"><Relationship Id="rId1" Type="http://schemas.openxmlformats.org/officeDocument/2006/relationships/themeOverride" Target="../theme/themeOverride1940.xml"/><Relationship Id="rId2" Type="http://schemas.openxmlformats.org/officeDocument/2006/relationships/package" Target="../embeddings/Microsoft_Excel_Worksheet1939.xlsx"/></Relationships>
</file>

<file path=ppt/charts/_rels/chart195.xml.rels><?xml version='1.0' encoding='UTF-8' standalone='yes'?>
<Relationships xmlns="http://schemas.openxmlformats.org/package/2006/relationships"><Relationship Id="rId1" Type="http://schemas.openxmlformats.org/officeDocument/2006/relationships/themeOverride" Target="../theme/themeOverride195.xml"/><Relationship Id="rId2" Type="http://schemas.openxmlformats.org/officeDocument/2006/relationships/package" Target="../embeddings/Microsoft_Excel_Worksheet194.xlsx"/></Relationships>
</file>

<file path=ppt/charts/_rels/chart1981.xml.rels><?xml version='1.0' encoding='UTF-8' standalone='yes'?>
<Relationships xmlns="http://schemas.openxmlformats.org/package/2006/relationships"><Relationship Id="rId1" Type="http://schemas.openxmlformats.org/officeDocument/2006/relationships/themeOverride" Target="../theme/themeOverride1981.xml"/><Relationship Id="rId2" Type="http://schemas.openxmlformats.org/officeDocument/2006/relationships/package" Target="../embeddings/Microsoft_Excel_Worksheet1980.xlsx"/></Relationships>
</file>

<file path=ppt/charts/_rels/chart1982.xml.rels><?xml version='1.0' encoding='UTF-8' standalone='yes'?>
<Relationships xmlns="http://schemas.openxmlformats.org/package/2006/relationships"><Relationship Id="rId1" Type="http://schemas.openxmlformats.org/officeDocument/2006/relationships/themeOverride" Target="../theme/themeOverride1982.xml"/><Relationship Id="rId2" Type="http://schemas.openxmlformats.org/officeDocument/2006/relationships/package" Target="../embeddings/Microsoft_Excel_Worksheet1981.xlsx"/></Relationships>
</file>

<file path=ppt/charts/_rels/chart1983.xml.rels><?xml version='1.0' encoding='UTF-8' standalone='yes'?>
<Relationships xmlns="http://schemas.openxmlformats.org/package/2006/relationships"><Relationship Id="rId1" Type="http://schemas.openxmlformats.org/officeDocument/2006/relationships/themeOverride" Target="../theme/themeOverride1983.xml"/><Relationship Id="rId2" Type="http://schemas.openxmlformats.org/officeDocument/2006/relationships/package" Target="../embeddings/Microsoft_Excel_Worksheet1982.xlsx"/></Relationships>
</file>

<file path=ppt/charts/_rels/chart1984.xml.rels><?xml version='1.0' encoding='UTF-8' standalone='yes'?>
<Relationships xmlns="http://schemas.openxmlformats.org/package/2006/relationships"><Relationship Id="rId1" Type="http://schemas.openxmlformats.org/officeDocument/2006/relationships/themeOverride" Target="../theme/themeOverride1984.xml"/><Relationship Id="rId2" Type="http://schemas.openxmlformats.org/officeDocument/2006/relationships/package" Target="../embeddings/Microsoft_Excel_Worksheet1983.xlsx"/></Relationships>
</file>

<file path=ppt/charts/_rels/chart1985.xml.rels><?xml version='1.0' encoding='UTF-8' standalone='yes'?>
<Relationships xmlns="http://schemas.openxmlformats.org/package/2006/relationships"><Relationship Id="rId1" Type="http://schemas.openxmlformats.org/officeDocument/2006/relationships/themeOverride" Target="../theme/themeOverride1985.xml"/><Relationship Id="rId2" Type="http://schemas.openxmlformats.org/officeDocument/2006/relationships/package" Target="../embeddings/Microsoft_Excel_Worksheet1984.xlsx"/></Relationships>
</file>

<file path=ppt/charts/_rels/chart1986.xml.rels><?xml version='1.0' encoding='UTF-8' standalone='yes'?>
<Relationships xmlns="http://schemas.openxmlformats.org/package/2006/relationships"><Relationship Id="rId1" Type="http://schemas.openxmlformats.org/officeDocument/2006/relationships/themeOverride" Target="../theme/themeOverride1986.xml"/><Relationship Id="rId2" Type="http://schemas.openxmlformats.org/officeDocument/2006/relationships/package" Target="../embeddings/Microsoft_Excel_Worksheet1985.xlsx"/></Relationships>
</file>

<file path=ppt/charts/_rels/chart1987.xml.rels><?xml version='1.0' encoding='UTF-8' standalone='yes'?>
<Relationships xmlns="http://schemas.openxmlformats.org/package/2006/relationships"><Relationship Id="rId1" Type="http://schemas.openxmlformats.org/officeDocument/2006/relationships/themeOverride" Target="../theme/themeOverride1987.xml"/><Relationship Id="rId2" Type="http://schemas.openxmlformats.org/officeDocument/2006/relationships/package" Target="../embeddings/Microsoft_Excel_Worksheet1986.xlsx"/></Relationships>
</file>

<file path=ppt/charts/_rels/chart1988.xml.rels><?xml version='1.0' encoding='UTF-8' standalone='yes'?>
<Relationships xmlns="http://schemas.openxmlformats.org/package/2006/relationships"><Relationship Id="rId1" Type="http://schemas.openxmlformats.org/officeDocument/2006/relationships/themeOverride" Target="../theme/themeOverride1988.xml"/><Relationship Id="rId2" Type="http://schemas.openxmlformats.org/officeDocument/2006/relationships/package" Target="../embeddings/Microsoft_Excel_Worksheet1987.xlsx"/></Relationships>
</file>

<file path=ppt/charts/_rels/chart1989.xml.rels><?xml version='1.0' encoding='UTF-8' standalone='yes'?>
<Relationships xmlns="http://schemas.openxmlformats.org/package/2006/relationships"><Relationship Id="rId1" Type="http://schemas.openxmlformats.org/officeDocument/2006/relationships/themeOverride" Target="../theme/themeOverride1989.xml"/><Relationship Id="rId2" Type="http://schemas.openxmlformats.org/officeDocument/2006/relationships/package" Target="../embeddings/Microsoft_Excel_Worksheet1988.xlsx"/></Relationships>
</file>

<file path=ppt/charts/_rels/chart1990.xml.rels><?xml version='1.0' encoding='UTF-8' standalone='yes'?>
<Relationships xmlns="http://schemas.openxmlformats.org/package/2006/relationships"><Relationship Id="rId1" Type="http://schemas.openxmlformats.org/officeDocument/2006/relationships/themeOverride" Target="../theme/themeOverride1990.xml"/><Relationship Id="rId2" Type="http://schemas.openxmlformats.org/officeDocument/2006/relationships/package" Target="../embeddings/Microsoft_Excel_Worksheet1989.xlsx"/></Relationships>
</file>

<file path=ppt/charts/_rels/chart2036.xml.rels><?xml version='1.0' encoding='UTF-8' standalone='yes'?>
<Relationships xmlns="http://schemas.openxmlformats.org/package/2006/relationships"><Relationship Id="rId1" Type="http://schemas.openxmlformats.org/officeDocument/2006/relationships/themeOverride" Target="../theme/themeOverride2036.xml"/><Relationship Id="rId2" Type="http://schemas.openxmlformats.org/officeDocument/2006/relationships/package" Target="../embeddings/Microsoft_Excel_Worksheet2035.xlsx"/></Relationships>
</file>

<file path=ppt/charts/_rels/chart2037.xml.rels><?xml version='1.0' encoding='UTF-8' standalone='yes'?>
<Relationships xmlns="http://schemas.openxmlformats.org/package/2006/relationships"><Relationship Id="rId1" Type="http://schemas.openxmlformats.org/officeDocument/2006/relationships/themeOverride" Target="../theme/themeOverride2037.xml"/><Relationship Id="rId2" Type="http://schemas.openxmlformats.org/officeDocument/2006/relationships/package" Target="../embeddings/Microsoft_Excel_Worksheet2036.xlsx"/></Relationships>
</file>

<file path=ppt/charts/_rels/chart2038.xml.rels><?xml version='1.0' encoding='UTF-8' standalone='yes'?>
<Relationships xmlns="http://schemas.openxmlformats.org/package/2006/relationships"><Relationship Id="rId1" Type="http://schemas.openxmlformats.org/officeDocument/2006/relationships/themeOverride" Target="../theme/themeOverride2038.xml"/><Relationship Id="rId2" Type="http://schemas.openxmlformats.org/officeDocument/2006/relationships/package" Target="../embeddings/Microsoft_Excel_Worksheet2037.xlsx"/></Relationships>
</file>

<file path=ppt/charts/_rels/chart2039.xml.rels><?xml version='1.0' encoding='UTF-8' standalone='yes'?>
<Relationships xmlns="http://schemas.openxmlformats.org/package/2006/relationships"><Relationship Id="rId1" Type="http://schemas.openxmlformats.org/officeDocument/2006/relationships/themeOverride" Target="../theme/themeOverride2039.xml"/><Relationship Id="rId2"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openxmlformats.org/officeDocument/2006/relationships/themeOverride" Target="../theme/themeOverride2040.xml"/><Relationship Id="rId2" Type="http://schemas.openxmlformats.org/officeDocument/2006/relationships/package" Target="../embeddings/Microsoft_Excel_Worksheet2039.xlsx"/></Relationships>
</file>

<file path=ppt/charts/_rels/chart2061.xml.rels><?xml version='1.0' encoding='UTF-8' standalone='yes'?>
<Relationships xmlns="http://schemas.openxmlformats.org/package/2006/relationships"><Relationship Id="rId1" Type="http://schemas.openxmlformats.org/officeDocument/2006/relationships/themeOverride" Target="../theme/themeOverride2061.xml"/><Relationship Id="rId2" Type="http://schemas.openxmlformats.org/officeDocument/2006/relationships/package" Target="../embeddings/Microsoft_Excel_Worksheet2060.xlsx"/></Relationships>
</file>

<file path=ppt/charts/_rels/chart2062.xml.rels><?xml version='1.0' encoding='UTF-8' standalone='yes'?>
<Relationships xmlns="http://schemas.openxmlformats.org/package/2006/relationships"><Relationship Id="rId1" Type="http://schemas.openxmlformats.org/officeDocument/2006/relationships/themeOverride" Target="../theme/themeOverride2062.xml"/><Relationship Id="rId2" Type="http://schemas.openxmlformats.org/officeDocument/2006/relationships/package" Target="../embeddings/Microsoft_Excel_Worksheet2061.xlsx"/></Relationships>
</file>

<file path=ppt/charts/_rels/chart2063.xml.rels><?xml version='1.0' encoding='UTF-8' standalone='yes'?>
<Relationships xmlns="http://schemas.openxmlformats.org/package/2006/relationships"><Relationship Id="rId1" Type="http://schemas.openxmlformats.org/officeDocument/2006/relationships/themeOverride" Target="../theme/themeOverride2063.xml"/><Relationship Id="rId2" Type="http://schemas.openxmlformats.org/officeDocument/2006/relationships/package" Target="../embeddings/Microsoft_Excel_Worksheet2062.xlsx"/></Relationships>
</file>

<file path=ppt/charts/_rels/chart2064.xml.rels><?xml version='1.0' encoding='UTF-8' standalone='yes'?>
<Relationships xmlns="http://schemas.openxmlformats.org/package/2006/relationships"><Relationship Id="rId1" Type="http://schemas.openxmlformats.org/officeDocument/2006/relationships/themeOverride" Target="../theme/themeOverride2064.xml"/><Relationship Id="rId2" Type="http://schemas.openxmlformats.org/officeDocument/2006/relationships/package" Target="../embeddings/Microsoft_Excel_Worksheet2063.xlsx"/></Relationships>
</file>

<file path=ppt/charts/_rels/chart2065.xml.rels><?xml version='1.0' encoding='UTF-8' standalone='yes'?>
<Relationships xmlns="http://schemas.openxmlformats.org/package/2006/relationships"><Relationship Id="rId1" Type="http://schemas.openxmlformats.org/officeDocument/2006/relationships/themeOverride" Target="../theme/themeOverride2065.xml"/><Relationship Id="rId2" Type="http://schemas.openxmlformats.org/officeDocument/2006/relationships/package" Target="../embeddings/Microsoft_Excel_Worksheet2064.xlsx"/></Relationships>
</file>

<file path=ppt/charts/_rels/chart2091.xml.rels><?xml version='1.0' encoding='UTF-8' standalone='yes'?>
<Relationships xmlns="http://schemas.openxmlformats.org/package/2006/relationships"><Relationship Id="rId1" Type="http://schemas.openxmlformats.org/officeDocument/2006/relationships/themeOverride" Target="../theme/themeOverride2091.xml"/><Relationship Id="rId2" Type="http://schemas.openxmlformats.org/officeDocument/2006/relationships/package" Target="../embeddings/Microsoft_Excel_Worksheet2090.xlsx"/></Relationships>
</file>

<file path=ppt/charts/_rels/chart2092.xml.rels><?xml version='1.0' encoding='UTF-8' standalone='yes'?>
<Relationships xmlns="http://schemas.openxmlformats.org/package/2006/relationships"><Relationship Id="rId1" Type="http://schemas.openxmlformats.org/officeDocument/2006/relationships/themeOverride" Target="../theme/themeOverride2092.xml"/><Relationship Id="rId2" Type="http://schemas.openxmlformats.org/officeDocument/2006/relationships/package" Target="../embeddings/Microsoft_Excel_Worksheet2091.xlsx"/></Relationships>
</file>

<file path=ppt/charts/_rels/chart2093.xml.rels><?xml version='1.0' encoding='UTF-8' standalone='yes'?>
<Relationships xmlns="http://schemas.openxmlformats.org/package/2006/relationships"><Relationship Id="rId1" Type="http://schemas.openxmlformats.org/officeDocument/2006/relationships/themeOverride" Target="../theme/themeOverride2093.xml"/><Relationship Id="rId2" Type="http://schemas.openxmlformats.org/officeDocument/2006/relationships/package" Target="../embeddings/Microsoft_Excel_Worksheet2092.xlsx"/></Relationships>
</file>

<file path=ppt/charts/_rels/chart2094.xml.rels><?xml version='1.0' encoding='UTF-8' standalone='yes'?>
<Relationships xmlns="http://schemas.openxmlformats.org/package/2006/relationships"><Relationship Id="rId1" Type="http://schemas.openxmlformats.org/officeDocument/2006/relationships/themeOverride" Target="../theme/themeOverride2094.xml"/><Relationship Id="rId2" Type="http://schemas.openxmlformats.org/officeDocument/2006/relationships/package" Target="../embeddings/Microsoft_Excel_Worksheet2093.xlsx"/></Relationships>
</file>

<file path=ppt/charts/_rels/chart2095.xml.rels><?xml version='1.0' encoding='UTF-8' standalone='yes'?>
<Relationships xmlns="http://schemas.openxmlformats.org/package/2006/relationships"><Relationship Id="rId1" Type="http://schemas.openxmlformats.org/officeDocument/2006/relationships/themeOverride" Target="../theme/themeOverride2095.xml"/><Relationship Id="rId2" Type="http://schemas.openxmlformats.org/officeDocument/2006/relationships/package" Target="../embeddings/Microsoft_Excel_Worksheet2094.xlsx"/></Relationships>
</file>

<file path=ppt/charts/_rels/chart2096.xml.rels><?xml version='1.0' encoding='UTF-8' standalone='yes'?>
<Relationships xmlns="http://schemas.openxmlformats.org/package/2006/relationships"><Relationship Id="rId1" Type="http://schemas.openxmlformats.org/officeDocument/2006/relationships/themeOverride" Target="../theme/themeOverride2096.xml"/><Relationship Id="rId2" Type="http://schemas.openxmlformats.org/officeDocument/2006/relationships/package" Target="../embeddings/Microsoft_Excel_Worksheet2095.xlsx"/></Relationships>
</file>

<file path=ppt/charts/_rels/chart2097.xml.rels><?xml version='1.0' encoding='UTF-8' standalone='yes'?>
<Relationships xmlns="http://schemas.openxmlformats.org/package/2006/relationships"><Relationship Id="rId1" Type="http://schemas.openxmlformats.org/officeDocument/2006/relationships/themeOverride" Target="../theme/themeOverride2097.xml"/><Relationship Id="rId2" Type="http://schemas.openxmlformats.org/officeDocument/2006/relationships/package" Target="../embeddings/Microsoft_Excel_Worksheet2096.xlsx"/></Relationships>
</file>

<file path=ppt/charts/_rels/chart2098.xml.rels><?xml version='1.0' encoding='UTF-8' standalone='yes'?>
<Relationships xmlns="http://schemas.openxmlformats.org/package/2006/relationships"><Relationship Id="rId1" Type="http://schemas.openxmlformats.org/officeDocument/2006/relationships/themeOverride" Target="../theme/themeOverride2098.xml"/><Relationship Id="rId2" Type="http://schemas.openxmlformats.org/officeDocument/2006/relationships/package" Target="../embeddings/Microsoft_Excel_Worksheet2097.xlsx"/></Relationships>
</file>

<file path=ppt/charts/_rels/chart2099.xml.rels><?xml version='1.0' encoding='UTF-8' standalone='yes'?>
<Relationships xmlns="http://schemas.openxmlformats.org/package/2006/relationships"><Relationship Id="rId1" Type="http://schemas.openxmlformats.org/officeDocument/2006/relationships/themeOverride" Target="../theme/themeOverride2099.xml"/><Relationship Id="rId2" Type="http://schemas.openxmlformats.org/officeDocument/2006/relationships/package" Target="../embeddings/Microsoft_Excel_Worksheet2098.xlsx"/></Relationships>
</file>

<file path=ppt/charts/_rels/chart2100.xml.rels><?xml version='1.0' encoding='UTF-8' standalone='yes'?>
<Relationships xmlns="http://schemas.openxmlformats.org/package/2006/relationships"><Relationship Id="rId1" Type="http://schemas.openxmlformats.org/officeDocument/2006/relationships/themeOverride" Target="../theme/themeOverride2100.xml"/><Relationship Id="rId2" Type="http://schemas.openxmlformats.org/officeDocument/2006/relationships/package" Target="../embeddings/Microsoft_Excel_Worksheet2099.xlsx"/></Relationships>
</file>

<file path=ppt/charts/_rels/chart2126.xml.rels><?xml version='1.0' encoding='UTF-8' standalone='yes'?>
<Relationships xmlns="http://schemas.openxmlformats.org/package/2006/relationships"><Relationship Id="rId1" Type="http://schemas.openxmlformats.org/officeDocument/2006/relationships/themeOverride" Target="../theme/themeOverride2126.xml"/><Relationship Id="rId2" Type="http://schemas.openxmlformats.org/officeDocument/2006/relationships/package" Target="../embeddings/Microsoft_Excel_Worksheet2125.xlsx"/></Relationships>
</file>

<file path=ppt/charts/_rels/chart2127.xml.rels><?xml version='1.0' encoding='UTF-8' standalone='yes'?>
<Relationships xmlns="http://schemas.openxmlformats.org/package/2006/relationships"><Relationship Id="rId1" Type="http://schemas.openxmlformats.org/officeDocument/2006/relationships/themeOverride" Target="../theme/themeOverride2127.xml"/><Relationship Id="rId2" Type="http://schemas.openxmlformats.org/officeDocument/2006/relationships/package" Target="../embeddings/Microsoft_Excel_Worksheet2126.xlsx"/></Relationships>
</file>

<file path=ppt/charts/_rels/chart2128.xml.rels><?xml version='1.0' encoding='UTF-8' standalone='yes'?>
<Relationships xmlns="http://schemas.openxmlformats.org/package/2006/relationships"><Relationship Id="rId1" Type="http://schemas.openxmlformats.org/officeDocument/2006/relationships/themeOverride" Target="../theme/themeOverride2128.xml"/><Relationship Id="rId2" Type="http://schemas.openxmlformats.org/officeDocument/2006/relationships/package" Target="../embeddings/Microsoft_Excel_Worksheet2127.xlsx"/></Relationships>
</file>

<file path=ppt/charts/_rels/chart2129.xml.rels><?xml version='1.0' encoding='UTF-8' standalone='yes'?>
<Relationships xmlns="http://schemas.openxmlformats.org/package/2006/relationships"><Relationship Id="rId1" Type="http://schemas.openxmlformats.org/officeDocument/2006/relationships/themeOverride" Target="../theme/themeOverride2129.xml"/><Relationship Id="rId2" Type="http://schemas.openxmlformats.org/officeDocument/2006/relationships/package" Target="../embeddings/Microsoft_Excel_Worksheet2128.xlsx"/></Relationships>
</file>

<file path=ppt/charts/_rels/chart2130.xml.rels><?xml version='1.0' encoding='UTF-8' standalone='yes'?>
<Relationships xmlns="http://schemas.openxmlformats.org/package/2006/relationships"><Relationship Id="rId1" Type="http://schemas.openxmlformats.org/officeDocument/2006/relationships/themeOverride" Target="../theme/themeOverride2130.xml"/><Relationship Id="rId2" Type="http://schemas.openxmlformats.org/officeDocument/2006/relationships/package" Target="../embeddings/Microsoft_Excel_Worksheet2129.xlsx"/></Relationships>
</file>

<file path=ppt/charts/_rels/chart2146.xml.rels><?xml version='1.0' encoding='UTF-8' standalone='yes'?>
<Relationships xmlns="http://schemas.openxmlformats.org/package/2006/relationships"><Relationship Id="rId1" Type="http://schemas.openxmlformats.org/officeDocument/2006/relationships/themeOverride" Target="../theme/themeOverride2146.xml"/><Relationship Id="rId2" Type="http://schemas.openxmlformats.org/officeDocument/2006/relationships/package" Target="../embeddings/Microsoft_Excel_Worksheet2145.xlsx"/></Relationships>
</file>

<file path=ppt/charts/_rels/chart2147.xml.rels><?xml version='1.0' encoding='UTF-8' standalone='yes'?>
<Relationships xmlns="http://schemas.openxmlformats.org/package/2006/relationships"><Relationship Id="rId1" Type="http://schemas.openxmlformats.org/officeDocument/2006/relationships/themeOverride" Target="../theme/themeOverride2147.xml"/><Relationship Id="rId2" Type="http://schemas.openxmlformats.org/officeDocument/2006/relationships/package" Target="../embeddings/Microsoft_Excel_Worksheet2146.xlsx"/></Relationships>
</file>

<file path=ppt/charts/_rels/chart2148.xml.rels><?xml version='1.0' encoding='UTF-8' standalone='yes'?>
<Relationships xmlns="http://schemas.openxmlformats.org/package/2006/relationships"><Relationship Id="rId1" Type="http://schemas.openxmlformats.org/officeDocument/2006/relationships/themeOverride" Target="../theme/themeOverride2148.xml"/><Relationship Id="rId2" Type="http://schemas.openxmlformats.org/officeDocument/2006/relationships/package" Target="../embeddings/Microsoft_Excel_Worksheet2147.xlsx"/></Relationships>
</file>

<file path=ppt/charts/_rels/chart2149.xml.rels><?xml version='1.0' encoding='UTF-8' standalone='yes'?>
<Relationships xmlns="http://schemas.openxmlformats.org/package/2006/relationships"><Relationship Id="rId1" Type="http://schemas.openxmlformats.org/officeDocument/2006/relationships/themeOverride" Target="../theme/themeOverride2149.xml"/><Relationship Id="rId2" Type="http://schemas.openxmlformats.org/officeDocument/2006/relationships/package" Target="../embeddings/Microsoft_Excel_Worksheet2148.xlsx"/></Relationships>
</file>

<file path=ppt/charts/_rels/chart2150.xml.rels><?xml version='1.0' encoding='UTF-8' standalone='yes'?>
<Relationships xmlns="http://schemas.openxmlformats.org/package/2006/relationships"><Relationship Id="rId1" Type="http://schemas.openxmlformats.org/officeDocument/2006/relationships/themeOverride" Target="../theme/themeOverride2150.xml"/><Relationship Id="rId2" Type="http://schemas.openxmlformats.org/officeDocument/2006/relationships/package" Target="../embeddings/Microsoft_Excel_Worksheet2149.xlsx"/></Relationships>
</file>

<file path=ppt/charts/_rels/chart2171.xml.rels><?xml version='1.0' encoding='UTF-8' standalone='yes'?>
<Relationships xmlns="http://schemas.openxmlformats.org/package/2006/relationships"><Relationship Id="rId1" Type="http://schemas.openxmlformats.org/officeDocument/2006/relationships/themeOverride" Target="../theme/themeOverride2171.xml"/><Relationship Id="rId2" Type="http://schemas.openxmlformats.org/officeDocument/2006/relationships/package" Target="../embeddings/Microsoft_Excel_Worksheet2170.xlsx"/></Relationships>
</file>

<file path=ppt/charts/_rels/chart2172.xml.rels><?xml version='1.0' encoding='UTF-8' standalone='yes'?>
<Relationships xmlns="http://schemas.openxmlformats.org/package/2006/relationships"><Relationship Id="rId1" Type="http://schemas.openxmlformats.org/officeDocument/2006/relationships/themeOverride" Target="../theme/themeOverride2172.xml"/><Relationship Id="rId2" Type="http://schemas.openxmlformats.org/officeDocument/2006/relationships/package" Target="../embeddings/Microsoft_Excel_Worksheet2171.xlsx"/></Relationships>
</file>

<file path=ppt/charts/_rels/chart2183.xml.rels><?xml version='1.0' encoding='UTF-8' standalone='yes'?>
<Relationships xmlns="http://schemas.openxmlformats.org/package/2006/relationships"><Relationship Id="rId1" Type="http://schemas.openxmlformats.org/officeDocument/2006/relationships/themeOverride" Target="../theme/themeOverride2183.xml"/><Relationship Id="rId2" Type="http://schemas.openxmlformats.org/officeDocument/2006/relationships/package" Target="../embeddings/Microsoft_Excel_Worksheet2182.xlsx"/></Relationships>
</file>

<file path=ppt/charts/_rels/chart2184.xml.rels><?xml version='1.0' encoding='UTF-8' standalone='yes'?>
<Relationships xmlns="http://schemas.openxmlformats.org/package/2006/relationships"><Relationship Id="rId1" Type="http://schemas.openxmlformats.org/officeDocument/2006/relationships/themeOverride" Target="../theme/themeOverride2184.xml"/><Relationship Id="rId2" Type="http://schemas.openxmlformats.org/officeDocument/2006/relationships/package" Target="../embeddings/Microsoft_Excel_Worksheet2183.xlsx"/></Relationships>
</file>

<file path=ppt/charts/_rels/chart2185.xml.rels><?xml version='1.0' encoding='UTF-8' standalone='yes'?>
<Relationships xmlns="http://schemas.openxmlformats.org/package/2006/relationships"><Relationship Id="rId1" Type="http://schemas.openxmlformats.org/officeDocument/2006/relationships/themeOverride" Target="../theme/themeOverride2185.xml"/><Relationship Id="rId2" Type="http://schemas.openxmlformats.org/officeDocument/2006/relationships/package" Target="../embeddings/Microsoft_Excel_Worksheet2184.xlsx"/></Relationships>
</file>

<file path=ppt/charts/_rels/chart2196.xml.rels><?xml version='1.0' encoding='UTF-8' standalone='yes'?>
<Relationships xmlns="http://schemas.openxmlformats.org/package/2006/relationships"><Relationship Id="rId1" Type="http://schemas.openxmlformats.org/officeDocument/2006/relationships/themeOverride" Target="../theme/themeOverride2196.xml"/><Relationship Id="rId2" Type="http://schemas.openxmlformats.org/officeDocument/2006/relationships/package" Target="../embeddings/Microsoft_Excel_Worksheet2195.xlsx"/></Relationships>
</file>

<file path=ppt/charts/_rels/chart2197.xml.rels><?xml version='1.0' encoding='UTF-8' standalone='yes'?>
<Relationships xmlns="http://schemas.openxmlformats.org/package/2006/relationships"><Relationship Id="rId1" Type="http://schemas.openxmlformats.org/officeDocument/2006/relationships/themeOverride" Target="../theme/themeOverride2197.xml"/><Relationship Id="rId2" Type="http://schemas.openxmlformats.org/officeDocument/2006/relationships/package" Target="../embeddings/Microsoft_Excel_Worksheet2196.xlsx"/></Relationships>
</file>

<file path=ppt/charts/_rels/chart2204.xml.rels><?xml version='1.0' encoding='UTF-8' standalone='yes'?>
<Relationships xmlns="http://schemas.openxmlformats.org/package/2006/relationships"><Relationship Id="rId1" Type="http://schemas.openxmlformats.org/officeDocument/2006/relationships/themeOverride" Target="../theme/themeOverride2204.xml"/><Relationship Id="rId2" Type="http://schemas.openxmlformats.org/officeDocument/2006/relationships/package" Target="../embeddings/Microsoft_Excel_Worksheet2203.xlsx"/></Relationships>
</file>

<file path=ppt/charts/_rels/chart2205.xml.rels><?xml version='1.0' encoding='UTF-8' standalone='yes'?>
<Relationships xmlns="http://schemas.openxmlformats.org/package/2006/relationships"><Relationship Id="rId1" Type="http://schemas.openxmlformats.org/officeDocument/2006/relationships/themeOverride" Target="../theme/themeOverride2205.xml"/><Relationship Id="rId2" Type="http://schemas.openxmlformats.org/officeDocument/2006/relationships/package" Target="../embeddings/Microsoft_Excel_Worksheet2204.xlsx"/></Relationships>
</file>

<file path=ppt/charts/_rels/chart2225.xml.rels><?xml version='1.0' encoding='UTF-8' standalone='yes'?>
<Relationships xmlns="http://schemas.openxmlformats.org/package/2006/relationships"><Relationship Id="rId1" Type="http://schemas.openxmlformats.org/officeDocument/2006/relationships/themeOverride" Target="../theme/themeOverride2225.xml"/><Relationship Id="rId2" Type="http://schemas.openxmlformats.org/officeDocument/2006/relationships/package" Target="../embeddings/Microsoft_Excel_Worksheet2224.xlsx"/></Relationships>
</file>

<file path=ppt/charts/_rels/chart2226.xml.rels><?xml version='1.0' encoding='UTF-8' standalone='yes'?>
<Relationships xmlns="http://schemas.openxmlformats.org/package/2006/relationships"><Relationship Id="rId1" Type="http://schemas.openxmlformats.org/officeDocument/2006/relationships/themeOverride" Target="../theme/themeOverride2226.xml"/><Relationship Id="rId2" Type="http://schemas.openxmlformats.org/officeDocument/2006/relationships/package" Target="../embeddings/Microsoft_Excel_Worksheet2225.xlsx"/></Relationships>
</file>

<file path=ppt/charts/_rels/chart2227.xml.rels><?xml version='1.0' encoding='UTF-8' standalone='yes'?>
<Relationships xmlns="http://schemas.openxmlformats.org/package/2006/relationships"><Relationship Id="rId1" Type="http://schemas.openxmlformats.org/officeDocument/2006/relationships/themeOverride" Target="../theme/themeOverride2227.xml"/><Relationship Id="rId2" Type="http://schemas.openxmlformats.org/officeDocument/2006/relationships/package" Target="../embeddings/Microsoft_Excel_Worksheet2226.xlsx"/></Relationships>
</file>

<file path=ppt/charts/_rels/chart2228.xml.rels><?xml version='1.0' encoding='UTF-8' standalone='yes'?>
<Relationships xmlns="http://schemas.openxmlformats.org/package/2006/relationships"><Relationship Id="rId1" Type="http://schemas.openxmlformats.org/officeDocument/2006/relationships/themeOverride" Target="../theme/themeOverride2228.xml"/><Relationship Id="rId2" Type="http://schemas.openxmlformats.org/officeDocument/2006/relationships/package" Target="../embeddings/Microsoft_Excel_Worksheet2227.xlsx"/></Relationships>
</file>

<file path=ppt/charts/_rels/chart2244.xml.rels><?xml version='1.0' encoding='UTF-8' standalone='yes'?>
<Relationships xmlns="http://schemas.openxmlformats.org/package/2006/relationships"><Relationship Id="rId1" Type="http://schemas.openxmlformats.org/officeDocument/2006/relationships/themeOverride" Target="../theme/themeOverride2244.xml"/><Relationship Id="rId2" Type="http://schemas.openxmlformats.org/officeDocument/2006/relationships/package" Target="../embeddings/Microsoft_Excel_Worksheet2243.xlsx"/></Relationships>
</file>

<file path=ppt/charts/_rels/chart2245.xml.rels><?xml version='1.0' encoding='UTF-8' standalone='yes'?>
<Relationships xmlns="http://schemas.openxmlformats.org/package/2006/relationships"><Relationship Id="rId1" Type="http://schemas.openxmlformats.org/officeDocument/2006/relationships/themeOverride" Target="../theme/themeOverride2245.xml"/><Relationship Id="rId2" Type="http://schemas.openxmlformats.org/officeDocument/2006/relationships/package" Target="../embeddings/Microsoft_Excel_Worksheet2244.xlsx"/></Relationships>
</file>

<file path=ppt/charts/_rels/chart2246.xml.rels><?xml version='1.0' encoding='UTF-8' standalone='yes'?>
<Relationships xmlns="http://schemas.openxmlformats.org/package/2006/relationships"><Relationship Id="rId1" Type="http://schemas.openxmlformats.org/officeDocument/2006/relationships/themeOverride" Target="../theme/themeOverride2246.xml"/><Relationship Id="rId2" Type="http://schemas.openxmlformats.org/officeDocument/2006/relationships/package" Target="../embeddings/Microsoft_Excel_Worksheet2245.xlsx"/></Relationships>
</file>

<file path=ppt/charts/_rels/chart2247.xml.rels><?xml version='1.0' encoding='UTF-8' standalone='yes'?>
<Relationships xmlns="http://schemas.openxmlformats.org/package/2006/relationships"><Relationship Id="rId1" Type="http://schemas.openxmlformats.org/officeDocument/2006/relationships/themeOverride" Target="../theme/themeOverride2247.xml"/><Relationship Id="rId2" Type="http://schemas.openxmlformats.org/officeDocument/2006/relationships/package" Target="../embeddings/Microsoft_Excel_Worksheet2246.xlsx"/></Relationships>
</file>

<file path=ppt/charts/_rels/chart2248.xml.rels><?xml version='1.0' encoding='UTF-8' standalone='yes'?>
<Relationships xmlns="http://schemas.openxmlformats.org/package/2006/relationships"><Relationship Id="rId1" Type="http://schemas.openxmlformats.org/officeDocument/2006/relationships/themeOverride" Target="../theme/themeOverride2248.xml"/><Relationship Id="rId2" Type="http://schemas.openxmlformats.org/officeDocument/2006/relationships/package" Target="../embeddings/Microsoft_Excel_Worksheet2247.xlsx"/></Relationships>
</file>

<file path=ppt/charts/_rels/chart2249.xml.rels><?xml version='1.0' encoding='UTF-8' standalone='yes'?>
<Relationships xmlns="http://schemas.openxmlformats.org/package/2006/relationships"><Relationship Id="rId1" Type="http://schemas.openxmlformats.org/officeDocument/2006/relationships/themeOverride" Target="../theme/themeOverride2249.xml"/><Relationship Id="rId2" Type="http://schemas.openxmlformats.org/officeDocument/2006/relationships/package" Target="../embeddings/Microsoft_Excel_Worksheet2248.xlsx"/></Relationships>
</file>

<file path=ppt/charts/_rels/chart2256.xml.rels><?xml version='1.0' encoding='UTF-8' standalone='yes'?>
<Relationships xmlns="http://schemas.openxmlformats.org/package/2006/relationships"><Relationship Id="rId1" Type="http://schemas.openxmlformats.org/officeDocument/2006/relationships/themeOverride" Target="../theme/themeOverride2256.xml"/><Relationship Id="rId2" Type="http://schemas.openxmlformats.org/officeDocument/2006/relationships/package" Target="../embeddings/Microsoft_Excel_Worksheet2255.xlsx"/></Relationships>
</file>

<file path=ppt/charts/_rels/chart2257.xml.rels><?xml version='1.0' encoding='UTF-8' standalone='yes'?>
<Relationships xmlns="http://schemas.openxmlformats.org/package/2006/relationships"><Relationship Id="rId1" Type="http://schemas.openxmlformats.org/officeDocument/2006/relationships/themeOverride" Target="../theme/themeOverride2257.xml"/><Relationship Id="rId2" Type="http://schemas.openxmlformats.org/officeDocument/2006/relationships/package" Target="../embeddings/Microsoft_Excel_Worksheet2256.xlsx"/></Relationships>
</file>

<file path=ppt/charts/_rels/chart2258.xml.rels><?xml version='1.0' encoding='UTF-8' standalone='yes'?>
<Relationships xmlns="http://schemas.openxmlformats.org/package/2006/relationships"><Relationship Id="rId1" Type="http://schemas.openxmlformats.org/officeDocument/2006/relationships/themeOverride" Target="../theme/themeOverride2258.xml"/><Relationship Id="rId2" Type="http://schemas.openxmlformats.org/officeDocument/2006/relationships/package" Target="../embeddings/Microsoft_Excel_Worksheet2257.xlsx"/></Relationships>
</file>

<file path=ppt/charts/_rels/chart2265.xml.rels><?xml version='1.0' encoding='UTF-8' standalone='yes'?>
<Relationships xmlns="http://schemas.openxmlformats.org/package/2006/relationships"><Relationship Id="rId1" Type="http://schemas.openxmlformats.org/officeDocument/2006/relationships/themeOverride" Target="../theme/themeOverride2265.xml"/><Relationship Id="rId2" Type="http://schemas.openxmlformats.org/officeDocument/2006/relationships/package" Target="../embeddings/Microsoft_Excel_Worksheet2264.xlsx"/></Relationships>
</file>

<file path=ppt/charts/_rels/chart2266.xml.rels><?xml version='1.0' encoding='UTF-8' standalone='yes'?>
<Relationships xmlns="http://schemas.openxmlformats.org/package/2006/relationships"><Relationship Id="rId1" Type="http://schemas.openxmlformats.org/officeDocument/2006/relationships/themeOverride" Target="../theme/themeOverride2266.xml"/><Relationship Id="rId2" Type="http://schemas.openxmlformats.org/officeDocument/2006/relationships/package" Target="../embeddings/Microsoft_Excel_Worksheet2265.xlsx"/></Relationships>
</file>

<file path=ppt/charts/_rels/chart2267.xml.rels><?xml version='1.0' encoding='UTF-8' standalone='yes'?>
<Relationships xmlns="http://schemas.openxmlformats.org/package/2006/relationships"><Relationship Id="rId1" Type="http://schemas.openxmlformats.org/officeDocument/2006/relationships/themeOverride" Target="../theme/themeOverride2267.xml"/><Relationship Id="rId2" Type="http://schemas.openxmlformats.org/officeDocument/2006/relationships/package" Target="../embeddings/Microsoft_Excel_Worksheet2266.xlsx"/></Relationships>
</file>

<file path=ppt/charts/_rels/chart2310.xml.rels><?xml version='1.0' encoding='UTF-8' standalone='yes'?>
<Relationships xmlns="http://schemas.openxmlformats.org/package/2006/relationships"><Relationship Id="rId1" Type="http://schemas.openxmlformats.org/officeDocument/2006/relationships/themeOverride" Target="../theme/themeOverride2310.xml"/><Relationship Id="rId2" Type="http://schemas.openxmlformats.org/officeDocument/2006/relationships/package" Target="../embeddings/Microsoft_Excel_Worksheet2309.xlsx"/></Relationships>
</file>

<file path=ppt/charts/_rels/chart2311.xml.rels><?xml version='1.0' encoding='UTF-8' standalone='yes'?>
<Relationships xmlns="http://schemas.openxmlformats.org/package/2006/relationships"><Relationship Id="rId1" Type="http://schemas.openxmlformats.org/officeDocument/2006/relationships/themeOverride" Target="../theme/themeOverride2311.xml"/><Relationship Id="rId2" Type="http://schemas.openxmlformats.org/officeDocument/2006/relationships/package" Target="../embeddings/Microsoft_Excel_Worksheet2310.xlsx"/></Relationships>
</file>

<file path=ppt/charts/_rels/chart2312.xml.rels><?xml version='1.0' encoding='UTF-8' standalone='yes'?>
<Relationships xmlns="http://schemas.openxmlformats.org/package/2006/relationships"><Relationship Id="rId1" Type="http://schemas.openxmlformats.org/officeDocument/2006/relationships/themeOverride" Target="../theme/themeOverride2312.xml"/><Relationship Id="rId2" Type="http://schemas.openxmlformats.org/officeDocument/2006/relationships/package" Target="../embeddings/Microsoft_Excel_Worksheet2311.xlsx"/></Relationships>
</file>

<file path=ppt/charts/_rels/chart2313.xml.rels><?xml version='1.0' encoding='UTF-8' standalone='yes'?>
<Relationships xmlns="http://schemas.openxmlformats.org/package/2006/relationships"><Relationship Id="rId1" Type="http://schemas.openxmlformats.org/officeDocument/2006/relationships/themeOverride" Target="../theme/themeOverride2313.xml"/><Relationship Id="rId2" Type="http://schemas.openxmlformats.org/officeDocument/2006/relationships/package" Target="../embeddings/Microsoft_Excel_Worksheet2312.xlsx"/></Relationships>
</file>

<file path=ppt/charts/_rels/chart2314.xml.rels><?xml version='1.0' encoding='UTF-8' standalone='yes'?>
<Relationships xmlns="http://schemas.openxmlformats.org/package/2006/relationships"><Relationship Id="rId1" Type="http://schemas.openxmlformats.org/officeDocument/2006/relationships/themeOverride" Target="../theme/themeOverride2314.xml"/><Relationship Id="rId2" Type="http://schemas.openxmlformats.org/officeDocument/2006/relationships/package" Target="../embeddings/Microsoft_Excel_Worksheet2313.xlsx"/></Relationships>
</file>

<file path=ppt/charts/_rels/chart2315.xml.rels><?xml version='1.0' encoding='UTF-8' standalone='yes'?>
<Relationships xmlns="http://schemas.openxmlformats.org/package/2006/relationships"><Relationship Id="rId1" Type="http://schemas.openxmlformats.org/officeDocument/2006/relationships/themeOverride" Target="../theme/themeOverride2315.xml"/><Relationship Id="rId2" Type="http://schemas.openxmlformats.org/officeDocument/2006/relationships/package" Target="../embeddings/Microsoft_Excel_Worksheet2314.xlsx"/></Relationships>
</file>

<file path=ppt/charts/_rels/chart2325.xml.rels><?xml version='1.0' encoding='UTF-8' standalone='yes'?>
<Relationships xmlns="http://schemas.openxmlformats.org/package/2006/relationships"><Relationship Id="rId1" Type="http://schemas.openxmlformats.org/officeDocument/2006/relationships/themeOverride" Target="../theme/themeOverride2325.xml"/><Relationship Id="rId2" Type="http://schemas.openxmlformats.org/officeDocument/2006/relationships/package" Target="../embeddings/Microsoft_Excel_Worksheet2324.xlsx"/></Relationships>
</file>

<file path=ppt/charts/_rels/chart2326.xml.rels><?xml version='1.0' encoding='UTF-8' standalone='yes'?>
<Relationships xmlns="http://schemas.openxmlformats.org/package/2006/relationships"><Relationship Id="rId1" Type="http://schemas.openxmlformats.org/officeDocument/2006/relationships/themeOverride" Target="../theme/themeOverride2326.xml"/><Relationship Id="rId2" Type="http://schemas.openxmlformats.org/officeDocument/2006/relationships/package" Target="../embeddings/Microsoft_Excel_Worksheet2325.xlsx"/></Relationships>
</file>

<file path=ppt/charts/_rels/chart2327.xml.rels><?xml version='1.0' encoding='UTF-8' standalone='yes'?>
<Relationships xmlns="http://schemas.openxmlformats.org/package/2006/relationships"><Relationship Id="rId1" Type="http://schemas.openxmlformats.org/officeDocument/2006/relationships/themeOverride" Target="../theme/themeOverride2327.xml"/><Relationship Id="rId2" Type="http://schemas.openxmlformats.org/officeDocument/2006/relationships/package" Target="../embeddings/Microsoft_Excel_Worksheet2326.xlsx"/></Relationships>
</file>

<file path=ppt/charts/_rels/chart2340.xml.rels><?xml version='1.0' encoding='UTF-8' standalone='yes'?>
<Relationships xmlns="http://schemas.openxmlformats.org/package/2006/relationships"><Relationship Id="rId1" Type="http://schemas.openxmlformats.org/officeDocument/2006/relationships/themeOverride" Target="../theme/themeOverride2340.xml"/><Relationship Id="rId2" Type="http://schemas.openxmlformats.org/officeDocument/2006/relationships/package" Target="../embeddings/Microsoft_Excel_Worksheet2339.xlsx"/></Relationships>
</file>

<file path=ppt/charts/_rels/chart2341.xml.rels><?xml version='1.0' encoding='UTF-8' standalone='yes'?>
<Relationships xmlns="http://schemas.openxmlformats.org/package/2006/relationships"><Relationship Id="rId1" Type="http://schemas.openxmlformats.org/officeDocument/2006/relationships/themeOverride" Target="../theme/themeOverride2341.xml"/><Relationship Id="rId2" Type="http://schemas.openxmlformats.org/officeDocument/2006/relationships/package" Target="../embeddings/Microsoft_Excel_Worksheet2340.xlsx"/></Relationships>
</file>

<file path=ppt/charts/_rels/chart2342.xml.rels><?xml version='1.0' encoding='UTF-8' standalone='yes'?>
<Relationships xmlns="http://schemas.openxmlformats.org/package/2006/relationships"><Relationship Id="rId1" Type="http://schemas.openxmlformats.org/officeDocument/2006/relationships/themeOverride" Target="../theme/themeOverride2342.xml"/><Relationship Id="rId2" Type="http://schemas.openxmlformats.org/officeDocument/2006/relationships/package" Target="../embeddings/Microsoft_Excel_Worksheet2341.xlsx"/></Relationships>
</file>

<file path=ppt/charts/_rels/chart2358.xml.rels><?xml version='1.0' encoding='UTF-8' standalone='yes'?>
<Relationships xmlns="http://schemas.openxmlformats.org/package/2006/relationships"><Relationship Id="rId1" Type="http://schemas.openxmlformats.org/officeDocument/2006/relationships/themeOverride" Target="../theme/themeOverride2358.xml"/><Relationship Id="rId2" Type="http://schemas.openxmlformats.org/officeDocument/2006/relationships/package" Target="../embeddings/Microsoft_Excel_Worksheet2357.xlsx"/></Relationships>
</file>

<file path=ppt/charts/_rels/chart2359.xml.rels><?xml version='1.0' encoding='UTF-8' standalone='yes'?>
<Relationships xmlns="http://schemas.openxmlformats.org/package/2006/relationships"><Relationship Id="rId1" Type="http://schemas.openxmlformats.org/officeDocument/2006/relationships/themeOverride" Target="../theme/themeOverride2359.xml"/><Relationship Id="rId2" Type="http://schemas.openxmlformats.org/officeDocument/2006/relationships/package" Target="../embeddings/Microsoft_Excel_Worksheet2358.xlsx"/></Relationships>
</file>

<file path=ppt/charts/_rels/chart2360.xml.rels><?xml version='1.0' encoding='UTF-8' standalone='yes'?>
<Relationships xmlns="http://schemas.openxmlformats.org/package/2006/relationships"><Relationship Id="rId1" Type="http://schemas.openxmlformats.org/officeDocument/2006/relationships/themeOverride" Target="../theme/themeOverride2360.xml"/><Relationship Id="rId2" Type="http://schemas.openxmlformats.org/officeDocument/2006/relationships/package" Target="../embeddings/Microsoft_Excel_Worksheet2359.xlsx"/></Relationships>
</file>

<file path=ppt/charts/_rels/chart2361.xml.rels><?xml version='1.0' encoding='UTF-8' standalone='yes'?>
<Relationships xmlns="http://schemas.openxmlformats.org/package/2006/relationships"><Relationship Id="rId1" Type="http://schemas.openxmlformats.org/officeDocument/2006/relationships/themeOverride" Target="../theme/themeOverride2361.xml"/><Relationship Id="rId2" Type="http://schemas.openxmlformats.org/officeDocument/2006/relationships/package" Target="../embeddings/Microsoft_Excel_Worksheet2360.xlsx"/></Relationships>
</file>

<file path=ppt/charts/_rels/chart2362.xml.rels><?xml version='1.0' encoding='UTF-8' standalone='yes'?>
<Relationships xmlns="http://schemas.openxmlformats.org/package/2006/relationships"><Relationship Id="rId1" Type="http://schemas.openxmlformats.org/officeDocument/2006/relationships/themeOverride" Target="../theme/themeOverride2362.xml"/><Relationship Id="rId2" Type="http://schemas.openxmlformats.org/officeDocument/2006/relationships/package" Target="../embeddings/Microsoft_Excel_Worksheet2361.xlsx"/></Relationships>
</file>

<file path=ppt/charts/_rels/chart2363.xml.rels><?xml version='1.0' encoding='UTF-8' standalone='yes'?>
<Relationships xmlns="http://schemas.openxmlformats.org/package/2006/relationships"><Relationship Id="rId1" Type="http://schemas.openxmlformats.org/officeDocument/2006/relationships/themeOverride" Target="../theme/themeOverride2363.xml"/><Relationship Id="rId2" Type="http://schemas.openxmlformats.org/officeDocument/2006/relationships/package" Target="../embeddings/Microsoft_Excel_Worksheet2362.xlsx"/></Relationships>
</file>

<file path=ppt/charts/_rels/chart2391.xml.rels><?xml version='1.0' encoding='UTF-8' standalone='yes'?>
<Relationships xmlns="http://schemas.openxmlformats.org/package/2006/relationships"><Relationship Id="rId1" Type="http://schemas.openxmlformats.org/officeDocument/2006/relationships/themeOverride" Target="../theme/themeOverride2391.xml"/><Relationship Id="rId2" Type="http://schemas.openxmlformats.org/officeDocument/2006/relationships/package" Target="../embeddings/Microsoft_Excel_Worksheet2390.xlsx"/></Relationships>
</file>

<file path=ppt/charts/_rels/chart2392.xml.rels><?xml version='1.0' encoding='UTF-8' standalone='yes'?>
<Relationships xmlns="http://schemas.openxmlformats.org/package/2006/relationships"><Relationship Id="rId1" Type="http://schemas.openxmlformats.org/officeDocument/2006/relationships/themeOverride" Target="../theme/themeOverride2392.xml"/><Relationship Id="rId2" Type="http://schemas.openxmlformats.org/officeDocument/2006/relationships/package" Target="../embeddings/Microsoft_Excel_Worksheet2391.xlsx"/></Relationships>
</file>

<file path=ppt/charts/_rels/chart2393.xml.rels><?xml version='1.0' encoding='UTF-8' standalone='yes'?>
<Relationships xmlns="http://schemas.openxmlformats.org/package/2006/relationships"><Relationship Id="rId1" Type="http://schemas.openxmlformats.org/officeDocument/2006/relationships/themeOverride" Target="../theme/themeOverride2393.xml"/><Relationship Id="rId2" Type="http://schemas.openxmlformats.org/officeDocument/2006/relationships/package" Target="../embeddings/Microsoft_Excel_Worksheet2392.xlsx"/></Relationships>
</file>

<file path=ppt/charts/_rels/chart2406.xml.rels><?xml version='1.0' encoding='UTF-8' standalone='yes'?>
<Relationships xmlns="http://schemas.openxmlformats.org/package/2006/relationships"><Relationship Id="rId1" Type="http://schemas.openxmlformats.org/officeDocument/2006/relationships/themeOverride" Target="../theme/themeOverride2406.xml"/><Relationship Id="rId2" Type="http://schemas.openxmlformats.org/officeDocument/2006/relationships/package" Target="../embeddings/Microsoft_Excel_Worksheet2405.xlsx"/></Relationships>
</file>

<file path=ppt/charts/_rels/chart2407.xml.rels><?xml version='1.0' encoding='UTF-8' standalone='yes'?>
<Relationships xmlns="http://schemas.openxmlformats.org/package/2006/relationships"><Relationship Id="rId1" Type="http://schemas.openxmlformats.org/officeDocument/2006/relationships/themeOverride" Target="../theme/themeOverride2407.xml"/><Relationship Id="rId2" Type="http://schemas.openxmlformats.org/officeDocument/2006/relationships/package" Target="../embeddings/Microsoft_Excel_Worksheet2406.xlsx"/></Relationships>
</file>

<file path=ppt/charts/_rels/chart2408.xml.rels><?xml version='1.0' encoding='UTF-8' standalone='yes'?>
<Relationships xmlns="http://schemas.openxmlformats.org/package/2006/relationships"><Relationship Id="rId1" Type="http://schemas.openxmlformats.org/officeDocument/2006/relationships/themeOverride" Target="../theme/themeOverride2408.xml"/><Relationship Id="rId2" Type="http://schemas.openxmlformats.org/officeDocument/2006/relationships/package" Target="../embeddings/Microsoft_Excel_Worksheet2407.xlsx"/></Relationships>
</file>

<file path=ppt/charts/_rels/chart241.xml.rels><?xml version='1.0' encoding='UTF-8' standalone='yes'?>
<Relationships xmlns="http://schemas.openxmlformats.org/package/2006/relationships"><Relationship Id="rId1" Type="http://schemas.openxmlformats.org/officeDocument/2006/relationships/themeOverride" Target="../theme/themeOverride241.xml"/><Relationship Id="rId2"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themeOverride" Target="../theme/themeOverride242.xml"/><Relationship Id="rId2" Type="http://schemas.openxmlformats.org/officeDocument/2006/relationships/package" Target="../embeddings/Microsoft_Excel_Worksheet241.xlsx"/></Relationships>
</file>

<file path=ppt/charts/_rels/chart2424.xml.rels><?xml version='1.0' encoding='UTF-8' standalone='yes'?>
<Relationships xmlns="http://schemas.openxmlformats.org/package/2006/relationships"><Relationship Id="rId1" Type="http://schemas.openxmlformats.org/officeDocument/2006/relationships/themeOverride" Target="../theme/themeOverride2424.xml"/><Relationship Id="rId2" Type="http://schemas.openxmlformats.org/officeDocument/2006/relationships/package" Target="../embeddings/Microsoft_Excel_Worksheet2423.xlsx"/></Relationships>
</file>

<file path=ppt/charts/_rels/chart2425.xml.rels><?xml version='1.0' encoding='UTF-8' standalone='yes'?>
<Relationships xmlns="http://schemas.openxmlformats.org/package/2006/relationships"><Relationship Id="rId1" Type="http://schemas.openxmlformats.org/officeDocument/2006/relationships/themeOverride" Target="../theme/themeOverride2425.xml"/><Relationship Id="rId2" Type="http://schemas.openxmlformats.org/officeDocument/2006/relationships/package" Target="../embeddings/Microsoft_Excel_Worksheet2424.xlsx"/></Relationships>
</file>

<file path=ppt/charts/_rels/chart2426.xml.rels><?xml version='1.0' encoding='UTF-8' standalone='yes'?>
<Relationships xmlns="http://schemas.openxmlformats.org/package/2006/relationships"><Relationship Id="rId1" Type="http://schemas.openxmlformats.org/officeDocument/2006/relationships/themeOverride" Target="../theme/themeOverride2426.xml"/><Relationship Id="rId2" Type="http://schemas.openxmlformats.org/officeDocument/2006/relationships/package" Target="../embeddings/Microsoft_Excel_Worksheet2425.xlsx"/></Relationships>
</file>

<file path=ppt/charts/_rels/chart2427.xml.rels><?xml version='1.0' encoding='UTF-8' standalone='yes'?>
<Relationships xmlns="http://schemas.openxmlformats.org/package/2006/relationships"><Relationship Id="rId1" Type="http://schemas.openxmlformats.org/officeDocument/2006/relationships/themeOverride" Target="../theme/themeOverride2427.xml"/><Relationship Id="rId2" Type="http://schemas.openxmlformats.org/officeDocument/2006/relationships/package" Target="../embeddings/Microsoft_Excel_Worksheet2426.xlsx"/></Relationships>
</file>

<file path=ppt/charts/_rels/chart2428.xml.rels><?xml version='1.0' encoding='UTF-8' standalone='yes'?>
<Relationships xmlns="http://schemas.openxmlformats.org/package/2006/relationships"><Relationship Id="rId1" Type="http://schemas.openxmlformats.org/officeDocument/2006/relationships/themeOverride" Target="../theme/themeOverride2428.xml"/><Relationship Id="rId2" Type="http://schemas.openxmlformats.org/officeDocument/2006/relationships/package" Target="../embeddings/Microsoft_Excel_Worksheet2427.xlsx"/></Relationships>
</file>

<file path=ppt/charts/_rels/chart2429.xml.rels><?xml version='1.0' encoding='UTF-8' standalone='yes'?>
<Relationships xmlns="http://schemas.openxmlformats.org/package/2006/relationships"><Relationship Id="rId1" Type="http://schemas.openxmlformats.org/officeDocument/2006/relationships/themeOverride" Target="../theme/themeOverride2429.xml"/><Relationship Id="rId2" Type="http://schemas.openxmlformats.org/officeDocument/2006/relationships/package" Target="../embeddings/Microsoft_Excel_Worksheet2428.xlsx"/></Relationships>
</file>

<file path=ppt/charts/_rels/chart243.xml.rels><?xml version='1.0' encoding='UTF-8' standalone='yes'?>
<Relationships xmlns="http://schemas.openxmlformats.org/package/2006/relationships"><Relationship Id="rId1" Type="http://schemas.openxmlformats.org/officeDocument/2006/relationships/themeOverride" Target="../theme/themeOverride243.xml"/><Relationship Id="rId2"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themeOverride" Target="../theme/themeOverride244.xml"/><Relationship Id="rId2" Type="http://schemas.openxmlformats.org/officeDocument/2006/relationships/package" Target="../embeddings/Microsoft_Excel_Worksheet243.xlsx"/></Relationships>
</file>

<file path=ppt/charts/_rels/chart2445.xml.rels><?xml version='1.0' encoding='UTF-8' standalone='yes'?>
<Relationships xmlns="http://schemas.openxmlformats.org/package/2006/relationships"><Relationship Id="rId1" Type="http://schemas.openxmlformats.org/officeDocument/2006/relationships/themeOverride" Target="../theme/themeOverride2445.xml"/><Relationship Id="rId2" Type="http://schemas.openxmlformats.org/officeDocument/2006/relationships/package" Target="../embeddings/Microsoft_Excel_Worksheet2444.xlsx"/></Relationships>
</file>

<file path=ppt/charts/_rels/chart2446.xml.rels><?xml version='1.0' encoding='UTF-8' standalone='yes'?>
<Relationships xmlns="http://schemas.openxmlformats.org/package/2006/relationships"><Relationship Id="rId1" Type="http://schemas.openxmlformats.org/officeDocument/2006/relationships/themeOverride" Target="../theme/themeOverride2446.xml"/><Relationship Id="rId2" Type="http://schemas.openxmlformats.org/officeDocument/2006/relationships/package" Target="../embeddings/Microsoft_Excel_Worksheet2445.xlsx"/></Relationships>
</file>

<file path=ppt/charts/_rels/chart2447.xml.rels><?xml version='1.0' encoding='UTF-8' standalone='yes'?>
<Relationships xmlns="http://schemas.openxmlformats.org/package/2006/relationships"><Relationship Id="rId1" Type="http://schemas.openxmlformats.org/officeDocument/2006/relationships/themeOverride" Target="../theme/themeOverride2447.xml"/><Relationship Id="rId2" Type="http://schemas.openxmlformats.org/officeDocument/2006/relationships/package" Target="../embeddings/Microsoft_Excel_Worksheet2446.xlsx"/></Relationships>
</file>

<file path=ppt/charts/_rels/chart2448.xml.rels><?xml version='1.0' encoding='UTF-8' standalone='yes'?>
<Relationships xmlns="http://schemas.openxmlformats.org/package/2006/relationships"><Relationship Id="rId1" Type="http://schemas.openxmlformats.org/officeDocument/2006/relationships/themeOverride" Target="../theme/themeOverride2448.xml"/><Relationship Id="rId2" Type="http://schemas.openxmlformats.org/officeDocument/2006/relationships/package" Target="../embeddings/Microsoft_Excel_Worksheet2447.xlsx"/></Relationships>
</file>

<file path=ppt/charts/_rels/chart2449.xml.rels><?xml version='1.0' encoding='UTF-8' standalone='yes'?>
<Relationships xmlns="http://schemas.openxmlformats.org/package/2006/relationships"><Relationship Id="rId1" Type="http://schemas.openxmlformats.org/officeDocument/2006/relationships/themeOverride" Target="../theme/themeOverride2449.xml"/><Relationship Id="rId2" Type="http://schemas.openxmlformats.org/officeDocument/2006/relationships/package" Target="../embeddings/Microsoft_Excel_Worksheet2448.xlsx"/></Relationships>
</file>

<file path=ppt/charts/_rels/chart245.xml.rels><?xml version='1.0' encoding='UTF-8' standalone='yes'?>
<Relationships xmlns="http://schemas.openxmlformats.org/package/2006/relationships"><Relationship Id="rId1" Type="http://schemas.openxmlformats.org/officeDocument/2006/relationships/themeOverride" Target="../theme/themeOverride245.xml"/><Relationship Id="rId2" Type="http://schemas.openxmlformats.org/officeDocument/2006/relationships/package" Target="../embeddings/Microsoft_Excel_Worksheet244.xlsx"/></Relationships>
</file>

<file path=ppt/charts/_rels/chart2450.xml.rels><?xml version='1.0' encoding='UTF-8' standalone='yes'?>
<Relationships xmlns="http://schemas.openxmlformats.org/package/2006/relationships"><Relationship Id="rId1" Type="http://schemas.openxmlformats.org/officeDocument/2006/relationships/themeOverride" Target="../theme/themeOverride2450.xml"/><Relationship Id="rId2" Type="http://schemas.openxmlformats.org/officeDocument/2006/relationships/package" Target="../embeddings/Microsoft_Excel_Worksheet2449.xlsx"/></Relationships>
</file>

<file path=ppt/charts/_rels/chart2457.xml.rels><?xml version='1.0' encoding='UTF-8' standalone='yes'?>
<Relationships xmlns="http://schemas.openxmlformats.org/package/2006/relationships"><Relationship Id="rId1" Type="http://schemas.openxmlformats.org/officeDocument/2006/relationships/themeOverride" Target="../theme/themeOverride2457.xml"/><Relationship Id="rId2" Type="http://schemas.openxmlformats.org/officeDocument/2006/relationships/package" Target="../embeddings/Microsoft_Excel_Worksheet2456.xlsx"/></Relationships>
</file>

<file path=ppt/charts/_rels/chart2458.xml.rels><?xml version='1.0' encoding='UTF-8' standalone='yes'?>
<Relationships xmlns="http://schemas.openxmlformats.org/package/2006/relationships"><Relationship Id="rId1" Type="http://schemas.openxmlformats.org/officeDocument/2006/relationships/themeOverride" Target="../theme/themeOverride2458.xml"/><Relationship Id="rId2" Type="http://schemas.openxmlformats.org/officeDocument/2006/relationships/package" Target="../embeddings/Microsoft_Excel_Worksheet2457.xlsx"/></Relationships>
</file>

<file path=ppt/charts/_rels/chart2459.xml.rels><?xml version='1.0' encoding='UTF-8' standalone='yes'?>
<Relationships xmlns="http://schemas.openxmlformats.org/package/2006/relationships"><Relationship Id="rId1" Type="http://schemas.openxmlformats.org/officeDocument/2006/relationships/themeOverride" Target="../theme/themeOverride2459.xml"/><Relationship Id="rId2" Type="http://schemas.openxmlformats.org/officeDocument/2006/relationships/package" Target="../embeddings/Microsoft_Excel_Worksheet2458.xlsx"/></Relationships>
</file>

<file path=ppt/charts/_rels/chart2478.xml.rels><?xml version='1.0' encoding='UTF-8' standalone='yes'?>
<Relationships xmlns="http://schemas.openxmlformats.org/package/2006/relationships"><Relationship Id="rId1" Type="http://schemas.openxmlformats.org/officeDocument/2006/relationships/themeOverride" Target="../theme/themeOverride2478.xml"/><Relationship Id="rId2" Type="http://schemas.openxmlformats.org/officeDocument/2006/relationships/package" Target="../embeddings/Microsoft_Excel_Worksheet2477.xlsx"/></Relationships>
</file>

<file path=ppt/charts/_rels/chart2479.xml.rels><?xml version='1.0' encoding='UTF-8' standalone='yes'?>
<Relationships xmlns="http://schemas.openxmlformats.org/package/2006/relationships"><Relationship Id="rId1" Type="http://schemas.openxmlformats.org/officeDocument/2006/relationships/themeOverride" Target="../theme/themeOverride2479.xml"/><Relationship Id="rId2" Type="http://schemas.openxmlformats.org/officeDocument/2006/relationships/package" Target="../embeddings/Microsoft_Excel_Worksheet2478.xlsx"/></Relationships>
</file>

<file path=ppt/charts/_rels/chart2480.xml.rels><?xml version='1.0' encoding='UTF-8' standalone='yes'?>
<Relationships xmlns="http://schemas.openxmlformats.org/package/2006/relationships"><Relationship Id="rId1" Type="http://schemas.openxmlformats.org/officeDocument/2006/relationships/themeOverride" Target="../theme/themeOverride2480.xml"/><Relationship Id="rId2" Type="http://schemas.openxmlformats.org/officeDocument/2006/relationships/package" Target="../embeddings/Microsoft_Excel_Worksheet2479.xlsx"/></Relationships>
</file>

<file path=ppt/charts/_rels/chart2493.xml.rels><?xml version='1.0' encoding='UTF-8' standalone='yes'?>
<Relationships xmlns="http://schemas.openxmlformats.org/package/2006/relationships"><Relationship Id="rId1" Type="http://schemas.openxmlformats.org/officeDocument/2006/relationships/themeOverride" Target="../theme/themeOverride2493.xml"/><Relationship Id="rId2" Type="http://schemas.openxmlformats.org/officeDocument/2006/relationships/package" Target="../embeddings/Microsoft_Excel_Worksheet2492.xlsx"/></Relationships>
</file>

<file path=ppt/charts/_rels/chart2494.xml.rels><?xml version='1.0' encoding='UTF-8' standalone='yes'?>
<Relationships xmlns="http://schemas.openxmlformats.org/package/2006/relationships"><Relationship Id="rId1" Type="http://schemas.openxmlformats.org/officeDocument/2006/relationships/themeOverride" Target="../theme/themeOverride2494.xml"/><Relationship Id="rId2" Type="http://schemas.openxmlformats.org/officeDocument/2006/relationships/package" Target="../embeddings/Microsoft_Excel_Worksheet2493.xlsx"/></Relationships>
</file>

<file path=ppt/charts/_rels/chart2495.xml.rels><?xml version='1.0' encoding='UTF-8' standalone='yes'?>
<Relationships xmlns="http://schemas.openxmlformats.org/package/2006/relationships"><Relationship Id="rId1" Type="http://schemas.openxmlformats.org/officeDocument/2006/relationships/themeOverride" Target="../theme/themeOverride2495.xml"/><Relationship Id="rId2" Type="http://schemas.openxmlformats.org/officeDocument/2006/relationships/package" Target="../embeddings/Microsoft_Excel_Worksheet2494.xlsx"/></Relationships>
</file>

<file path=ppt/charts/_rels/chart2511.xml.rels><?xml version='1.0' encoding='UTF-8' standalone='yes'?>
<Relationships xmlns="http://schemas.openxmlformats.org/package/2006/relationships"><Relationship Id="rId1" Type="http://schemas.openxmlformats.org/officeDocument/2006/relationships/themeOverride" Target="../theme/themeOverride2511.xml"/><Relationship Id="rId2" Type="http://schemas.openxmlformats.org/officeDocument/2006/relationships/package" Target="../embeddings/Microsoft_Excel_Worksheet2510.xlsx"/></Relationships>
</file>

<file path=ppt/charts/_rels/chart2512.xml.rels><?xml version='1.0' encoding='UTF-8' standalone='yes'?>
<Relationships xmlns="http://schemas.openxmlformats.org/package/2006/relationships"><Relationship Id="rId1" Type="http://schemas.openxmlformats.org/officeDocument/2006/relationships/themeOverride" Target="../theme/themeOverride2512.xml"/><Relationship Id="rId2" Type="http://schemas.openxmlformats.org/officeDocument/2006/relationships/package" Target="../embeddings/Microsoft_Excel_Worksheet2511.xlsx"/></Relationships>
</file>

<file path=ppt/charts/_rels/chart2513.xml.rels><?xml version='1.0' encoding='UTF-8' standalone='yes'?>
<Relationships xmlns="http://schemas.openxmlformats.org/package/2006/relationships"><Relationship Id="rId1" Type="http://schemas.openxmlformats.org/officeDocument/2006/relationships/themeOverride" Target="../theme/themeOverride2513.xml"/><Relationship Id="rId2" Type="http://schemas.openxmlformats.org/officeDocument/2006/relationships/package" Target="../embeddings/Microsoft_Excel_Worksheet2512.xlsx"/></Relationships>
</file>

<file path=ppt/charts/_rels/chart2514.xml.rels><?xml version='1.0' encoding='UTF-8' standalone='yes'?>
<Relationships xmlns="http://schemas.openxmlformats.org/package/2006/relationships"><Relationship Id="rId1" Type="http://schemas.openxmlformats.org/officeDocument/2006/relationships/themeOverride" Target="../theme/themeOverride2514.xml"/><Relationship Id="rId2" Type="http://schemas.openxmlformats.org/officeDocument/2006/relationships/package" Target="../embeddings/Microsoft_Excel_Worksheet2513.xlsx"/></Relationships>
</file>

<file path=ppt/charts/_rels/chart2515.xml.rels><?xml version='1.0' encoding='UTF-8' standalone='yes'?>
<Relationships xmlns="http://schemas.openxmlformats.org/package/2006/relationships"><Relationship Id="rId1" Type="http://schemas.openxmlformats.org/officeDocument/2006/relationships/themeOverride" Target="../theme/themeOverride2515.xml"/><Relationship Id="rId2" Type="http://schemas.openxmlformats.org/officeDocument/2006/relationships/package" Target="../embeddings/Microsoft_Excel_Worksheet2514.xlsx"/></Relationships>
</file>

<file path=ppt/charts/_rels/chart2516.xml.rels><?xml version='1.0' encoding='UTF-8' standalone='yes'?>
<Relationships xmlns="http://schemas.openxmlformats.org/package/2006/relationships"><Relationship Id="rId1" Type="http://schemas.openxmlformats.org/officeDocument/2006/relationships/themeOverride" Target="../theme/themeOverride2516.xml"/><Relationship Id="rId2" Type="http://schemas.openxmlformats.org/officeDocument/2006/relationships/package" Target="../embeddings/Microsoft_Excel_Worksheet2515.xlsx"/></Relationships>
</file>

<file path=ppt/charts/_rels/chart2532.xml.rels><?xml version='1.0' encoding='UTF-8' standalone='yes'?>
<Relationships xmlns="http://schemas.openxmlformats.org/package/2006/relationships"><Relationship Id="rId1" Type="http://schemas.openxmlformats.org/officeDocument/2006/relationships/themeOverride" Target="../theme/themeOverride2532.xml"/><Relationship Id="rId2" Type="http://schemas.openxmlformats.org/officeDocument/2006/relationships/package" Target="../embeddings/Microsoft_Excel_Worksheet2531.xlsx"/></Relationships>
</file>

<file path=ppt/charts/_rels/chart2533.xml.rels><?xml version='1.0' encoding='UTF-8' standalone='yes'?>
<Relationships xmlns="http://schemas.openxmlformats.org/package/2006/relationships"><Relationship Id="rId1" Type="http://schemas.openxmlformats.org/officeDocument/2006/relationships/themeOverride" Target="../theme/themeOverride2533.xml"/><Relationship Id="rId2" Type="http://schemas.openxmlformats.org/officeDocument/2006/relationships/package" Target="../embeddings/Microsoft_Excel_Worksheet2532.xlsx"/></Relationships>
</file>

<file path=ppt/charts/_rels/chart2534.xml.rels><?xml version='1.0' encoding='UTF-8' standalone='yes'?>
<Relationships xmlns="http://schemas.openxmlformats.org/package/2006/relationships"><Relationship Id="rId1" Type="http://schemas.openxmlformats.org/officeDocument/2006/relationships/themeOverride" Target="../theme/themeOverride2534.xml"/><Relationship Id="rId2" Type="http://schemas.openxmlformats.org/officeDocument/2006/relationships/package" Target="../embeddings/Microsoft_Excel_Worksheet2533.xlsx"/></Relationships>
</file>

<file path=ppt/charts/_rels/chart2544.xml.rels><?xml version='1.0' encoding='UTF-8' standalone='yes'?>
<Relationships xmlns="http://schemas.openxmlformats.org/package/2006/relationships"><Relationship Id="rId1" Type="http://schemas.openxmlformats.org/officeDocument/2006/relationships/themeOverride" Target="../theme/themeOverride2544.xml"/><Relationship Id="rId2" Type="http://schemas.openxmlformats.org/officeDocument/2006/relationships/package" Target="../embeddings/Microsoft_Excel_Worksheet2543.xlsx"/></Relationships>
</file>

<file path=ppt/charts/_rels/chart2545.xml.rels><?xml version='1.0' encoding='UTF-8' standalone='yes'?>
<Relationships xmlns="http://schemas.openxmlformats.org/package/2006/relationships"><Relationship Id="rId1" Type="http://schemas.openxmlformats.org/officeDocument/2006/relationships/themeOverride" Target="../theme/themeOverride2545.xml"/><Relationship Id="rId2" Type="http://schemas.openxmlformats.org/officeDocument/2006/relationships/package" Target="../embeddings/Microsoft_Excel_Worksheet2544.xlsx"/></Relationships>
</file>

<file path=ppt/charts/_rels/chart2546.xml.rels><?xml version='1.0' encoding='UTF-8' standalone='yes'?>
<Relationships xmlns="http://schemas.openxmlformats.org/package/2006/relationships"><Relationship Id="rId1" Type="http://schemas.openxmlformats.org/officeDocument/2006/relationships/themeOverride" Target="../theme/themeOverride2546.xml"/><Relationship Id="rId2" Type="http://schemas.openxmlformats.org/officeDocument/2006/relationships/package" Target="../embeddings/Microsoft_Excel_Worksheet2545.xlsx"/></Relationships>
</file>

<file path=ppt/charts/_rels/chart2559.xml.rels><?xml version='1.0' encoding='UTF-8' standalone='yes'?>
<Relationships xmlns="http://schemas.openxmlformats.org/package/2006/relationships"><Relationship Id="rId1" Type="http://schemas.openxmlformats.org/officeDocument/2006/relationships/themeOverride" Target="../theme/themeOverride2559.xml"/><Relationship Id="rId2" Type="http://schemas.openxmlformats.org/officeDocument/2006/relationships/package" Target="../embeddings/Microsoft_Excel_Worksheet2558.xlsx"/></Relationships>
</file>

<file path=ppt/charts/_rels/chart2560.xml.rels><?xml version='1.0' encoding='UTF-8' standalone='yes'?>
<Relationships xmlns="http://schemas.openxmlformats.org/package/2006/relationships"><Relationship Id="rId1" Type="http://schemas.openxmlformats.org/officeDocument/2006/relationships/themeOverride" Target="../theme/themeOverride2560.xml"/><Relationship Id="rId2" Type="http://schemas.openxmlformats.org/officeDocument/2006/relationships/package" Target="../embeddings/Microsoft_Excel_Worksheet2559.xlsx"/></Relationships>
</file>

<file path=ppt/charts/_rels/chart2561.xml.rels><?xml version='1.0' encoding='UTF-8' standalone='yes'?>
<Relationships xmlns="http://schemas.openxmlformats.org/package/2006/relationships"><Relationship Id="rId1" Type="http://schemas.openxmlformats.org/officeDocument/2006/relationships/themeOverride" Target="../theme/themeOverride2561.xml"/><Relationship Id="rId2" Type="http://schemas.openxmlformats.org/officeDocument/2006/relationships/package" Target="../embeddings/Microsoft_Excel_Worksheet2560.xlsx"/></Relationships>
</file>

<file path=ppt/charts/_rels/chart2577.xml.rels><?xml version='1.0' encoding='UTF-8' standalone='yes'?>
<Relationships xmlns="http://schemas.openxmlformats.org/package/2006/relationships"><Relationship Id="rId1" Type="http://schemas.openxmlformats.org/officeDocument/2006/relationships/themeOverride" Target="../theme/themeOverride2577.xml"/><Relationship Id="rId2" Type="http://schemas.openxmlformats.org/officeDocument/2006/relationships/package" Target="../embeddings/Microsoft_Excel_Worksheet2576.xlsx"/></Relationships>
</file>

<file path=ppt/charts/_rels/chart2578.xml.rels><?xml version='1.0' encoding='UTF-8' standalone='yes'?>
<Relationships xmlns="http://schemas.openxmlformats.org/package/2006/relationships"><Relationship Id="rId1" Type="http://schemas.openxmlformats.org/officeDocument/2006/relationships/themeOverride" Target="../theme/themeOverride2578.xml"/><Relationship Id="rId2" Type="http://schemas.openxmlformats.org/officeDocument/2006/relationships/package" Target="../embeddings/Microsoft_Excel_Worksheet2577.xlsx"/></Relationships>
</file>

<file path=ppt/charts/_rels/chart2579.xml.rels><?xml version='1.0' encoding='UTF-8' standalone='yes'?>
<Relationships xmlns="http://schemas.openxmlformats.org/package/2006/relationships"><Relationship Id="rId1" Type="http://schemas.openxmlformats.org/officeDocument/2006/relationships/themeOverride" Target="../theme/themeOverride2579.xml"/><Relationship Id="rId2" Type="http://schemas.openxmlformats.org/officeDocument/2006/relationships/package" Target="../embeddings/Microsoft_Excel_Worksheet2578.xlsx"/></Relationships>
</file>

<file path=ppt/charts/_rels/chart2580.xml.rels><?xml version='1.0' encoding='UTF-8' standalone='yes'?>
<Relationships xmlns="http://schemas.openxmlformats.org/package/2006/relationships"><Relationship Id="rId1" Type="http://schemas.openxmlformats.org/officeDocument/2006/relationships/themeOverride" Target="../theme/themeOverride2580.xml"/><Relationship Id="rId2" Type="http://schemas.openxmlformats.org/officeDocument/2006/relationships/package" Target="../embeddings/Microsoft_Excel_Worksheet2579.xlsx"/></Relationships>
</file>

<file path=ppt/charts/_rels/chart2581.xml.rels><?xml version='1.0' encoding='UTF-8' standalone='yes'?>
<Relationships xmlns="http://schemas.openxmlformats.org/package/2006/relationships"><Relationship Id="rId1" Type="http://schemas.openxmlformats.org/officeDocument/2006/relationships/themeOverride" Target="../theme/themeOverride2581.xml"/><Relationship Id="rId2" Type="http://schemas.openxmlformats.org/officeDocument/2006/relationships/package" Target="../embeddings/Microsoft_Excel_Worksheet2580.xlsx"/></Relationships>
</file>

<file path=ppt/charts/_rels/chart2582.xml.rels><?xml version='1.0' encoding='UTF-8' standalone='yes'?>
<Relationships xmlns="http://schemas.openxmlformats.org/package/2006/relationships"><Relationship Id="rId1" Type="http://schemas.openxmlformats.org/officeDocument/2006/relationships/themeOverride" Target="../theme/themeOverride2582.xml"/><Relationship Id="rId2" Type="http://schemas.openxmlformats.org/officeDocument/2006/relationships/package" Target="../embeddings/Microsoft_Excel_Worksheet2581.xlsx"/></Relationships>
</file>

<file path=ppt/charts/_rels/chart2598.xml.rels><?xml version='1.0' encoding='UTF-8' standalone='yes'?>
<Relationships xmlns="http://schemas.openxmlformats.org/package/2006/relationships"><Relationship Id="rId1" Type="http://schemas.openxmlformats.org/officeDocument/2006/relationships/themeOverride" Target="../theme/themeOverride2598.xml"/><Relationship Id="rId2" Type="http://schemas.openxmlformats.org/officeDocument/2006/relationships/package" Target="../embeddings/Microsoft_Excel_Worksheet2597.xlsx"/></Relationships>
</file>

<file path=ppt/charts/_rels/chart2599.xml.rels><?xml version='1.0' encoding='UTF-8' standalone='yes'?>
<Relationships xmlns="http://schemas.openxmlformats.org/package/2006/relationships"><Relationship Id="rId1" Type="http://schemas.openxmlformats.org/officeDocument/2006/relationships/themeOverride" Target="../theme/themeOverride2599.xml"/><Relationship Id="rId2" Type="http://schemas.openxmlformats.org/officeDocument/2006/relationships/package" Target="../embeddings/Microsoft_Excel_Worksheet2598.xlsx"/></Relationships>
</file>

<file path=ppt/charts/_rels/chart2600.xml.rels><?xml version='1.0' encoding='UTF-8' standalone='yes'?>
<Relationships xmlns="http://schemas.openxmlformats.org/package/2006/relationships"><Relationship Id="rId1" Type="http://schemas.openxmlformats.org/officeDocument/2006/relationships/themeOverride" Target="../theme/themeOverride2600.xml"/><Relationship Id="rId2" Type="http://schemas.openxmlformats.org/officeDocument/2006/relationships/package" Target="../embeddings/Microsoft_Excel_Worksheet2599.xlsx"/></Relationships>
</file>

<file path=ppt/charts/_rels/chart2610.xml.rels><?xml version='1.0' encoding='UTF-8' standalone='yes'?>
<Relationships xmlns="http://schemas.openxmlformats.org/package/2006/relationships"><Relationship Id="rId1" Type="http://schemas.openxmlformats.org/officeDocument/2006/relationships/themeOverride" Target="../theme/themeOverride2610.xml"/><Relationship Id="rId2" Type="http://schemas.openxmlformats.org/officeDocument/2006/relationships/package" Target="../embeddings/Microsoft_Excel_Worksheet2609.xlsx"/></Relationships>
</file>

<file path=ppt/charts/_rels/chart2611.xml.rels><?xml version='1.0' encoding='UTF-8' standalone='yes'?>
<Relationships xmlns="http://schemas.openxmlformats.org/package/2006/relationships"><Relationship Id="rId1" Type="http://schemas.openxmlformats.org/officeDocument/2006/relationships/themeOverride" Target="../theme/themeOverride2611.xml"/><Relationship Id="rId2" Type="http://schemas.openxmlformats.org/officeDocument/2006/relationships/package" Target="../embeddings/Microsoft_Excel_Worksheet2610.xlsx"/></Relationships>
</file>

<file path=ppt/charts/_rels/chart2612.xml.rels><?xml version='1.0' encoding='UTF-8' standalone='yes'?>
<Relationships xmlns="http://schemas.openxmlformats.org/package/2006/relationships"><Relationship Id="rId1" Type="http://schemas.openxmlformats.org/officeDocument/2006/relationships/themeOverride" Target="../theme/themeOverride2612.xml"/><Relationship Id="rId2" Type="http://schemas.openxmlformats.org/officeDocument/2006/relationships/package" Target="../embeddings/Microsoft_Excel_Worksheet2611.xlsx"/></Relationships>
</file>

<file path=ppt/charts/_rels/chart2625.xml.rels><?xml version='1.0' encoding='UTF-8' standalone='yes'?>
<Relationships xmlns="http://schemas.openxmlformats.org/package/2006/relationships"><Relationship Id="rId1" Type="http://schemas.openxmlformats.org/officeDocument/2006/relationships/themeOverride" Target="../theme/themeOverride2625.xml"/><Relationship Id="rId2" Type="http://schemas.openxmlformats.org/officeDocument/2006/relationships/package" Target="../embeddings/Microsoft_Excel_Worksheet2624.xlsx"/></Relationships>
</file>

<file path=ppt/charts/_rels/chart2626.xml.rels><?xml version='1.0' encoding='UTF-8' standalone='yes'?>
<Relationships xmlns="http://schemas.openxmlformats.org/package/2006/relationships"><Relationship Id="rId1" Type="http://schemas.openxmlformats.org/officeDocument/2006/relationships/themeOverride" Target="../theme/themeOverride2626.xml"/><Relationship Id="rId2" Type="http://schemas.openxmlformats.org/officeDocument/2006/relationships/package" Target="../embeddings/Microsoft_Excel_Worksheet2625.xlsx"/></Relationships>
</file>

<file path=ppt/charts/_rels/chart2627.xml.rels><?xml version='1.0' encoding='UTF-8' standalone='yes'?>
<Relationships xmlns="http://schemas.openxmlformats.org/package/2006/relationships"><Relationship Id="rId1" Type="http://schemas.openxmlformats.org/officeDocument/2006/relationships/themeOverride" Target="../theme/themeOverride2627.xml"/><Relationship Id="rId2" Type="http://schemas.openxmlformats.org/officeDocument/2006/relationships/package" Target="../embeddings/Microsoft_Excel_Worksheet2626.xlsx"/></Relationships>
</file>

<file path=ppt/charts/_rels/chart2628.xml.rels><?xml version='1.0' encoding='UTF-8' standalone='yes'?>
<Relationships xmlns="http://schemas.openxmlformats.org/package/2006/relationships"><Relationship Id="rId1" Type="http://schemas.openxmlformats.org/officeDocument/2006/relationships/themeOverride" Target="../theme/themeOverride2628.xml"/><Relationship Id="rId2" Type="http://schemas.openxmlformats.org/officeDocument/2006/relationships/package" Target="../embeddings/Microsoft_Excel_Worksheet2627.xlsx"/></Relationships>
</file>

<file path=ppt/charts/_rels/chart2629.xml.rels><?xml version='1.0' encoding='UTF-8' standalone='yes'?>
<Relationships xmlns="http://schemas.openxmlformats.org/package/2006/relationships"><Relationship Id="rId1" Type="http://schemas.openxmlformats.org/officeDocument/2006/relationships/themeOverride" Target="../theme/themeOverride2629.xml"/><Relationship Id="rId2" Type="http://schemas.openxmlformats.org/officeDocument/2006/relationships/package" Target="../embeddings/Microsoft_Excel_Worksheet2628.xlsx"/></Relationships>
</file>

<file path=ppt/charts/_rels/chart2630.xml.rels><?xml version='1.0' encoding='UTF-8' standalone='yes'?>
<Relationships xmlns="http://schemas.openxmlformats.org/package/2006/relationships"><Relationship Id="rId1" Type="http://schemas.openxmlformats.org/officeDocument/2006/relationships/themeOverride" Target="../theme/themeOverride2630.xml"/><Relationship Id="rId2" Type="http://schemas.openxmlformats.org/officeDocument/2006/relationships/package" Target="../embeddings/Microsoft_Excel_Worksheet2629.xlsx"/></Relationships>
</file>

<file path=ppt/charts/_rels/chart266.xml.rels><?xml version='1.0' encoding='UTF-8' standalone='yes'?>
<Relationships xmlns="http://schemas.openxmlformats.org/package/2006/relationships"><Relationship Id="rId1" Type="http://schemas.openxmlformats.org/officeDocument/2006/relationships/themeOverride" Target="../theme/themeOverride266.xml"/><Relationship Id="rId2"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themeOverride" Target="../theme/themeOverride267.xml"/><Relationship Id="rId2" Type="http://schemas.openxmlformats.org/officeDocument/2006/relationships/package" Target="../embeddings/Microsoft_Excel_Worksheet266.xlsx"/></Relationships>
</file>

<file path=ppt/charts/_rels/chart2673.xml.rels><?xml version='1.0' encoding='UTF-8' standalone='yes'?>
<Relationships xmlns="http://schemas.openxmlformats.org/package/2006/relationships"><Relationship Id="rId1" Type="http://schemas.openxmlformats.org/officeDocument/2006/relationships/themeOverride" Target="../theme/themeOverride2673.xml"/><Relationship Id="rId2" Type="http://schemas.openxmlformats.org/officeDocument/2006/relationships/package" Target="../embeddings/Microsoft_Excel_Worksheet2672.xlsx"/></Relationships>
</file>

<file path=ppt/charts/_rels/chart2674.xml.rels><?xml version='1.0' encoding='UTF-8' standalone='yes'?>
<Relationships xmlns="http://schemas.openxmlformats.org/package/2006/relationships"><Relationship Id="rId1" Type="http://schemas.openxmlformats.org/officeDocument/2006/relationships/themeOverride" Target="../theme/themeOverride2674.xml"/><Relationship Id="rId2" Type="http://schemas.openxmlformats.org/officeDocument/2006/relationships/package" Target="../embeddings/Microsoft_Excel_Worksheet2673.xlsx"/></Relationships>
</file>

<file path=ppt/charts/_rels/chart2675.xml.rels><?xml version='1.0' encoding='UTF-8' standalone='yes'?>
<Relationships xmlns="http://schemas.openxmlformats.org/package/2006/relationships"><Relationship Id="rId1" Type="http://schemas.openxmlformats.org/officeDocument/2006/relationships/themeOverride" Target="../theme/themeOverride2675.xml"/><Relationship Id="rId2" Type="http://schemas.openxmlformats.org/officeDocument/2006/relationships/package" Target="../embeddings/Microsoft_Excel_Worksheet2674.xlsx"/></Relationships>
</file>

<file path=ppt/charts/_rels/chart268.xml.rels><?xml version='1.0' encoding='UTF-8' standalone='yes'?>
<Relationships xmlns="http://schemas.openxmlformats.org/package/2006/relationships"><Relationship Id="rId1" Type="http://schemas.openxmlformats.org/officeDocument/2006/relationships/themeOverride" Target="../theme/themeOverride268.xml"/><Relationship Id="rId2"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themeOverride" Target="../theme/themeOverride269.xml"/><Relationship Id="rId2" Type="http://schemas.openxmlformats.org/officeDocument/2006/relationships/package" Target="../embeddings/Microsoft_Excel_Worksheet268.xlsx"/></Relationships>
</file>

<file path=ppt/charts/_rels/chart2694.xml.rels><?xml version='1.0' encoding='UTF-8' standalone='yes'?>
<Relationships xmlns="http://schemas.openxmlformats.org/package/2006/relationships"><Relationship Id="rId1" Type="http://schemas.openxmlformats.org/officeDocument/2006/relationships/themeOverride" Target="../theme/themeOverride2694.xml"/><Relationship Id="rId2" Type="http://schemas.openxmlformats.org/officeDocument/2006/relationships/package" Target="../embeddings/Microsoft_Excel_Worksheet2693.xlsx"/></Relationships>
</file>

<file path=ppt/charts/_rels/chart2695.xml.rels><?xml version='1.0' encoding='UTF-8' standalone='yes'?>
<Relationships xmlns="http://schemas.openxmlformats.org/package/2006/relationships"><Relationship Id="rId1" Type="http://schemas.openxmlformats.org/officeDocument/2006/relationships/themeOverride" Target="../theme/themeOverride2695.xml"/><Relationship Id="rId2" Type="http://schemas.openxmlformats.org/officeDocument/2006/relationships/package" Target="../embeddings/Microsoft_Excel_Worksheet2694.xlsx"/></Relationships>
</file>

<file path=ppt/charts/_rels/chart2696.xml.rels><?xml version='1.0' encoding='UTF-8' standalone='yes'?>
<Relationships xmlns="http://schemas.openxmlformats.org/package/2006/relationships"><Relationship Id="rId1" Type="http://schemas.openxmlformats.org/officeDocument/2006/relationships/themeOverride" Target="../theme/themeOverride2696.xml"/><Relationship Id="rId2" Type="http://schemas.openxmlformats.org/officeDocument/2006/relationships/package" Target="../embeddings/Microsoft_Excel_Worksheet2695.xlsx"/></Relationships>
</file>

<file path=ppt/charts/_rels/chart270.xml.rels><?xml version='1.0' encoding='UTF-8' standalone='yes'?>
<Relationships xmlns="http://schemas.openxmlformats.org/package/2006/relationships"><Relationship Id="rId1" Type="http://schemas.openxmlformats.org/officeDocument/2006/relationships/themeOverride" Target="../theme/themeOverride270.xml"/><Relationship Id="rId2" Type="http://schemas.openxmlformats.org/officeDocument/2006/relationships/package" Target="../embeddings/Microsoft_Excel_Worksheet269.xlsx"/></Relationships>
</file>

<file path=ppt/charts/_rels/chart2712.xml.rels><?xml version='1.0' encoding='UTF-8' standalone='yes'?>
<Relationships xmlns="http://schemas.openxmlformats.org/package/2006/relationships"><Relationship Id="rId1" Type="http://schemas.openxmlformats.org/officeDocument/2006/relationships/themeOverride" Target="../theme/themeOverride2712.xml"/><Relationship Id="rId2" Type="http://schemas.openxmlformats.org/officeDocument/2006/relationships/package" Target="../embeddings/Microsoft_Excel_Worksheet2711.xlsx"/></Relationships>
</file>

<file path=ppt/charts/_rels/chart2713.xml.rels><?xml version='1.0' encoding='UTF-8' standalone='yes'?>
<Relationships xmlns="http://schemas.openxmlformats.org/package/2006/relationships"><Relationship Id="rId1" Type="http://schemas.openxmlformats.org/officeDocument/2006/relationships/themeOverride" Target="../theme/themeOverride2713.xml"/><Relationship Id="rId2" Type="http://schemas.openxmlformats.org/officeDocument/2006/relationships/package" Target="../embeddings/Microsoft_Excel_Worksheet2712.xlsx"/></Relationships>
</file>

<file path=ppt/charts/_rels/chart2714.xml.rels><?xml version='1.0' encoding='UTF-8' standalone='yes'?>
<Relationships xmlns="http://schemas.openxmlformats.org/package/2006/relationships"><Relationship Id="rId1" Type="http://schemas.openxmlformats.org/officeDocument/2006/relationships/themeOverride" Target="../theme/themeOverride2714.xml"/><Relationship Id="rId2" Type="http://schemas.openxmlformats.org/officeDocument/2006/relationships/package" Target="../embeddings/Microsoft_Excel_Worksheet2713.xlsx"/></Relationships>
</file>

<file path=ppt/charts/_rels/chart2715.xml.rels><?xml version='1.0' encoding='UTF-8' standalone='yes'?>
<Relationships xmlns="http://schemas.openxmlformats.org/package/2006/relationships"><Relationship Id="rId1" Type="http://schemas.openxmlformats.org/officeDocument/2006/relationships/themeOverride" Target="../theme/themeOverride2715.xml"/><Relationship Id="rId2" Type="http://schemas.openxmlformats.org/officeDocument/2006/relationships/package" Target="../embeddings/Microsoft_Excel_Worksheet2714.xlsx"/></Relationships>
</file>

<file path=ppt/charts/_rels/chart2716.xml.rels><?xml version='1.0' encoding='UTF-8' standalone='yes'?>
<Relationships xmlns="http://schemas.openxmlformats.org/package/2006/relationships"><Relationship Id="rId1" Type="http://schemas.openxmlformats.org/officeDocument/2006/relationships/themeOverride" Target="../theme/themeOverride2716.xml"/><Relationship Id="rId2" Type="http://schemas.openxmlformats.org/officeDocument/2006/relationships/package" Target="../embeddings/Microsoft_Excel_Worksheet2715.xlsx"/></Relationships>
</file>

<file path=ppt/charts/_rels/chart2717.xml.rels><?xml version='1.0' encoding='UTF-8' standalone='yes'?>
<Relationships xmlns="http://schemas.openxmlformats.org/package/2006/relationships"><Relationship Id="rId1" Type="http://schemas.openxmlformats.org/officeDocument/2006/relationships/themeOverride" Target="../theme/themeOverride2717.xml"/><Relationship Id="rId2" Type="http://schemas.openxmlformats.org/officeDocument/2006/relationships/package" Target="../embeddings/Microsoft_Excel_Worksheet2716.xlsx"/></Relationships>
</file>

<file path=ppt/charts/_rels/chart2739.xml.rels><?xml version='1.0' encoding='UTF-8' standalone='yes'?>
<Relationships xmlns="http://schemas.openxmlformats.org/package/2006/relationships"><Relationship Id="rId1" Type="http://schemas.openxmlformats.org/officeDocument/2006/relationships/themeOverride" Target="../theme/themeOverride2739.xml"/><Relationship Id="rId2" Type="http://schemas.openxmlformats.org/officeDocument/2006/relationships/package" Target="../embeddings/Microsoft_Excel_Worksheet2738.xlsx"/></Relationships>
</file>

<file path=ppt/charts/_rels/chart2740.xml.rels><?xml version='1.0' encoding='UTF-8' standalone='yes'?>
<Relationships xmlns="http://schemas.openxmlformats.org/package/2006/relationships"><Relationship Id="rId1" Type="http://schemas.openxmlformats.org/officeDocument/2006/relationships/themeOverride" Target="../theme/themeOverride2740.xml"/><Relationship Id="rId2" Type="http://schemas.openxmlformats.org/officeDocument/2006/relationships/package" Target="../embeddings/Microsoft_Excel_Worksheet2739.xlsx"/></Relationships>
</file>

<file path=ppt/charts/_rels/chart2741.xml.rels><?xml version='1.0' encoding='UTF-8' standalone='yes'?>
<Relationships xmlns="http://schemas.openxmlformats.org/package/2006/relationships"><Relationship Id="rId1" Type="http://schemas.openxmlformats.org/officeDocument/2006/relationships/themeOverride" Target="../theme/themeOverride2741.xml"/><Relationship Id="rId2" Type="http://schemas.openxmlformats.org/officeDocument/2006/relationships/package" Target="../embeddings/Microsoft_Excel_Worksheet2740.xlsx"/></Relationships>
</file>

<file path=ppt/charts/_rels/chart2745.xml.rels><?xml version='1.0' encoding='UTF-8' standalone='yes'?>
<Relationships xmlns="http://schemas.openxmlformats.org/package/2006/relationships"><Relationship Id="rId1" Type="http://schemas.openxmlformats.org/officeDocument/2006/relationships/themeOverride" Target="../theme/themeOverride2745.xml"/><Relationship Id="rId2" Type="http://schemas.openxmlformats.org/officeDocument/2006/relationships/package" Target="../embeddings/Microsoft_Excel_Worksheet2744.xlsx"/></Relationships>
</file>

<file path=ppt/charts/_rels/chart2746.xml.rels><?xml version='1.0' encoding='UTF-8' standalone='yes'?>
<Relationships xmlns="http://schemas.openxmlformats.org/package/2006/relationships"><Relationship Id="rId1" Type="http://schemas.openxmlformats.org/officeDocument/2006/relationships/themeOverride" Target="../theme/themeOverride2746.xml"/><Relationship Id="rId2" Type="http://schemas.openxmlformats.org/officeDocument/2006/relationships/package" Target="../embeddings/Microsoft_Excel_Worksheet2745.xlsx"/></Relationships>
</file>

<file path=ppt/charts/_rels/chart2747.xml.rels><?xml version='1.0' encoding='UTF-8' standalone='yes'?>
<Relationships xmlns="http://schemas.openxmlformats.org/package/2006/relationships"><Relationship Id="rId1" Type="http://schemas.openxmlformats.org/officeDocument/2006/relationships/themeOverride" Target="../theme/themeOverride2747.xml"/><Relationship Id="rId2" Type="http://schemas.openxmlformats.org/officeDocument/2006/relationships/package" Target="../embeddings/Microsoft_Excel_Worksheet2746.xlsx"/></Relationships>
</file>

<file path=ppt/charts/_rels/chart2760.xml.rels><?xml version='1.0' encoding='UTF-8' standalone='yes'?>
<Relationships xmlns="http://schemas.openxmlformats.org/package/2006/relationships"><Relationship Id="rId1" Type="http://schemas.openxmlformats.org/officeDocument/2006/relationships/themeOverride" Target="../theme/themeOverride2760.xml"/><Relationship Id="rId2" Type="http://schemas.openxmlformats.org/officeDocument/2006/relationships/package" Target="../embeddings/Microsoft_Excel_Worksheet2759.xlsx"/></Relationships>
</file>

<file path=ppt/charts/_rels/chart2761.xml.rels><?xml version='1.0' encoding='UTF-8' standalone='yes'?>
<Relationships xmlns="http://schemas.openxmlformats.org/package/2006/relationships"><Relationship Id="rId1" Type="http://schemas.openxmlformats.org/officeDocument/2006/relationships/themeOverride" Target="../theme/themeOverride2761.xml"/><Relationship Id="rId2" Type="http://schemas.openxmlformats.org/officeDocument/2006/relationships/package" Target="../embeddings/Microsoft_Excel_Worksheet2760.xlsx"/></Relationships>
</file>

<file path=ppt/charts/_rels/chart2762.xml.rels><?xml version='1.0' encoding='UTF-8' standalone='yes'?>
<Relationships xmlns="http://schemas.openxmlformats.org/package/2006/relationships"><Relationship Id="rId1" Type="http://schemas.openxmlformats.org/officeDocument/2006/relationships/themeOverride" Target="../theme/themeOverride2762.xml"/><Relationship Id="rId2" Type="http://schemas.openxmlformats.org/officeDocument/2006/relationships/package" Target="../embeddings/Microsoft_Excel_Worksheet2761.xlsx"/></Relationships>
</file>

<file path=ppt/charts/_rels/chart2778.xml.rels><?xml version='1.0' encoding='UTF-8' standalone='yes'?>
<Relationships xmlns="http://schemas.openxmlformats.org/package/2006/relationships"><Relationship Id="rId1" Type="http://schemas.openxmlformats.org/officeDocument/2006/relationships/themeOverride" Target="../theme/themeOverride2778.xml"/><Relationship Id="rId2" Type="http://schemas.openxmlformats.org/officeDocument/2006/relationships/package" Target="../embeddings/Microsoft_Excel_Worksheet2777.xlsx"/></Relationships>
</file>

<file path=ppt/charts/_rels/chart2779.xml.rels><?xml version='1.0' encoding='UTF-8' standalone='yes'?>
<Relationships xmlns="http://schemas.openxmlformats.org/package/2006/relationships"><Relationship Id="rId1" Type="http://schemas.openxmlformats.org/officeDocument/2006/relationships/themeOverride" Target="../theme/themeOverride2779.xml"/><Relationship Id="rId2" Type="http://schemas.openxmlformats.org/officeDocument/2006/relationships/package" Target="../embeddings/Microsoft_Excel_Worksheet2778.xlsx"/></Relationships>
</file>

<file path=ppt/charts/_rels/chart2780.xml.rels><?xml version='1.0' encoding='UTF-8' standalone='yes'?>
<Relationships xmlns="http://schemas.openxmlformats.org/package/2006/relationships"><Relationship Id="rId1" Type="http://schemas.openxmlformats.org/officeDocument/2006/relationships/themeOverride" Target="../theme/themeOverride2780.xml"/><Relationship Id="rId2" Type="http://schemas.openxmlformats.org/officeDocument/2006/relationships/package" Target="../embeddings/Microsoft_Excel_Worksheet2779.xlsx"/></Relationships>
</file>

<file path=ppt/charts/_rels/chart2781.xml.rels><?xml version='1.0' encoding='UTF-8' standalone='yes'?>
<Relationships xmlns="http://schemas.openxmlformats.org/package/2006/relationships"><Relationship Id="rId1" Type="http://schemas.openxmlformats.org/officeDocument/2006/relationships/themeOverride" Target="../theme/themeOverride2781.xml"/><Relationship Id="rId2" Type="http://schemas.openxmlformats.org/officeDocument/2006/relationships/package" Target="../embeddings/Microsoft_Excel_Worksheet2780.xlsx"/></Relationships>
</file>

<file path=ppt/charts/_rels/chart2782.xml.rels><?xml version='1.0' encoding='UTF-8' standalone='yes'?>
<Relationships xmlns="http://schemas.openxmlformats.org/package/2006/relationships"><Relationship Id="rId1" Type="http://schemas.openxmlformats.org/officeDocument/2006/relationships/themeOverride" Target="../theme/themeOverride2782.xml"/><Relationship Id="rId2" Type="http://schemas.openxmlformats.org/officeDocument/2006/relationships/package" Target="../embeddings/Microsoft_Excel_Worksheet2781.xlsx"/></Relationships>
</file>

<file path=ppt/charts/_rels/chart2783.xml.rels><?xml version='1.0' encoding='UTF-8' standalone='yes'?>
<Relationships xmlns="http://schemas.openxmlformats.org/package/2006/relationships"><Relationship Id="rId1" Type="http://schemas.openxmlformats.org/officeDocument/2006/relationships/themeOverride" Target="../theme/themeOverride2783.xml"/><Relationship Id="rId2" Type="http://schemas.openxmlformats.org/officeDocument/2006/relationships/package" Target="../embeddings/Microsoft_Excel_Worksheet2782.xlsx"/></Relationships>
</file>

<file path=ppt/charts/_rels/chart2811.xml.rels><?xml version='1.0' encoding='UTF-8' standalone='yes'?>
<Relationships xmlns="http://schemas.openxmlformats.org/package/2006/relationships"><Relationship Id="rId1" Type="http://schemas.openxmlformats.org/officeDocument/2006/relationships/themeOverride" Target="../theme/themeOverride2811.xml"/><Relationship Id="rId2" Type="http://schemas.openxmlformats.org/officeDocument/2006/relationships/package" Target="../embeddings/Microsoft_Excel_Worksheet2810.xlsx"/></Relationships>
</file>

<file path=ppt/charts/_rels/chart2812.xml.rels><?xml version='1.0' encoding='UTF-8' standalone='yes'?>
<Relationships xmlns="http://schemas.openxmlformats.org/package/2006/relationships"><Relationship Id="rId1" Type="http://schemas.openxmlformats.org/officeDocument/2006/relationships/themeOverride" Target="../theme/themeOverride2812.xml"/><Relationship Id="rId2" Type="http://schemas.openxmlformats.org/officeDocument/2006/relationships/package" Target="../embeddings/Microsoft_Excel_Worksheet2811.xlsx"/></Relationships>
</file>

<file path=ppt/charts/_rels/chart2813.xml.rels><?xml version='1.0' encoding='UTF-8' standalone='yes'?>
<Relationships xmlns="http://schemas.openxmlformats.org/package/2006/relationships"><Relationship Id="rId1" Type="http://schemas.openxmlformats.org/officeDocument/2006/relationships/themeOverride" Target="../theme/themeOverride2813.xml"/><Relationship Id="rId2" Type="http://schemas.openxmlformats.org/officeDocument/2006/relationships/package" Target="../embeddings/Microsoft_Excel_Worksheet2812.xlsx"/></Relationships>
</file>

<file path=ppt/charts/_rels/chart2826.xml.rels><?xml version='1.0' encoding='UTF-8' standalone='yes'?>
<Relationships xmlns="http://schemas.openxmlformats.org/package/2006/relationships"><Relationship Id="rId1" Type="http://schemas.openxmlformats.org/officeDocument/2006/relationships/themeOverride" Target="../theme/themeOverride2826.xml"/><Relationship Id="rId2" Type="http://schemas.openxmlformats.org/officeDocument/2006/relationships/package" Target="../embeddings/Microsoft_Excel_Worksheet2825.xlsx"/></Relationships>
</file>

<file path=ppt/charts/_rels/chart2827.xml.rels><?xml version='1.0' encoding='UTF-8' standalone='yes'?>
<Relationships xmlns="http://schemas.openxmlformats.org/package/2006/relationships"><Relationship Id="rId1" Type="http://schemas.openxmlformats.org/officeDocument/2006/relationships/themeOverride" Target="../theme/themeOverride2827.xml"/><Relationship Id="rId2" Type="http://schemas.openxmlformats.org/officeDocument/2006/relationships/package" Target="../embeddings/Microsoft_Excel_Worksheet2826.xlsx"/></Relationships>
</file>

<file path=ppt/charts/_rels/chart2828.xml.rels><?xml version='1.0' encoding='UTF-8' standalone='yes'?>
<Relationships xmlns="http://schemas.openxmlformats.org/package/2006/relationships"><Relationship Id="rId1" Type="http://schemas.openxmlformats.org/officeDocument/2006/relationships/themeOverride" Target="../theme/themeOverride2828.xml"/><Relationship Id="rId2" Type="http://schemas.openxmlformats.org/officeDocument/2006/relationships/package" Target="../embeddings/Microsoft_Excel_Worksheet2827.xlsx"/></Relationships>
</file>

<file path=ppt/charts/_rels/chart2844.xml.rels><?xml version='1.0' encoding='UTF-8' standalone='yes'?>
<Relationships xmlns="http://schemas.openxmlformats.org/package/2006/relationships"><Relationship Id="rId1" Type="http://schemas.openxmlformats.org/officeDocument/2006/relationships/themeOverride" Target="../theme/themeOverride2844.xml"/><Relationship Id="rId2" Type="http://schemas.openxmlformats.org/officeDocument/2006/relationships/package" Target="../embeddings/Microsoft_Excel_Worksheet2843.xlsx"/></Relationships>
</file>

<file path=ppt/charts/_rels/chart2845.xml.rels><?xml version='1.0' encoding='UTF-8' standalone='yes'?>
<Relationships xmlns="http://schemas.openxmlformats.org/package/2006/relationships"><Relationship Id="rId1" Type="http://schemas.openxmlformats.org/officeDocument/2006/relationships/themeOverride" Target="../theme/themeOverride2845.xml"/><Relationship Id="rId2" Type="http://schemas.openxmlformats.org/officeDocument/2006/relationships/package" Target="../embeddings/Microsoft_Excel_Worksheet2844.xlsx"/></Relationships>
</file>

<file path=ppt/charts/_rels/chart2846.xml.rels><?xml version='1.0' encoding='UTF-8' standalone='yes'?>
<Relationships xmlns="http://schemas.openxmlformats.org/package/2006/relationships"><Relationship Id="rId1" Type="http://schemas.openxmlformats.org/officeDocument/2006/relationships/themeOverride" Target="../theme/themeOverride2846.xml"/><Relationship Id="rId2" Type="http://schemas.openxmlformats.org/officeDocument/2006/relationships/package" Target="../embeddings/Microsoft_Excel_Worksheet2845.xlsx"/></Relationships>
</file>

<file path=ppt/charts/_rels/chart2847.xml.rels><?xml version='1.0' encoding='UTF-8' standalone='yes'?>
<Relationships xmlns="http://schemas.openxmlformats.org/package/2006/relationships"><Relationship Id="rId1" Type="http://schemas.openxmlformats.org/officeDocument/2006/relationships/themeOverride" Target="../theme/themeOverride2847.xml"/><Relationship Id="rId2" Type="http://schemas.openxmlformats.org/officeDocument/2006/relationships/package" Target="../embeddings/Microsoft_Excel_Worksheet2846.xlsx"/></Relationships>
</file>

<file path=ppt/charts/_rels/chart2848.xml.rels><?xml version='1.0' encoding='UTF-8' standalone='yes'?>
<Relationships xmlns="http://schemas.openxmlformats.org/package/2006/relationships"><Relationship Id="rId1" Type="http://schemas.openxmlformats.org/officeDocument/2006/relationships/themeOverride" Target="../theme/themeOverride2848.xml"/><Relationship Id="rId2" Type="http://schemas.openxmlformats.org/officeDocument/2006/relationships/package" Target="../embeddings/Microsoft_Excel_Worksheet2847.xlsx"/></Relationships>
</file>

<file path=ppt/charts/_rels/chart2849.xml.rels><?xml version='1.0' encoding='UTF-8' standalone='yes'?>
<Relationships xmlns="http://schemas.openxmlformats.org/package/2006/relationships"><Relationship Id="rId1" Type="http://schemas.openxmlformats.org/officeDocument/2006/relationships/themeOverride" Target="../theme/themeOverride2849.xml"/><Relationship Id="rId2" Type="http://schemas.openxmlformats.org/officeDocument/2006/relationships/package" Target="../embeddings/Microsoft_Excel_Worksheet2848.xlsx"/></Relationships>
</file>

<file path=ppt/charts/_rels/chart2864.xml.rels><?xml version='1.0' encoding='UTF-8' standalone='yes'?>
<Relationships xmlns="http://schemas.openxmlformats.org/package/2006/relationships"><Relationship Id="rId1" Type="http://schemas.openxmlformats.org/officeDocument/2006/relationships/themeOverride" Target="../theme/themeOverride2864.xml"/><Relationship Id="rId2" Type="http://schemas.openxmlformats.org/officeDocument/2006/relationships/package" Target="../embeddings/Microsoft_Excel_Worksheet2863.xlsx"/></Relationships>
</file>

<file path=ppt/charts/_rels/chart2865.xml.rels><?xml version='1.0' encoding='UTF-8' standalone='yes'?>
<Relationships xmlns="http://schemas.openxmlformats.org/package/2006/relationships"><Relationship Id="rId1" Type="http://schemas.openxmlformats.org/officeDocument/2006/relationships/themeOverride" Target="../theme/themeOverride2865.xml"/><Relationship Id="rId2" Type="http://schemas.openxmlformats.org/officeDocument/2006/relationships/package" Target="../embeddings/Microsoft_Excel_Worksheet2864.xlsx"/></Relationships>
</file>

<file path=ppt/charts/_rels/chart2866.xml.rels><?xml version='1.0' encoding='UTF-8' standalone='yes'?>
<Relationships xmlns="http://schemas.openxmlformats.org/package/2006/relationships"><Relationship Id="rId1" Type="http://schemas.openxmlformats.org/officeDocument/2006/relationships/themeOverride" Target="../theme/themeOverride2866.xml"/><Relationship Id="rId2" Type="http://schemas.openxmlformats.org/officeDocument/2006/relationships/package" Target="../embeddings/Microsoft_Excel_Worksheet2865.xlsx"/></Relationships>
</file>

<file path=ppt/charts/_rels/chart2867.xml.rels><?xml version='1.0' encoding='UTF-8' standalone='yes'?>
<Relationships xmlns="http://schemas.openxmlformats.org/package/2006/relationships"><Relationship Id="rId1" Type="http://schemas.openxmlformats.org/officeDocument/2006/relationships/themeOverride" Target="../theme/themeOverride2867.xml"/><Relationship Id="rId2" Type="http://schemas.openxmlformats.org/officeDocument/2006/relationships/package" Target="../embeddings/Microsoft_Excel_Worksheet2866.xlsx"/></Relationships>
</file>

<file path=ppt/charts/_rels/chart2868.xml.rels><?xml version='1.0' encoding='UTF-8' standalone='yes'?>
<Relationships xmlns="http://schemas.openxmlformats.org/package/2006/relationships"><Relationship Id="rId1" Type="http://schemas.openxmlformats.org/officeDocument/2006/relationships/themeOverride" Target="../theme/themeOverride2868.xml"/><Relationship Id="rId2" Type="http://schemas.openxmlformats.org/officeDocument/2006/relationships/package" Target="../embeddings/Microsoft_Excel_Worksheet2867.xlsx"/></Relationships>
</file>

<file path=ppt/charts/_rels/chart2874.xml.rels><?xml version='1.0' encoding='UTF-8' standalone='yes'?>
<Relationships xmlns="http://schemas.openxmlformats.org/package/2006/relationships"><Relationship Id="rId1" Type="http://schemas.openxmlformats.org/officeDocument/2006/relationships/themeOverride" Target="../theme/themeOverride2874.xml"/><Relationship Id="rId2" Type="http://schemas.openxmlformats.org/officeDocument/2006/relationships/package" Target="../embeddings/Microsoft_Excel_Worksheet2873.xlsx"/></Relationships>
</file>

<file path=ppt/charts/_rels/chart2875.xml.rels><?xml version='1.0' encoding='UTF-8' standalone='yes'?>
<Relationships xmlns="http://schemas.openxmlformats.org/package/2006/relationships"><Relationship Id="rId1" Type="http://schemas.openxmlformats.org/officeDocument/2006/relationships/themeOverride" Target="../theme/themeOverride2875.xml"/><Relationship Id="rId2" Type="http://schemas.openxmlformats.org/officeDocument/2006/relationships/package" Target="../embeddings/Microsoft_Excel_Worksheet2874.xlsx"/></Relationships>
</file>

<file path=ppt/charts/_rels/chart2876.xml.rels><?xml version='1.0' encoding='UTF-8' standalone='yes'?>
<Relationships xmlns="http://schemas.openxmlformats.org/package/2006/relationships"><Relationship Id="rId1" Type="http://schemas.openxmlformats.org/officeDocument/2006/relationships/themeOverride" Target="../theme/themeOverride2876.xml"/><Relationship Id="rId2" Type="http://schemas.openxmlformats.org/officeDocument/2006/relationships/package" Target="../embeddings/Microsoft_Excel_Worksheet2875.xlsx"/></Relationships>
</file>

<file path=ppt/charts/_rels/chart2904.xml.rels><?xml version='1.0' encoding='UTF-8' standalone='yes'?>
<Relationships xmlns="http://schemas.openxmlformats.org/package/2006/relationships"><Relationship Id="rId1" Type="http://schemas.openxmlformats.org/officeDocument/2006/relationships/themeOverride" Target="../theme/themeOverride2904.xml"/><Relationship Id="rId2" Type="http://schemas.openxmlformats.org/officeDocument/2006/relationships/package" Target="../embeddings/Microsoft_Excel_Worksheet2903.xlsx"/></Relationships>
</file>

<file path=ppt/charts/_rels/chart2905.xml.rels><?xml version='1.0' encoding='UTF-8' standalone='yes'?>
<Relationships xmlns="http://schemas.openxmlformats.org/package/2006/relationships"><Relationship Id="rId1" Type="http://schemas.openxmlformats.org/officeDocument/2006/relationships/themeOverride" Target="../theme/themeOverride2905.xml"/><Relationship Id="rId2" Type="http://schemas.openxmlformats.org/officeDocument/2006/relationships/package" Target="../embeddings/Microsoft_Excel_Worksheet2904.xlsx"/></Relationships>
</file>

<file path=ppt/charts/_rels/chart2906.xml.rels><?xml version='1.0' encoding='UTF-8' standalone='yes'?>
<Relationships xmlns="http://schemas.openxmlformats.org/package/2006/relationships"><Relationship Id="rId1" Type="http://schemas.openxmlformats.org/officeDocument/2006/relationships/themeOverride" Target="../theme/themeOverride2906.xml"/><Relationship Id="rId2" Type="http://schemas.openxmlformats.org/officeDocument/2006/relationships/package" Target="../embeddings/Microsoft_Excel_Worksheet2905.xlsx"/></Relationships>
</file>

<file path=ppt/charts/_rels/chart2927.xml.rels><?xml version='1.0' encoding='UTF-8' standalone='yes'?>
<Relationships xmlns="http://schemas.openxmlformats.org/package/2006/relationships"><Relationship Id="rId1" Type="http://schemas.openxmlformats.org/officeDocument/2006/relationships/themeOverride" Target="../theme/themeOverride2927.xml"/><Relationship Id="rId2" Type="http://schemas.openxmlformats.org/officeDocument/2006/relationships/package" Target="../embeddings/Microsoft_Excel_Worksheet2926.xlsx"/></Relationships>
</file>

<file path=ppt/charts/_rels/chart2928.xml.rels><?xml version='1.0' encoding='UTF-8' standalone='yes'?>
<Relationships xmlns="http://schemas.openxmlformats.org/package/2006/relationships"><Relationship Id="rId1" Type="http://schemas.openxmlformats.org/officeDocument/2006/relationships/themeOverride" Target="../theme/themeOverride2928.xml"/><Relationship Id="rId2" Type="http://schemas.openxmlformats.org/officeDocument/2006/relationships/package" Target="../embeddings/Microsoft_Excel_Worksheet2927.xlsx"/></Relationships>
</file>

<file path=ppt/charts/_rels/chart2929.xml.rels><?xml version='1.0' encoding='UTF-8' standalone='yes'?>
<Relationships xmlns="http://schemas.openxmlformats.org/package/2006/relationships"><Relationship Id="rId1" Type="http://schemas.openxmlformats.org/officeDocument/2006/relationships/themeOverride" Target="../theme/themeOverride2929.xml"/><Relationship Id="rId2" Type="http://schemas.openxmlformats.org/officeDocument/2006/relationships/package" Target="../embeddings/Microsoft_Excel_Worksheet2928.xlsx"/></Relationships>
</file>

<file path=ppt/charts/_rels/chart2930.xml.rels><?xml version='1.0' encoding='UTF-8' standalone='yes'?>
<Relationships xmlns="http://schemas.openxmlformats.org/package/2006/relationships"><Relationship Id="rId1" Type="http://schemas.openxmlformats.org/officeDocument/2006/relationships/themeOverride" Target="../theme/themeOverride2930.xml"/><Relationship Id="rId2" Type="http://schemas.openxmlformats.org/officeDocument/2006/relationships/package" Target="../embeddings/Microsoft_Excel_Worksheet2929.xlsx"/></Relationships>
</file>

<file path=ppt/charts/_rels/chart2931.xml.rels><?xml version='1.0' encoding='UTF-8' standalone='yes'?>
<Relationships xmlns="http://schemas.openxmlformats.org/package/2006/relationships"><Relationship Id="rId1" Type="http://schemas.openxmlformats.org/officeDocument/2006/relationships/themeOverride" Target="../theme/themeOverride2931.xml"/><Relationship Id="rId2" Type="http://schemas.openxmlformats.org/officeDocument/2006/relationships/package" Target="../embeddings/Microsoft_Excel_Worksheet2930.xlsx"/></Relationships>
</file>

<file path=ppt/charts/_rels/chart2944.xml.rels><?xml version='1.0' encoding='UTF-8' standalone='yes'?>
<Relationships xmlns="http://schemas.openxmlformats.org/package/2006/relationships"><Relationship Id="rId1" Type="http://schemas.openxmlformats.org/officeDocument/2006/relationships/themeOverride" Target="../theme/themeOverride2944.xml"/><Relationship Id="rId2" Type="http://schemas.openxmlformats.org/officeDocument/2006/relationships/package" Target="../embeddings/Microsoft_Excel_Worksheet2943.xlsx"/></Relationships>
</file>

<file path=ppt/charts/_rels/chart2945.xml.rels><?xml version='1.0' encoding='UTF-8' standalone='yes'?>
<Relationships xmlns="http://schemas.openxmlformats.org/package/2006/relationships"><Relationship Id="rId1" Type="http://schemas.openxmlformats.org/officeDocument/2006/relationships/themeOverride" Target="../theme/themeOverride2945.xml"/><Relationship Id="rId2" Type="http://schemas.openxmlformats.org/officeDocument/2006/relationships/package" Target="../embeddings/Microsoft_Excel_Worksheet2944.xlsx"/></Relationships>
</file>

<file path=ppt/charts/_rels/chart2946.xml.rels><?xml version='1.0' encoding='UTF-8' standalone='yes'?>
<Relationships xmlns="http://schemas.openxmlformats.org/package/2006/relationships"><Relationship Id="rId1" Type="http://schemas.openxmlformats.org/officeDocument/2006/relationships/themeOverride" Target="../theme/themeOverride2946.xml"/><Relationship Id="rId2" Type="http://schemas.openxmlformats.org/officeDocument/2006/relationships/package" Target="../embeddings/Microsoft_Excel_Worksheet2945.xlsx"/></Relationships>
</file>

<file path=ppt/charts/_rels/chart2954.xml.rels><?xml version='1.0' encoding='UTF-8' standalone='yes'?>
<Relationships xmlns="http://schemas.openxmlformats.org/package/2006/relationships"><Relationship Id="rId1" Type="http://schemas.openxmlformats.org/officeDocument/2006/relationships/themeOverride" Target="../theme/themeOverride2954.xml"/><Relationship Id="rId2" Type="http://schemas.openxmlformats.org/officeDocument/2006/relationships/package" Target="../embeddings/Microsoft_Excel_Worksheet2953.xlsx"/></Relationships>
</file>

<file path=ppt/charts/_rels/chart2955.xml.rels><?xml version='1.0' encoding='UTF-8' standalone='yes'?>
<Relationships xmlns="http://schemas.openxmlformats.org/package/2006/relationships"><Relationship Id="rId1" Type="http://schemas.openxmlformats.org/officeDocument/2006/relationships/themeOverride" Target="../theme/themeOverride2955.xml"/><Relationship Id="rId2" Type="http://schemas.openxmlformats.org/officeDocument/2006/relationships/package" Target="../embeddings/Microsoft_Excel_Worksheet2954.xlsx"/></Relationships>
</file>

<file path=ppt/charts/_rels/chart2956.xml.rels><?xml version='1.0' encoding='UTF-8' standalone='yes'?>
<Relationships xmlns="http://schemas.openxmlformats.org/package/2006/relationships"><Relationship Id="rId1" Type="http://schemas.openxmlformats.org/officeDocument/2006/relationships/themeOverride" Target="../theme/themeOverride2956.xml"/><Relationship Id="rId2" Type="http://schemas.openxmlformats.org/officeDocument/2006/relationships/package" Target="../embeddings/Microsoft_Excel_Worksheet2955.xlsx"/></Relationships>
</file>

<file path=ppt/charts/_rels/chart296.xml.rels><?xml version='1.0' encoding='UTF-8' standalone='yes'?>
<Relationships xmlns="http://schemas.openxmlformats.org/package/2006/relationships"><Relationship Id="rId1" Type="http://schemas.openxmlformats.org/officeDocument/2006/relationships/themeOverride" Target="../theme/themeOverride296.xml"/><Relationship Id="rId2" Type="http://schemas.openxmlformats.org/officeDocument/2006/relationships/package" Target="../embeddings/Microsoft_Excel_Worksheet295.xlsx"/></Relationships>
</file>

<file path=ppt/charts/_rels/chart2962.xml.rels><?xml version='1.0' encoding='UTF-8' standalone='yes'?>
<Relationships xmlns="http://schemas.openxmlformats.org/package/2006/relationships"><Relationship Id="rId1" Type="http://schemas.openxmlformats.org/officeDocument/2006/relationships/themeOverride" Target="../theme/themeOverride2962.xml"/><Relationship Id="rId2" Type="http://schemas.openxmlformats.org/officeDocument/2006/relationships/package" Target="../embeddings/Microsoft_Excel_Worksheet2961.xlsx"/></Relationships>
</file>

<file path=ppt/charts/_rels/chart2963.xml.rels><?xml version='1.0' encoding='UTF-8' standalone='yes'?>
<Relationships xmlns="http://schemas.openxmlformats.org/package/2006/relationships"><Relationship Id="rId1" Type="http://schemas.openxmlformats.org/officeDocument/2006/relationships/themeOverride" Target="../theme/themeOverride2963.xml"/><Relationship Id="rId2" Type="http://schemas.openxmlformats.org/officeDocument/2006/relationships/package" Target="../embeddings/Microsoft_Excel_Worksheet2962.xlsx"/></Relationships>
</file>

<file path=ppt/charts/_rels/chart297.xml.rels><?xml version='1.0' encoding='UTF-8' standalone='yes'?>
<Relationships xmlns="http://schemas.openxmlformats.org/package/2006/relationships"><Relationship Id="rId1" Type="http://schemas.openxmlformats.org/officeDocument/2006/relationships/themeOverride" Target="../theme/themeOverride297.xml"/><Relationship Id="rId2"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themeOverride" Target="../theme/themeOverride298.xml"/><Relationship Id="rId2" Type="http://schemas.openxmlformats.org/officeDocument/2006/relationships/package" Target="../embeddings/Microsoft_Excel_Worksheet297.xlsx"/></Relationships>
</file>

<file path=ppt/charts/_rels/chart2982.xml.rels><?xml version='1.0' encoding='UTF-8' standalone='yes'?>
<Relationships xmlns="http://schemas.openxmlformats.org/package/2006/relationships"><Relationship Id="rId1" Type="http://schemas.openxmlformats.org/officeDocument/2006/relationships/themeOverride" Target="../theme/themeOverride2982.xml"/><Relationship Id="rId2" Type="http://schemas.openxmlformats.org/officeDocument/2006/relationships/package" Target="../embeddings/Microsoft_Excel_Worksheet2981.xlsx"/></Relationships>
</file>

<file path=ppt/charts/_rels/chart2983.xml.rels><?xml version='1.0' encoding='UTF-8' standalone='yes'?>
<Relationships xmlns="http://schemas.openxmlformats.org/package/2006/relationships"><Relationship Id="rId1" Type="http://schemas.openxmlformats.org/officeDocument/2006/relationships/themeOverride" Target="../theme/themeOverride2983.xml"/><Relationship Id="rId2" Type="http://schemas.openxmlformats.org/officeDocument/2006/relationships/package" Target="../embeddings/Microsoft_Excel_Worksheet2982.xlsx"/></Relationships>
</file>

<file path=ppt/charts/_rels/chart2984.xml.rels><?xml version='1.0' encoding='UTF-8' standalone='yes'?>
<Relationships xmlns="http://schemas.openxmlformats.org/package/2006/relationships"><Relationship Id="rId1" Type="http://schemas.openxmlformats.org/officeDocument/2006/relationships/themeOverride" Target="../theme/themeOverride2984.xml"/><Relationship Id="rId2" Type="http://schemas.openxmlformats.org/officeDocument/2006/relationships/package" Target="../embeddings/Microsoft_Excel_Worksheet2983.xlsx"/></Relationships>
</file>

<file path=ppt/charts/_rels/chart2985.xml.rels><?xml version='1.0' encoding='UTF-8' standalone='yes'?>
<Relationships xmlns="http://schemas.openxmlformats.org/package/2006/relationships"><Relationship Id="rId1" Type="http://schemas.openxmlformats.org/officeDocument/2006/relationships/themeOverride" Target="../theme/themeOverride2985.xml"/><Relationship Id="rId2" Type="http://schemas.openxmlformats.org/officeDocument/2006/relationships/package" Target="../embeddings/Microsoft_Excel_Worksheet2984.xlsx"/></Relationships>
</file>

<file path=ppt/charts/_rels/chart2986.xml.rels><?xml version='1.0' encoding='UTF-8' standalone='yes'?>
<Relationships xmlns="http://schemas.openxmlformats.org/package/2006/relationships"><Relationship Id="rId1" Type="http://schemas.openxmlformats.org/officeDocument/2006/relationships/themeOverride" Target="../theme/themeOverride2986.xml"/><Relationship Id="rId2" Type="http://schemas.openxmlformats.org/officeDocument/2006/relationships/package" Target="../embeddings/Microsoft_Excel_Worksheet2985.xlsx"/></Relationships>
</file>

<file path=ppt/charts/_rels/chart2987.xml.rels><?xml version='1.0' encoding='UTF-8' standalone='yes'?>
<Relationships xmlns="http://schemas.openxmlformats.org/package/2006/relationships"><Relationship Id="rId1" Type="http://schemas.openxmlformats.org/officeDocument/2006/relationships/themeOverride" Target="../theme/themeOverride2987.xml"/><Relationship Id="rId2" Type="http://schemas.openxmlformats.org/officeDocument/2006/relationships/package" Target="../embeddings/Microsoft_Excel_Worksheet2986.xlsx"/></Relationships>
</file>

<file path=ppt/charts/_rels/chart2988.xml.rels><?xml version='1.0' encoding='UTF-8' standalone='yes'?>
<Relationships xmlns="http://schemas.openxmlformats.org/package/2006/relationships"><Relationship Id="rId1" Type="http://schemas.openxmlformats.org/officeDocument/2006/relationships/themeOverride" Target="../theme/themeOverride2988.xml"/><Relationship Id="rId2" Type="http://schemas.openxmlformats.org/officeDocument/2006/relationships/package" Target="../embeddings/Microsoft_Excel_Worksheet2987.xlsx"/></Relationships>
</file>

<file path=ppt/charts/_rels/chart299.xml.rels><?xml version='1.0' encoding='UTF-8' standalone='yes'?>
<Relationships xmlns="http://schemas.openxmlformats.org/package/2006/relationships"><Relationship Id="rId1" Type="http://schemas.openxmlformats.org/officeDocument/2006/relationships/themeOverride" Target="../theme/themeOverride299.xml"/><Relationship Id="rId2" Type="http://schemas.openxmlformats.org/officeDocument/2006/relationships/package" Target="../embeddings/Microsoft_Excel_Worksheet298.xlsx"/></Relationships>
</file>

<file path=ppt/charts/_rels/chart2999.xml.rels><?xml version='1.0' encoding='UTF-8' standalone='yes'?>
<Relationships xmlns="http://schemas.openxmlformats.org/package/2006/relationships"><Relationship Id="rId1" Type="http://schemas.openxmlformats.org/officeDocument/2006/relationships/themeOverride" Target="../theme/themeOverride2999.xml"/><Relationship Id="rId2" Type="http://schemas.openxmlformats.org/officeDocument/2006/relationships/package" Target="../embeddings/Microsoft_Excel_Worksheet2998.xlsx"/></Relationships>
</file>

<file path=ppt/charts/_rels/chart300.xml.rels><?xml version='1.0' encoding='UTF-8' standalone='yes'?>
<Relationships xmlns="http://schemas.openxmlformats.org/package/2006/relationships"><Relationship Id="rId1" Type="http://schemas.openxmlformats.org/officeDocument/2006/relationships/themeOverride" Target="../theme/themeOverride300.xml"/><Relationship Id="rId2" Type="http://schemas.openxmlformats.org/officeDocument/2006/relationships/package" Target="../embeddings/Microsoft_Excel_Worksheet299.xlsx"/></Relationships>
</file>

<file path=ppt/charts/_rels/chart3000.xml.rels><?xml version='1.0' encoding='UTF-8' standalone='yes'?>
<Relationships xmlns="http://schemas.openxmlformats.org/package/2006/relationships"><Relationship Id="rId1" Type="http://schemas.openxmlformats.org/officeDocument/2006/relationships/themeOverride" Target="../theme/themeOverride3000.xml"/><Relationship Id="rId2" Type="http://schemas.openxmlformats.org/officeDocument/2006/relationships/package" Target="../embeddings/Microsoft_Excel_Worksheet2999.xlsx"/></Relationships>
</file>

<file path=ppt/charts/_rels/chart3001.xml.rels><?xml version='1.0' encoding='UTF-8' standalone='yes'?>
<Relationships xmlns="http://schemas.openxmlformats.org/package/2006/relationships"><Relationship Id="rId1" Type="http://schemas.openxmlformats.org/officeDocument/2006/relationships/themeOverride" Target="../theme/themeOverride3001.xml"/><Relationship Id="rId2" Type="http://schemas.openxmlformats.org/officeDocument/2006/relationships/package" Target="../embeddings/Microsoft_Excel_Worksheet3000.xlsx"/></Relationships>
</file>

<file path=ppt/charts/_rels/chart3009.xml.rels><?xml version='1.0' encoding='UTF-8' standalone='yes'?>
<Relationships xmlns="http://schemas.openxmlformats.org/package/2006/relationships"><Relationship Id="rId1" Type="http://schemas.openxmlformats.org/officeDocument/2006/relationships/themeOverride" Target="../theme/themeOverride3009.xml"/><Relationship Id="rId2" Type="http://schemas.openxmlformats.org/officeDocument/2006/relationships/package" Target="../embeddings/Microsoft_Excel_Worksheet3008.xlsx"/></Relationships>
</file>

<file path=ppt/charts/_rels/chart301.xml.rels><?xml version='1.0' encoding='UTF-8' standalone='yes'?>
<Relationships xmlns="http://schemas.openxmlformats.org/package/2006/relationships"><Relationship Id="rId1" Type="http://schemas.openxmlformats.org/officeDocument/2006/relationships/themeOverride" Target="../theme/themeOverride301.xml"/><Relationship Id="rId2" Type="http://schemas.openxmlformats.org/officeDocument/2006/relationships/package" Target="../embeddings/Microsoft_Excel_Worksheet300.xlsx"/></Relationships>
</file>

<file path=ppt/charts/_rels/chart3010.xml.rels><?xml version='1.0' encoding='UTF-8' standalone='yes'?>
<Relationships xmlns="http://schemas.openxmlformats.org/package/2006/relationships"><Relationship Id="rId1" Type="http://schemas.openxmlformats.org/officeDocument/2006/relationships/themeOverride" Target="../theme/themeOverride3010.xml"/><Relationship Id="rId2" Type="http://schemas.openxmlformats.org/officeDocument/2006/relationships/package" Target="../embeddings/Microsoft_Excel_Worksheet3009.xlsx"/></Relationships>
</file>

<file path=ppt/charts/_rels/chart3011.xml.rels><?xml version='1.0' encoding='UTF-8' standalone='yes'?>
<Relationships xmlns="http://schemas.openxmlformats.org/package/2006/relationships"><Relationship Id="rId1" Type="http://schemas.openxmlformats.org/officeDocument/2006/relationships/themeOverride" Target="../theme/themeOverride3011.xml"/><Relationship Id="rId2" Type="http://schemas.openxmlformats.org/officeDocument/2006/relationships/package" Target="../embeddings/Microsoft_Excel_Worksheet3010.xlsx"/></Relationships>
</file>

<file path=ppt/charts/_rels/chart3015.xml.rels><?xml version='1.0' encoding='UTF-8' standalone='yes'?>
<Relationships xmlns="http://schemas.openxmlformats.org/package/2006/relationships"><Relationship Id="rId1" Type="http://schemas.openxmlformats.org/officeDocument/2006/relationships/themeOverride" Target="../theme/themeOverride3015.xml"/><Relationship Id="rId2" Type="http://schemas.openxmlformats.org/officeDocument/2006/relationships/package" Target="../embeddings/Microsoft_Excel_Worksheet3014.xlsx"/></Relationships>
</file>

<file path=ppt/charts/_rels/chart3016.xml.rels><?xml version='1.0' encoding='UTF-8' standalone='yes'?>
<Relationships xmlns="http://schemas.openxmlformats.org/package/2006/relationships"><Relationship Id="rId1" Type="http://schemas.openxmlformats.org/officeDocument/2006/relationships/themeOverride" Target="../theme/themeOverride3016.xml"/><Relationship Id="rId2" Type="http://schemas.openxmlformats.org/officeDocument/2006/relationships/package" Target="../embeddings/Microsoft_Excel_Worksheet3015.xlsx"/></Relationships>
</file>

<file path=ppt/charts/_rels/chart3017.xml.rels><?xml version='1.0' encoding='UTF-8' standalone='yes'?>
<Relationships xmlns="http://schemas.openxmlformats.org/package/2006/relationships"><Relationship Id="rId1" Type="http://schemas.openxmlformats.org/officeDocument/2006/relationships/themeOverride" Target="../theme/themeOverride3017.xml"/><Relationship Id="rId2" Type="http://schemas.openxmlformats.org/officeDocument/2006/relationships/package" Target="../embeddings/Microsoft_Excel_Worksheet3016.xlsx"/></Relationships>
</file>

<file path=ppt/charts/_rels/chart3018.xml.rels><?xml version='1.0' encoding='UTF-8' standalone='yes'?>
<Relationships xmlns="http://schemas.openxmlformats.org/package/2006/relationships"><Relationship Id="rId1" Type="http://schemas.openxmlformats.org/officeDocument/2006/relationships/themeOverride" Target="../theme/themeOverride3018.xml"/><Relationship Id="rId2" Type="http://schemas.openxmlformats.org/officeDocument/2006/relationships/package" Target="../embeddings/Microsoft_Excel_Worksheet3017.xlsx"/></Relationships>
</file>

<file path=ppt/charts/_rels/chart3019.xml.rels><?xml version='1.0' encoding='UTF-8' standalone='yes'?>
<Relationships xmlns="http://schemas.openxmlformats.org/package/2006/relationships"><Relationship Id="rId1" Type="http://schemas.openxmlformats.org/officeDocument/2006/relationships/themeOverride" Target="../theme/themeOverride3019.xml"/><Relationship Id="rId2" Type="http://schemas.openxmlformats.org/officeDocument/2006/relationships/package" Target="../embeddings/Microsoft_Excel_Worksheet3018.xlsx"/></Relationships>
</file>

<file path=ppt/charts/_rels/chart302.xml.rels><?xml version='1.0' encoding='UTF-8' standalone='yes'?>
<Relationships xmlns="http://schemas.openxmlformats.org/package/2006/relationships"><Relationship Id="rId1" Type="http://schemas.openxmlformats.org/officeDocument/2006/relationships/themeOverride" Target="../theme/themeOverride302.xml"/><Relationship Id="rId2" Type="http://schemas.openxmlformats.org/officeDocument/2006/relationships/package" Target="../embeddings/Microsoft_Excel_Worksheet301.xlsx"/></Relationships>
</file>

<file path=ppt/charts/_rels/chart3020.xml.rels><?xml version='1.0' encoding='UTF-8' standalone='yes'?>
<Relationships xmlns="http://schemas.openxmlformats.org/package/2006/relationships"><Relationship Id="rId1" Type="http://schemas.openxmlformats.org/officeDocument/2006/relationships/themeOverride" Target="../theme/themeOverride3020.xml"/><Relationship Id="rId2" Type="http://schemas.openxmlformats.org/officeDocument/2006/relationships/package" Target="../embeddings/Microsoft_Excel_Worksheet3019.xlsx"/></Relationships>
</file>

<file path=ppt/charts/_rels/chart303.xml.rels><?xml version='1.0' encoding='UTF-8' standalone='yes'?>
<Relationships xmlns="http://schemas.openxmlformats.org/package/2006/relationships"><Relationship Id="rId1" Type="http://schemas.openxmlformats.org/officeDocument/2006/relationships/themeOverride" Target="../theme/themeOverride303.xml"/><Relationship Id="rId2"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themeOverride" Target="../theme/themeOverride304.xml"/><Relationship Id="rId2" Type="http://schemas.openxmlformats.org/officeDocument/2006/relationships/package" Target="../embeddings/Microsoft_Excel_Worksheet303.xlsx"/></Relationships>
</file>

<file path=ppt/charts/_rels/chart3048.xml.rels><?xml version='1.0' encoding='UTF-8' standalone='yes'?>
<Relationships xmlns="http://schemas.openxmlformats.org/package/2006/relationships"><Relationship Id="rId1" Type="http://schemas.openxmlformats.org/officeDocument/2006/relationships/themeOverride" Target="../theme/themeOverride3048.xml"/><Relationship Id="rId2" Type="http://schemas.openxmlformats.org/officeDocument/2006/relationships/package" Target="../embeddings/Microsoft_Excel_Worksheet3047.xlsx"/></Relationships>
</file>

<file path=ppt/charts/_rels/chart3049.xml.rels><?xml version='1.0' encoding='UTF-8' standalone='yes'?>
<Relationships xmlns="http://schemas.openxmlformats.org/package/2006/relationships"><Relationship Id="rId1" Type="http://schemas.openxmlformats.org/officeDocument/2006/relationships/themeOverride" Target="../theme/themeOverride3049.xml"/><Relationship Id="rId2" Type="http://schemas.openxmlformats.org/officeDocument/2006/relationships/package" Target="../embeddings/Microsoft_Excel_Worksheet3048.xlsx"/></Relationships>
</file>

<file path=ppt/charts/_rels/chart305.xml.rels><?xml version='1.0' encoding='UTF-8' standalone='yes'?>
<Relationships xmlns="http://schemas.openxmlformats.org/package/2006/relationships"><Relationship Id="rId1" Type="http://schemas.openxmlformats.org/officeDocument/2006/relationships/themeOverride" Target="../theme/themeOverride305.xml"/><Relationship Id="rId2" Type="http://schemas.openxmlformats.org/officeDocument/2006/relationships/package" Target="../embeddings/Microsoft_Excel_Worksheet304.xlsx"/></Relationships>
</file>

<file path=ppt/charts/_rels/chart3050.xml.rels><?xml version='1.0' encoding='UTF-8' standalone='yes'?>
<Relationships xmlns="http://schemas.openxmlformats.org/package/2006/relationships"><Relationship Id="rId1" Type="http://schemas.openxmlformats.org/officeDocument/2006/relationships/themeOverride" Target="../theme/themeOverride3050.xml"/><Relationship Id="rId2" Type="http://schemas.openxmlformats.org/officeDocument/2006/relationships/package" Target="../embeddings/Microsoft_Excel_Worksheet3049.xlsx"/></Relationships>
</file>

<file path=ppt/charts/_rels/chart3063.xml.rels><?xml version='1.0' encoding='UTF-8' standalone='yes'?>
<Relationships xmlns="http://schemas.openxmlformats.org/package/2006/relationships"><Relationship Id="rId1" Type="http://schemas.openxmlformats.org/officeDocument/2006/relationships/themeOverride" Target="../theme/themeOverride3063.xml"/><Relationship Id="rId2" Type="http://schemas.openxmlformats.org/officeDocument/2006/relationships/package" Target="../embeddings/Microsoft_Excel_Worksheet3062.xlsx"/></Relationships>
</file>

<file path=ppt/charts/_rels/chart3064.xml.rels><?xml version='1.0' encoding='UTF-8' standalone='yes'?>
<Relationships xmlns="http://schemas.openxmlformats.org/package/2006/relationships"><Relationship Id="rId1" Type="http://schemas.openxmlformats.org/officeDocument/2006/relationships/themeOverride" Target="../theme/themeOverride3064.xml"/><Relationship Id="rId2" Type="http://schemas.openxmlformats.org/officeDocument/2006/relationships/package" Target="../embeddings/Microsoft_Excel_Worksheet3063.xlsx"/></Relationships>
</file>

<file path=ppt/charts/_rels/chart3065.xml.rels><?xml version='1.0' encoding='UTF-8' standalone='yes'?>
<Relationships xmlns="http://schemas.openxmlformats.org/package/2006/relationships"><Relationship Id="rId1" Type="http://schemas.openxmlformats.org/officeDocument/2006/relationships/themeOverride" Target="../theme/themeOverride3065.xml"/><Relationship Id="rId2" Type="http://schemas.openxmlformats.org/officeDocument/2006/relationships/package" Target="../embeddings/Microsoft_Excel_Worksheet3064.xlsx"/></Relationships>
</file>

<file path=ppt/charts/_rels/chart3084.xml.rels><?xml version='1.0' encoding='UTF-8' standalone='yes'?>
<Relationships xmlns="http://schemas.openxmlformats.org/package/2006/relationships"><Relationship Id="rId1" Type="http://schemas.openxmlformats.org/officeDocument/2006/relationships/themeOverride" Target="../theme/themeOverride3084.xml"/><Relationship Id="rId2" Type="http://schemas.openxmlformats.org/officeDocument/2006/relationships/package" Target="../embeddings/Microsoft_Excel_Worksheet3083.xlsx"/></Relationships>
</file>

<file path=ppt/charts/_rels/chart3085.xml.rels><?xml version='1.0' encoding='UTF-8' standalone='yes'?>
<Relationships xmlns="http://schemas.openxmlformats.org/package/2006/relationships"><Relationship Id="rId1" Type="http://schemas.openxmlformats.org/officeDocument/2006/relationships/themeOverride" Target="../theme/themeOverride3085.xml"/><Relationship Id="rId2" Type="http://schemas.openxmlformats.org/officeDocument/2006/relationships/package" Target="../embeddings/Microsoft_Excel_Worksheet3084.xlsx"/></Relationships>
</file>

<file path=ppt/charts/_rels/chart3086.xml.rels><?xml version='1.0' encoding='UTF-8' standalone='yes'?>
<Relationships xmlns="http://schemas.openxmlformats.org/package/2006/relationships"><Relationship Id="rId1" Type="http://schemas.openxmlformats.org/officeDocument/2006/relationships/themeOverride" Target="../theme/themeOverride3086.xml"/><Relationship Id="rId2" Type="http://schemas.openxmlformats.org/officeDocument/2006/relationships/package" Target="../embeddings/Microsoft_Excel_Worksheet3085.xlsx"/></Relationships>
</file>

<file path=ppt/charts/_rels/chart3102.xml.rels><?xml version='1.0' encoding='UTF-8' standalone='yes'?>
<Relationships xmlns="http://schemas.openxmlformats.org/package/2006/relationships"><Relationship Id="rId1" Type="http://schemas.openxmlformats.org/officeDocument/2006/relationships/themeOverride" Target="../theme/themeOverride3102.xml"/><Relationship Id="rId2" Type="http://schemas.openxmlformats.org/officeDocument/2006/relationships/package" Target="../embeddings/Microsoft_Excel_Worksheet3101.xlsx"/></Relationships>
</file>

<file path=ppt/charts/_rels/chart3103.xml.rels><?xml version='1.0' encoding='UTF-8' standalone='yes'?>
<Relationships xmlns="http://schemas.openxmlformats.org/package/2006/relationships"><Relationship Id="rId1" Type="http://schemas.openxmlformats.org/officeDocument/2006/relationships/themeOverride" Target="../theme/themeOverride3103.xml"/><Relationship Id="rId2" Type="http://schemas.openxmlformats.org/officeDocument/2006/relationships/package" Target="../embeddings/Microsoft_Excel_Worksheet3102.xlsx"/></Relationships>
</file>

<file path=ppt/charts/_rels/chart3104.xml.rels><?xml version='1.0' encoding='UTF-8' standalone='yes'?>
<Relationships xmlns="http://schemas.openxmlformats.org/package/2006/relationships"><Relationship Id="rId1" Type="http://schemas.openxmlformats.org/officeDocument/2006/relationships/themeOverride" Target="../theme/themeOverride3104.xml"/><Relationship Id="rId2" Type="http://schemas.openxmlformats.org/officeDocument/2006/relationships/package" Target="../embeddings/Microsoft_Excel_Worksheet3103.xlsx"/></Relationships>
</file>

<file path=ppt/charts/_rels/chart3105.xml.rels><?xml version='1.0' encoding='UTF-8' standalone='yes'?>
<Relationships xmlns="http://schemas.openxmlformats.org/package/2006/relationships"><Relationship Id="rId1" Type="http://schemas.openxmlformats.org/officeDocument/2006/relationships/themeOverride" Target="../theme/themeOverride3105.xml"/><Relationship Id="rId2" Type="http://schemas.openxmlformats.org/officeDocument/2006/relationships/package" Target="../embeddings/Microsoft_Excel_Worksheet3104.xlsx"/></Relationships>
</file>

<file path=ppt/charts/_rels/chart3106.xml.rels><?xml version='1.0' encoding='UTF-8' standalone='yes'?>
<Relationships xmlns="http://schemas.openxmlformats.org/package/2006/relationships"><Relationship Id="rId1" Type="http://schemas.openxmlformats.org/officeDocument/2006/relationships/themeOverride" Target="../theme/themeOverride3106.xml"/><Relationship Id="rId2" Type="http://schemas.openxmlformats.org/officeDocument/2006/relationships/package" Target="../embeddings/Microsoft_Excel_Worksheet3105.xlsx"/></Relationships>
</file>

<file path=ppt/charts/_rels/chart3107.xml.rels><?xml version='1.0' encoding='UTF-8' standalone='yes'?>
<Relationships xmlns="http://schemas.openxmlformats.org/package/2006/relationships"><Relationship Id="rId1" Type="http://schemas.openxmlformats.org/officeDocument/2006/relationships/themeOverride" Target="../theme/themeOverride3107.xml"/><Relationship Id="rId2" Type="http://schemas.openxmlformats.org/officeDocument/2006/relationships/package" Target="../embeddings/Microsoft_Excel_Worksheet3106.xlsx"/></Relationships>
</file>

<file path=ppt/charts/_rels/chart3129.xml.rels><?xml version='1.0' encoding='UTF-8' standalone='yes'?>
<Relationships xmlns="http://schemas.openxmlformats.org/package/2006/relationships"><Relationship Id="rId1" Type="http://schemas.openxmlformats.org/officeDocument/2006/relationships/themeOverride" Target="../theme/themeOverride3129.xml"/><Relationship Id="rId2" Type="http://schemas.openxmlformats.org/officeDocument/2006/relationships/package" Target="../embeddings/Microsoft_Excel_Worksheet3128.xlsx"/></Relationships>
</file>

<file path=ppt/charts/_rels/chart3130.xml.rels><?xml version='1.0' encoding='UTF-8' standalone='yes'?>
<Relationships xmlns="http://schemas.openxmlformats.org/package/2006/relationships"><Relationship Id="rId1" Type="http://schemas.openxmlformats.org/officeDocument/2006/relationships/themeOverride" Target="../theme/themeOverride3130.xml"/><Relationship Id="rId2" Type="http://schemas.openxmlformats.org/officeDocument/2006/relationships/package" Target="../embeddings/Microsoft_Excel_Worksheet3129.xlsx"/></Relationships>
</file>

<file path=ppt/charts/_rels/chart3131.xml.rels><?xml version='1.0' encoding='UTF-8' standalone='yes'?>
<Relationships xmlns="http://schemas.openxmlformats.org/package/2006/relationships"><Relationship Id="rId1" Type="http://schemas.openxmlformats.org/officeDocument/2006/relationships/themeOverride" Target="../theme/themeOverride3131.xml"/><Relationship Id="rId2" Type="http://schemas.openxmlformats.org/officeDocument/2006/relationships/package" Target="../embeddings/Microsoft_Excel_Worksheet3130.xlsx"/></Relationships>
</file>

<file path=ppt/charts/_rels/chart3135.xml.rels><?xml version='1.0' encoding='UTF-8' standalone='yes'?>
<Relationships xmlns="http://schemas.openxmlformats.org/package/2006/relationships"><Relationship Id="rId1" Type="http://schemas.openxmlformats.org/officeDocument/2006/relationships/themeOverride" Target="../theme/themeOverride3135.xml"/><Relationship Id="rId2" Type="http://schemas.openxmlformats.org/officeDocument/2006/relationships/package" Target="../embeddings/Microsoft_Excel_Worksheet3134.xlsx"/></Relationships>
</file>

<file path=ppt/charts/_rels/chart3136.xml.rels><?xml version='1.0' encoding='UTF-8' standalone='yes'?>
<Relationships xmlns="http://schemas.openxmlformats.org/package/2006/relationships"><Relationship Id="rId1" Type="http://schemas.openxmlformats.org/officeDocument/2006/relationships/themeOverride" Target="../theme/themeOverride3136.xml"/><Relationship Id="rId2" Type="http://schemas.openxmlformats.org/officeDocument/2006/relationships/package" Target="../embeddings/Microsoft_Excel_Worksheet3135.xlsx"/></Relationships>
</file>

<file path=ppt/charts/_rels/chart3137.xml.rels><?xml version='1.0' encoding='UTF-8' standalone='yes'?>
<Relationships xmlns="http://schemas.openxmlformats.org/package/2006/relationships"><Relationship Id="rId1" Type="http://schemas.openxmlformats.org/officeDocument/2006/relationships/themeOverride" Target="../theme/themeOverride3137.xml"/><Relationship Id="rId2" Type="http://schemas.openxmlformats.org/officeDocument/2006/relationships/package" Target="../embeddings/Microsoft_Excel_Worksheet3136.xlsx"/></Relationships>
</file>

<file path=ppt/charts/_rels/chart3150.xml.rels><?xml version='1.0' encoding='UTF-8' standalone='yes'?>
<Relationships xmlns="http://schemas.openxmlformats.org/package/2006/relationships"><Relationship Id="rId1" Type="http://schemas.openxmlformats.org/officeDocument/2006/relationships/themeOverride" Target="../theme/themeOverride3150.xml"/><Relationship Id="rId2" Type="http://schemas.openxmlformats.org/officeDocument/2006/relationships/package" Target="../embeddings/Microsoft_Excel_Worksheet3149.xlsx"/></Relationships>
</file>

<file path=ppt/charts/_rels/chart3151.xml.rels><?xml version='1.0' encoding='UTF-8' standalone='yes'?>
<Relationships xmlns="http://schemas.openxmlformats.org/package/2006/relationships"><Relationship Id="rId1" Type="http://schemas.openxmlformats.org/officeDocument/2006/relationships/themeOverride" Target="../theme/themeOverride3151.xml"/><Relationship Id="rId2" Type="http://schemas.openxmlformats.org/officeDocument/2006/relationships/package" Target="../embeddings/Microsoft_Excel_Worksheet3150.xlsx"/></Relationships>
</file>

<file path=ppt/charts/_rels/chart3152.xml.rels><?xml version='1.0' encoding='UTF-8' standalone='yes'?>
<Relationships xmlns="http://schemas.openxmlformats.org/package/2006/relationships"><Relationship Id="rId1" Type="http://schemas.openxmlformats.org/officeDocument/2006/relationships/themeOverride" Target="../theme/themeOverride3152.xml"/><Relationship Id="rId2" Type="http://schemas.openxmlformats.org/officeDocument/2006/relationships/package" Target="../embeddings/Microsoft_Excel_Worksheet3151.xlsx"/></Relationships>
</file>

<file path=ppt/charts/_rels/chart3168.xml.rels><?xml version='1.0' encoding='UTF-8' standalone='yes'?>
<Relationships xmlns="http://schemas.openxmlformats.org/package/2006/relationships"><Relationship Id="rId1" Type="http://schemas.openxmlformats.org/officeDocument/2006/relationships/themeOverride" Target="../theme/themeOverride3168.xml"/><Relationship Id="rId2" Type="http://schemas.openxmlformats.org/officeDocument/2006/relationships/package" Target="../embeddings/Microsoft_Excel_Worksheet3167.xlsx"/></Relationships>
</file>

<file path=ppt/charts/_rels/chart3169.xml.rels><?xml version='1.0' encoding='UTF-8' standalone='yes'?>
<Relationships xmlns="http://schemas.openxmlformats.org/package/2006/relationships"><Relationship Id="rId1" Type="http://schemas.openxmlformats.org/officeDocument/2006/relationships/themeOverride" Target="../theme/themeOverride3169.xml"/><Relationship Id="rId2" Type="http://schemas.openxmlformats.org/officeDocument/2006/relationships/package" Target="../embeddings/Microsoft_Excel_Worksheet3168.xlsx"/></Relationships>
</file>

<file path=ppt/charts/_rels/chart3170.xml.rels><?xml version='1.0' encoding='UTF-8' standalone='yes'?>
<Relationships xmlns="http://schemas.openxmlformats.org/package/2006/relationships"><Relationship Id="rId1" Type="http://schemas.openxmlformats.org/officeDocument/2006/relationships/themeOverride" Target="../theme/themeOverride3170.xml"/><Relationship Id="rId2" Type="http://schemas.openxmlformats.org/officeDocument/2006/relationships/package" Target="../embeddings/Microsoft_Excel_Worksheet3169.xlsx"/></Relationships>
</file>

<file path=ppt/charts/_rels/chart3171.xml.rels><?xml version='1.0' encoding='UTF-8' standalone='yes'?>
<Relationships xmlns="http://schemas.openxmlformats.org/package/2006/relationships"><Relationship Id="rId1" Type="http://schemas.openxmlformats.org/officeDocument/2006/relationships/themeOverride" Target="../theme/themeOverride3171.xml"/><Relationship Id="rId2" Type="http://schemas.openxmlformats.org/officeDocument/2006/relationships/package" Target="../embeddings/Microsoft_Excel_Worksheet3170.xlsx"/></Relationships>
</file>

<file path=ppt/charts/_rels/chart3172.xml.rels><?xml version='1.0' encoding='UTF-8' standalone='yes'?>
<Relationships xmlns="http://schemas.openxmlformats.org/package/2006/relationships"><Relationship Id="rId1" Type="http://schemas.openxmlformats.org/officeDocument/2006/relationships/themeOverride" Target="../theme/themeOverride3172.xml"/><Relationship Id="rId2" Type="http://schemas.openxmlformats.org/officeDocument/2006/relationships/package" Target="../embeddings/Microsoft_Excel_Worksheet3171.xlsx"/></Relationships>
</file>

<file path=ppt/charts/_rels/chart3173.xml.rels><?xml version='1.0' encoding='UTF-8' standalone='yes'?>
<Relationships xmlns="http://schemas.openxmlformats.org/package/2006/relationships"><Relationship Id="rId1" Type="http://schemas.openxmlformats.org/officeDocument/2006/relationships/themeOverride" Target="../theme/themeOverride3173.xml"/><Relationship Id="rId2" Type="http://schemas.openxmlformats.org/officeDocument/2006/relationships/package" Target="../embeddings/Microsoft_Excel_Worksheet3172.xlsx"/></Relationships>
</file>

<file path=ppt/charts/_rels/chart3197.xml.rels><?xml version='1.0' encoding='UTF-8' standalone='yes'?>
<Relationships xmlns="http://schemas.openxmlformats.org/package/2006/relationships"><Relationship Id="rId1" Type="http://schemas.openxmlformats.org/officeDocument/2006/relationships/themeOverride" Target="../theme/themeOverride3197.xml"/><Relationship Id="rId2" Type="http://schemas.openxmlformats.org/officeDocument/2006/relationships/package" Target="../embeddings/Microsoft_Excel_Worksheet3196.xlsx"/></Relationships>
</file>

<file path=ppt/charts/_rels/chart3198.xml.rels><?xml version='1.0' encoding='UTF-8' standalone='yes'?>
<Relationships xmlns="http://schemas.openxmlformats.org/package/2006/relationships"><Relationship Id="rId1" Type="http://schemas.openxmlformats.org/officeDocument/2006/relationships/themeOverride" Target="../theme/themeOverride3198.xml"/><Relationship Id="rId2" Type="http://schemas.openxmlformats.org/officeDocument/2006/relationships/package" Target="../embeddings/Microsoft_Excel_Worksheet3197.xlsx"/></Relationships>
</file>

<file path=ppt/charts/_rels/chart3199.xml.rels><?xml version='1.0' encoding='UTF-8' standalone='yes'?>
<Relationships xmlns="http://schemas.openxmlformats.org/package/2006/relationships"><Relationship Id="rId1" Type="http://schemas.openxmlformats.org/officeDocument/2006/relationships/themeOverride" Target="../theme/themeOverride3199.xml"/><Relationship Id="rId2" Type="http://schemas.openxmlformats.org/officeDocument/2006/relationships/package" Target="../embeddings/Microsoft_Excel_Worksheet3198.xlsx"/></Relationships>
</file>

<file path=ppt/charts/_rels/chart3208.xml.rels><?xml version='1.0' encoding='UTF-8' standalone='yes'?>
<Relationships xmlns="http://schemas.openxmlformats.org/package/2006/relationships"><Relationship Id="rId1" Type="http://schemas.openxmlformats.org/officeDocument/2006/relationships/themeOverride" Target="../theme/themeOverride3208.xml"/><Relationship Id="rId2" Type="http://schemas.openxmlformats.org/officeDocument/2006/relationships/package" Target="../embeddings/Microsoft_Excel_Worksheet3207.xlsx"/></Relationships>
</file>

<file path=ppt/charts/_rels/chart3209.xml.rels><?xml version='1.0' encoding='UTF-8' standalone='yes'?>
<Relationships xmlns="http://schemas.openxmlformats.org/package/2006/relationships"><Relationship Id="rId1" Type="http://schemas.openxmlformats.org/officeDocument/2006/relationships/themeOverride" Target="../theme/themeOverride3209.xml"/><Relationship Id="rId2" Type="http://schemas.openxmlformats.org/officeDocument/2006/relationships/package" Target="../embeddings/Microsoft_Excel_Worksheet3208.xlsx"/></Relationships>
</file>

<file path=ppt/charts/_rels/chart3210.xml.rels><?xml version='1.0' encoding='UTF-8' standalone='yes'?>
<Relationships xmlns="http://schemas.openxmlformats.org/package/2006/relationships"><Relationship Id="rId1" Type="http://schemas.openxmlformats.org/officeDocument/2006/relationships/themeOverride" Target="../theme/themeOverride3210.xml"/><Relationship Id="rId2" Type="http://schemas.openxmlformats.org/officeDocument/2006/relationships/package" Target="../embeddings/Microsoft_Excel_Worksheet3209.xlsx"/></Relationships>
</file>

<file path=ppt/charts/_rels/chart3237.xml.rels><?xml version='1.0' encoding='UTF-8' standalone='yes'?>
<Relationships xmlns="http://schemas.openxmlformats.org/package/2006/relationships"><Relationship Id="rId1" Type="http://schemas.openxmlformats.org/officeDocument/2006/relationships/themeOverride" Target="../theme/themeOverride3237.xml"/><Relationship Id="rId2" Type="http://schemas.openxmlformats.org/officeDocument/2006/relationships/package" Target="../embeddings/Microsoft_Excel_Worksheet3236.xlsx"/></Relationships>
</file>

<file path=ppt/charts/_rels/chart3238.xml.rels><?xml version='1.0' encoding='UTF-8' standalone='yes'?>
<Relationships xmlns="http://schemas.openxmlformats.org/package/2006/relationships"><Relationship Id="rId1" Type="http://schemas.openxmlformats.org/officeDocument/2006/relationships/themeOverride" Target="../theme/themeOverride3238.xml"/><Relationship Id="rId2" Type="http://schemas.openxmlformats.org/officeDocument/2006/relationships/package" Target="../embeddings/Microsoft_Excel_Worksheet3237.xlsx"/></Relationships>
</file>

<file path=ppt/charts/_rels/chart3239.xml.rels><?xml version='1.0' encoding='UTF-8' standalone='yes'?>
<Relationships xmlns="http://schemas.openxmlformats.org/package/2006/relationships"><Relationship Id="rId1" Type="http://schemas.openxmlformats.org/officeDocument/2006/relationships/themeOverride" Target="../theme/themeOverride3239.xml"/><Relationship Id="rId2" Type="http://schemas.openxmlformats.org/officeDocument/2006/relationships/package" Target="../embeddings/Microsoft_Excel_Worksheet3238.xlsx"/></Relationships>
</file>

<file path=ppt/charts/_rels/chart3240.xml.rels><?xml version='1.0' encoding='UTF-8' standalone='yes'?>
<Relationships xmlns="http://schemas.openxmlformats.org/package/2006/relationships"><Relationship Id="rId1" Type="http://schemas.openxmlformats.org/officeDocument/2006/relationships/themeOverride" Target="../theme/themeOverride3240.xml"/><Relationship Id="rId2" Type="http://schemas.openxmlformats.org/officeDocument/2006/relationships/package" Target="../embeddings/Microsoft_Excel_Worksheet3239.xlsx"/></Relationships>
</file>

<file path=ppt/charts/_rels/chart3241.xml.rels><?xml version='1.0' encoding='UTF-8' standalone='yes'?>
<Relationships xmlns="http://schemas.openxmlformats.org/package/2006/relationships"><Relationship Id="rId1" Type="http://schemas.openxmlformats.org/officeDocument/2006/relationships/themeOverride" Target="../theme/themeOverride3241.xml"/><Relationship Id="rId2" Type="http://schemas.openxmlformats.org/officeDocument/2006/relationships/package" Target="../embeddings/Microsoft_Excel_Worksheet3240.xlsx"/></Relationships>
</file>

<file path=ppt/charts/_rels/chart3242.xml.rels><?xml version='1.0' encoding='UTF-8' standalone='yes'?>
<Relationships xmlns="http://schemas.openxmlformats.org/package/2006/relationships"><Relationship Id="rId1" Type="http://schemas.openxmlformats.org/officeDocument/2006/relationships/themeOverride" Target="../theme/themeOverride3242.xml"/><Relationship Id="rId2" Type="http://schemas.openxmlformats.org/officeDocument/2006/relationships/package" Target="../embeddings/Microsoft_Excel_Worksheet3241.xlsx"/></Relationships>
</file>

<file path=ppt/charts/_rels/chart3257.xml.rels><?xml version='1.0' encoding='UTF-8' standalone='yes'?>
<Relationships xmlns="http://schemas.openxmlformats.org/package/2006/relationships"><Relationship Id="rId1" Type="http://schemas.openxmlformats.org/officeDocument/2006/relationships/themeOverride" Target="../theme/themeOverride3257.xml"/><Relationship Id="rId2" Type="http://schemas.openxmlformats.org/officeDocument/2006/relationships/package" Target="../embeddings/Microsoft_Excel_Worksheet3256.xlsx"/></Relationships>
</file>

<file path=ppt/charts/_rels/chart3258.xml.rels><?xml version='1.0' encoding='UTF-8' standalone='yes'?>
<Relationships xmlns="http://schemas.openxmlformats.org/package/2006/relationships"><Relationship Id="rId1" Type="http://schemas.openxmlformats.org/officeDocument/2006/relationships/themeOverride" Target="../theme/themeOverride3258.xml"/><Relationship Id="rId2" Type="http://schemas.openxmlformats.org/officeDocument/2006/relationships/package" Target="../embeddings/Microsoft_Excel_Worksheet3257.xlsx"/></Relationships>
</file>

<file path=ppt/charts/_rels/chart3268.xml.rels><?xml version='1.0' encoding='UTF-8' standalone='yes'?>
<Relationships xmlns="http://schemas.openxmlformats.org/package/2006/relationships"><Relationship Id="rId1" Type="http://schemas.openxmlformats.org/officeDocument/2006/relationships/themeOverride" Target="../theme/themeOverride3268.xml"/><Relationship Id="rId2" Type="http://schemas.openxmlformats.org/officeDocument/2006/relationships/package" Target="../embeddings/Microsoft_Excel_Worksheet3267.xlsx"/></Relationships>
</file>

<file path=ppt/charts/_rels/chart3269.xml.rels><?xml version='1.0' encoding='UTF-8' standalone='yes'?>
<Relationships xmlns="http://schemas.openxmlformats.org/package/2006/relationships"><Relationship Id="rId1" Type="http://schemas.openxmlformats.org/officeDocument/2006/relationships/themeOverride" Target="../theme/themeOverride3269.xml"/><Relationship Id="rId2" Type="http://schemas.openxmlformats.org/officeDocument/2006/relationships/package" Target="../embeddings/Microsoft_Excel_Worksheet3268.xlsx"/></Relationships>
</file>

<file path=ppt/charts/_rels/chart3276.xml.rels><?xml version='1.0' encoding='UTF-8' standalone='yes'?>
<Relationships xmlns="http://schemas.openxmlformats.org/package/2006/relationships"><Relationship Id="rId1" Type="http://schemas.openxmlformats.org/officeDocument/2006/relationships/themeOverride" Target="../theme/themeOverride3276.xml"/><Relationship Id="rId2" Type="http://schemas.openxmlformats.org/officeDocument/2006/relationships/package" Target="../embeddings/Microsoft_Excel_Worksheet3275.xlsx"/></Relationships>
</file>

<file path=ppt/charts/_rels/chart3277.xml.rels><?xml version='1.0' encoding='UTF-8' standalone='yes'?>
<Relationships xmlns="http://schemas.openxmlformats.org/package/2006/relationships"><Relationship Id="rId1" Type="http://schemas.openxmlformats.org/officeDocument/2006/relationships/themeOverride" Target="../theme/themeOverride3277.xml"/><Relationship Id="rId2" Type="http://schemas.openxmlformats.org/officeDocument/2006/relationships/package" Target="../embeddings/Microsoft_Excel_Worksheet3276.xlsx"/></Relationships>
</file>

<file path=ppt/charts/_rels/chart3278.xml.rels><?xml version='1.0' encoding='UTF-8' standalone='yes'?>
<Relationships xmlns="http://schemas.openxmlformats.org/package/2006/relationships"><Relationship Id="rId1" Type="http://schemas.openxmlformats.org/officeDocument/2006/relationships/themeOverride" Target="../theme/themeOverride3278.xml"/><Relationship Id="rId2" Type="http://schemas.openxmlformats.org/officeDocument/2006/relationships/package" Target="../embeddings/Microsoft_Excel_Worksheet3277.xlsx"/></Relationships>
</file>

<file path=ppt/charts/_rels/chart3298.xml.rels><?xml version='1.0' encoding='UTF-8' standalone='yes'?>
<Relationships xmlns="http://schemas.openxmlformats.org/package/2006/relationships"><Relationship Id="rId1" Type="http://schemas.openxmlformats.org/officeDocument/2006/relationships/themeOverride" Target="../theme/themeOverride3298.xml"/><Relationship Id="rId2" Type="http://schemas.openxmlformats.org/officeDocument/2006/relationships/package" Target="../embeddings/Microsoft_Excel_Worksheet3297.xlsx"/></Relationships>
</file>

<file path=ppt/charts/_rels/chart3299.xml.rels><?xml version='1.0' encoding='UTF-8' standalone='yes'?>
<Relationships xmlns="http://schemas.openxmlformats.org/package/2006/relationships"><Relationship Id="rId1" Type="http://schemas.openxmlformats.org/officeDocument/2006/relationships/themeOverride" Target="../theme/themeOverride3299.xml"/><Relationship Id="rId2" Type="http://schemas.openxmlformats.org/officeDocument/2006/relationships/package" Target="../embeddings/Microsoft_Excel_Worksheet3298.xlsx"/></Relationships>
</file>

<file path=ppt/charts/_rels/chart3300.xml.rels><?xml version='1.0' encoding='UTF-8' standalone='yes'?>
<Relationships xmlns="http://schemas.openxmlformats.org/package/2006/relationships"><Relationship Id="rId1" Type="http://schemas.openxmlformats.org/officeDocument/2006/relationships/themeOverride" Target="../theme/themeOverride3300.xml"/><Relationship Id="rId2" Type="http://schemas.openxmlformats.org/officeDocument/2006/relationships/package" Target="../embeddings/Microsoft_Excel_Worksheet3299.xlsx"/></Relationships>
</file>

<file path=ppt/charts/_rels/chart331.xml.rels><?xml version='1.0' encoding='UTF-8' standalone='yes'?>
<Relationships xmlns="http://schemas.openxmlformats.org/package/2006/relationships"><Relationship Id="rId1" Type="http://schemas.openxmlformats.org/officeDocument/2006/relationships/themeOverride" Target="../theme/themeOverride331.xml"/><Relationship Id="rId2" Type="http://schemas.openxmlformats.org/officeDocument/2006/relationships/package" Target="../embeddings/Microsoft_Excel_Worksheet330.xlsx"/></Relationships>
</file>

<file path=ppt/charts/_rels/chart3317.xml.rels><?xml version='1.0' encoding='UTF-8' standalone='yes'?>
<Relationships xmlns="http://schemas.openxmlformats.org/package/2006/relationships"><Relationship Id="rId1" Type="http://schemas.openxmlformats.org/officeDocument/2006/relationships/themeOverride" Target="../theme/themeOverride3317.xml"/><Relationship Id="rId2" Type="http://schemas.openxmlformats.org/officeDocument/2006/relationships/package" Target="../embeddings/Microsoft_Excel_Worksheet3316.xlsx"/></Relationships>
</file>

<file path=ppt/charts/_rels/chart3318.xml.rels><?xml version='1.0' encoding='UTF-8' standalone='yes'?>
<Relationships xmlns="http://schemas.openxmlformats.org/package/2006/relationships"><Relationship Id="rId1" Type="http://schemas.openxmlformats.org/officeDocument/2006/relationships/themeOverride" Target="../theme/themeOverride3318.xml"/><Relationship Id="rId2" Type="http://schemas.openxmlformats.org/officeDocument/2006/relationships/package" Target="../embeddings/Microsoft_Excel_Worksheet3317.xlsx"/></Relationships>
</file>

<file path=ppt/charts/_rels/chart3319.xml.rels><?xml version='1.0' encoding='UTF-8' standalone='yes'?>
<Relationships xmlns="http://schemas.openxmlformats.org/package/2006/relationships"><Relationship Id="rId1" Type="http://schemas.openxmlformats.org/officeDocument/2006/relationships/themeOverride" Target="../theme/themeOverride3319.xml"/><Relationship Id="rId2" Type="http://schemas.openxmlformats.org/officeDocument/2006/relationships/package" Target="../embeddings/Microsoft_Excel_Worksheet3318.xlsx"/></Relationships>
</file>

<file path=ppt/charts/_rels/chart332.xml.rels><?xml version='1.0' encoding='UTF-8' standalone='yes'?>
<Relationships xmlns="http://schemas.openxmlformats.org/package/2006/relationships"><Relationship Id="rId1" Type="http://schemas.openxmlformats.org/officeDocument/2006/relationships/themeOverride" Target="../theme/themeOverride332.xml"/><Relationship Id="rId2" Type="http://schemas.openxmlformats.org/officeDocument/2006/relationships/package" Target="../embeddings/Microsoft_Excel_Worksheet331.xlsx"/></Relationships>
</file>

<file path=ppt/charts/_rels/chart3320.xml.rels><?xml version='1.0' encoding='UTF-8' standalone='yes'?>
<Relationships xmlns="http://schemas.openxmlformats.org/package/2006/relationships"><Relationship Id="rId1" Type="http://schemas.openxmlformats.org/officeDocument/2006/relationships/themeOverride" Target="../theme/themeOverride3320.xml"/><Relationship Id="rId2" Type="http://schemas.openxmlformats.org/officeDocument/2006/relationships/package" Target="../embeddings/Microsoft_Excel_Worksheet3319.xlsx"/></Relationships>
</file>

<file path=ppt/charts/_rels/chart3321.xml.rels><?xml version='1.0' encoding='UTF-8' standalone='yes'?>
<Relationships xmlns="http://schemas.openxmlformats.org/package/2006/relationships"><Relationship Id="rId1" Type="http://schemas.openxmlformats.org/officeDocument/2006/relationships/themeOverride" Target="../theme/themeOverride3321.xml"/><Relationship Id="rId2" Type="http://schemas.openxmlformats.org/officeDocument/2006/relationships/package" Target="../embeddings/Microsoft_Excel_Worksheet3320.xlsx"/></Relationships>
</file>

<file path=ppt/charts/_rels/chart3322.xml.rels><?xml version='1.0' encoding='UTF-8' standalone='yes'?>
<Relationships xmlns="http://schemas.openxmlformats.org/package/2006/relationships"><Relationship Id="rId1" Type="http://schemas.openxmlformats.org/officeDocument/2006/relationships/themeOverride" Target="../theme/themeOverride3322.xml"/><Relationship Id="rId2" Type="http://schemas.openxmlformats.org/officeDocument/2006/relationships/package" Target="../embeddings/Microsoft_Excel_Worksheet3321.xlsx"/></Relationships>
</file>

<file path=ppt/charts/_rels/chart333.xml.rels><?xml version='1.0' encoding='UTF-8' standalone='yes'?>
<Relationships xmlns="http://schemas.openxmlformats.org/package/2006/relationships"><Relationship Id="rId1" Type="http://schemas.openxmlformats.org/officeDocument/2006/relationships/themeOverride" Target="../theme/themeOverride333.xml"/><Relationship Id="rId2" Type="http://schemas.openxmlformats.org/officeDocument/2006/relationships/package" Target="../embeddings/Microsoft_Excel_Worksheet332.xlsx"/></Relationships>
</file>

<file path=ppt/charts/_rels/chart3336.xml.rels><?xml version='1.0' encoding='UTF-8' standalone='yes'?>
<Relationships xmlns="http://schemas.openxmlformats.org/package/2006/relationships"><Relationship Id="rId1" Type="http://schemas.openxmlformats.org/officeDocument/2006/relationships/themeOverride" Target="../theme/themeOverride3336.xml"/><Relationship Id="rId2" Type="http://schemas.openxmlformats.org/officeDocument/2006/relationships/package" Target="../embeddings/Microsoft_Excel_Worksheet3335.xlsx"/></Relationships>
</file>

<file path=ppt/charts/_rels/chart3337.xml.rels><?xml version='1.0' encoding='UTF-8' standalone='yes'?>
<Relationships xmlns="http://schemas.openxmlformats.org/package/2006/relationships"><Relationship Id="rId1" Type="http://schemas.openxmlformats.org/officeDocument/2006/relationships/themeOverride" Target="../theme/themeOverride3337.xml"/><Relationship Id="rId2" Type="http://schemas.openxmlformats.org/officeDocument/2006/relationships/package" Target="../embeddings/Microsoft_Excel_Worksheet3336.xlsx"/></Relationships>
</file>

<file path=ppt/charts/_rels/chart3338.xml.rels><?xml version='1.0' encoding='UTF-8' standalone='yes'?>
<Relationships xmlns="http://schemas.openxmlformats.org/package/2006/relationships"><Relationship Id="rId1" Type="http://schemas.openxmlformats.org/officeDocument/2006/relationships/themeOverride" Target="../theme/themeOverride3338.xml"/><Relationship Id="rId2" Type="http://schemas.openxmlformats.org/officeDocument/2006/relationships/package" Target="../embeddings/Microsoft_Excel_Worksheet3337.xlsx"/></Relationships>
</file>

<file path=ppt/charts/_rels/chart334.xml.rels><?xml version='1.0' encoding='UTF-8' standalone='yes'?>
<Relationships xmlns="http://schemas.openxmlformats.org/package/2006/relationships"><Relationship Id="rId1" Type="http://schemas.openxmlformats.org/officeDocument/2006/relationships/themeOverride" Target="../theme/themeOverride334.xml"/><Relationship Id="rId2" Type="http://schemas.openxmlformats.org/officeDocument/2006/relationships/package" Target="../embeddings/Microsoft_Excel_Worksheet333.xlsx"/></Relationships>
</file>

<file path=ppt/charts/_rels/chart3347.xml.rels><?xml version='1.0' encoding='UTF-8' standalone='yes'?>
<Relationships xmlns="http://schemas.openxmlformats.org/package/2006/relationships"><Relationship Id="rId1" Type="http://schemas.openxmlformats.org/officeDocument/2006/relationships/themeOverride" Target="../theme/themeOverride3347.xml"/><Relationship Id="rId2" Type="http://schemas.openxmlformats.org/officeDocument/2006/relationships/package" Target="../embeddings/Microsoft_Excel_Worksheet3346.xlsx"/></Relationships>
</file>

<file path=ppt/charts/_rels/chart3348.xml.rels><?xml version='1.0' encoding='UTF-8' standalone='yes'?>
<Relationships xmlns="http://schemas.openxmlformats.org/package/2006/relationships"><Relationship Id="rId1" Type="http://schemas.openxmlformats.org/officeDocument/2006/relationships/themeOverride" Target="../theme/themeOverride3348.xml"/><Relationship Id="rId2" Type="http://schemas.openxmlformats.org/officeDocument/2006/relationships/package" Target="../embeddings/Microsoft_Excel_Worksheet3347.xlsx"/></Relationships>
</file>

<file path=ppt/charts/_rels/chart3349.xml.rels><?xml version='1.0' encoding='UTF-8' standalone='yes'?>
<Relationships xmlns="http://schemas.openxmlformats.org/package/2006/relationships"><Relationship Id="rId1" Type="http://schemas.openxmlformats.org/officeDocument/2006/relationships/themeOverride" Target="../theme/themeOverride3349.xml"/><Relationship Id="rId2" Type="http://schemas.openxmlformats.org/officeDocument/2006/relationships/package" Target="../embeddings/Microsoft_Excel_Worksheet3348.xlsx"/></Relationships>
</file>

<file path=ppt/charts/_rels/chart335.xml.rels><?xml version='1.0' encoding='UTF-8' standalone='yes'?>
<Relationships xmlns="http://schemas.openxmlformats.org/package/2006/relationships"><Relationship Id="rId1" Type="http://schemas.openxmlformats.org/officeDocument/2006/relationships/themeOverride" Target="../theme/themeOverride335.xml"/><Relationship Id="rId2" Type="http://schemas.openxmlformats.org/officeDocument/2006/relationships/package" Target="../embeddings/Microsoft_Excel_Worksheet334.xlsx"/></Relationships>
</file>

<file path=ppt/charts/_rels/chart3356.xml.rels><?xml version='1.0' encoding='UTF-8' standalone='yes'?>
<Relationships xmlns="http://schemas.openxmlformats.org/package/2006/relationships"><Relationship Id="rId1" Type="http://schemas.openxmlformats.org/officeDocument/2006/relationships/themeOverride" Target="../theme/themeOverride3356.xml"/><Relationship Id="rId2" Type="http://schemas.openxmlformats.org/officeDocument/2006/relationships/package" Target="../embeddings/Microsoft_Excel_Worksheet3355.xlsx"/></Relationships>
</file>

<file path=ppt/charts/_rels/chart3357.xml.rels><?xml version='1.0' encoding='UTF-8' standalone='yes'?>
<Relationships xmlns="http://schemas.openxmlformats.org/package/2006/relationships"><Relationship Id="rId1" Type="http://schemas.openxmlformats.org/officeDocument/2006/relationships/themeOverride" Target="../theme/themeOverride3357.xml"/><Relationship Id="rId2" Type="http://schemas.openxmlformats.org/officeDocument/2006/relationships/package" Target="../embeddings/Microsoft_Excel_Worksheet3356.xlsx"/></Relationships>
</file>

<file path=ppt/charts/_rels/chart3378.xml.rels><?xml version='1.0' encoding='UTF-8' standalone='yes'?>
<Relationships xmlns="http://schemas.openxmlformats.org/package/2006/relationships"><Relationship Id="rId1" Type="http://schemas.openxmlformats.org/officeDocument/2006/relationships/themeOverride" Target="../theme/themeOverride3378.xml"/><Relationship Id="rId2" Type="http://schemas.openxmlformats.org/officeDocument/2006/relationships/package" Target="../embeddings/Microsoft_Excel_Worksheet3377.xlsx"/></Relationships>
</file>

<file path=ppt/charts/_rels/chart3379.xml.rels><?xml version='1.0' encoding='UTF-8' standalone='yes'?>
<Relationships xmlns="http://schemas.openxmlformats.org/package/2006/relationships"><Relationship Id="rId1" Type="http://schemas.openxmlformats.org/officeDocument/2006/relationships/themeOverride" Target="../theme/themeOverride3379.xml"/><Relationship Id="rId2" Type="http://schemas.openxmlformats.org/officeDocument/2006/relationships/package" Target="../embeddings/Microsoft_Excel_Worksheet3378.xlsx"/></Relationships>
</file>

<file path=ppt/charts/_rels/chart3380.xml.rels><?xml version='1.0' encoding='UTF-8' standalone='yes'?>
<Relationships xmlns="http://schemas.openxmlformats.org/package/2006/relationships"><Relationship Id="rId1" Type="http://schemas.openxmlformats.org/officeDocument/2006/relationships/themeOverride" Target="../theme/themeOverride3380.xml"/><Relationship Id="rId2" Type="http://schemas.openxmlformats.org/officeDocument/2006/relationships/package" Target="../embeddings/Microsoft_Excel_Worksheet3379.xlsx"/></Relationships>
</file>

<file path=ppt/charts/_rels/chart3381.xml.rels><?xml version='1.0' encoding='UTF-8' standalone='yes'?>
<Relationships xmlns="http://schemas.openxmlformats.org/package/2006/relationships"><Relationship Id="rId1" Type="http://schemas.openxmlformats.org/officeDocument/2006/relationships/themeOverride" Target="../theme/themeOverride3381.xml"/><Relationship Id="rId2" Type="http://schemas.openxmlformats.org/officeDocument/2006/relationships/package" Target="../embeddings/Microsoft_Excel_Worksheet3380.xlsx"/></Relationships>
</file>

<file path=ppt/charts/_rels/chart3382.xml.rels><?xml version='1.0' encoding='UTF-8' standalone='yes'?>
<Relationships xmlns="http://schemas.openxmlformats.org/package/2006/relationships"><Relationship Id="rId1" Type="http://schemas.openxmlformats.org/officeDocument/2006/relationships/themeOverride" Target="../theme/themeOverride3382.xml"/><Relationship Id="rId2" Type="http://schemas.openxmlformats.org/officeDocument/2006/relationships/package" Target="../embeddings/Microsoft_Excel_Worksheet3381.xlsx"/></Relationships>
</file>

<file path=ppt/charts/_rels/chart3383.xml.rels><?xml version='1.0' encoding='UTF-8' standalone='yes'?>
<Relationships xmlns="http://schemas.openxmlformats.org/package/2006/relationships"><Relationship Id="rId1" Type="http://schemas.openxmlformats.org/officeDocument/2006/relationships/themeOverride" Target="../theme/themeOverride3383.xml"/><Relationship Id="rId2" Type="http://schemas.openxmlformats.org/officeDocument/2006/relationships/package" Target="../embeddings/Microsoft_Excel_Worksheet3382.xlsx"/></Relationships>
</file>

<file path=ppt/charts/_rels/chart3384.xml.rels><?xml version='1.0' encoding='UTF-8' standalone='yes'?>
<Relationships xmlns="http://schemas.openxmlformats.org/package/2006/relationships"><Relationship Id="rId1" Type="http://schemas.openxmlformats.org/officeDocument/2006/relationships/themeOverride" Target="../theme/themeOverride3384.xml"/><Relationship Id="rId2" Type="http://schemas.openxmlformats.org/officeDocument/2006/relationships/package" Target="../embeddings/Microsoft_Excel_Worksheet3383.xlsx"/></Relationships>
</file>

<file path=ppt/charts/_rels/chart3385.xml.rels><?xml version='1.0' encoding='UTF-8' standalone='yes'?>
<Relationships xmlns="http://schemas.openxmlformats.org/package/2006/relationships"><Relationship Id="rId1" Type="http://schemas.openxmlformats.org/officeDocument/2006/relationships/themeOverride" Target="../theme/themeOverride3385.xml"/><Relationship Id="rId2" Type="http://schemas.openxmlformats.org/officeDocument/2006/relationships/package" Target="../embeddings/Microsoft_Excel_Worksheet3384.xlsx"/></Relationships>
</file>

<file path=ppt/charts/_rels/chart3397.xml.rels><?xml version='1.0' encoding='UTF-8' standalone='yes'?>
<Relationships xmlns="http://schemas.openxmlformats.org/package/2006/relationships"><Relationship Id="rId1" Type="http://schemas.openxmlformats.org/officeDocument/2006/relationships/themeOverride" Target="../theme/themeOverride3397.xml"/><Relationship Id="rId2" Type="http://schemas.openxmlformats.org/officeDocument/2006/relationships/package" Target="../embeddings/Microsoft_Excel_Worksheet3396.xlsx"/></Relationships>
</file>

<file path=ppt/charts/_rels/chart3398.xml.rels><?xml version='1.0' encoding='UTF-8' standalone='yes'?>
<Relationships xmlns="http://schemas.openxmlformats.org/package/2006/relationships"><Relationship Id="rId1" Type="http://schemas.openxmlformats.org/officeDocument/2006/relationships/themeOverride" Target="../theme/themeOverride3398.xml"/><Relationship Id="rId2" Type="http://schemas.openxmlformats.org/officeDocument/2006/relationships/package" Target="../embeddings/Microsoft_Excel_Worksheet3397.xlsx"/></Relationships>
</file>

<file path=ppt/charts/_rels/chart3399.xml.rels><?xml version='1.0' encoding='UTF-8' standalone='yes'?>
<Relationships xmlns="http://schemas.openxmlformats.org/package/2006/relationships"><Relationship Id="rId1" Type="http://schemas.openxmlformats.org/officeDocument/2006/relationships/themeOverride" Target="../theme/themeOverride3399.xml"/><Relationship Id="rId2" Type="http://schemas.openxmlformats.org/officeDocument/2006/relationships/package" Target="../embeddings/Microsoft_Excel_Worksheet3398.xlsx"/></Relationships>
</file>

<file path=ppt/charts/_rels/chart3408.xml.rels><?xml version='1.0' encoding='UTF-8' standalone='yes'?>
<Relationships xmlns="http://schemas.openxmlformats.org/package/2006/relationships"><Relationship Id="rId1" Type="http://schemas.openxmlformats.org/officeDocument/2006/relationships/themeOverride" Target="../theme/themeOverride3408.xml"/><Relationship Id="rId2" Type="http://schemas.openxmlformats.org/officeDocument/2006/relationships/package" Target="../embeddings/Microsoft_Excel_Worksheet3407.xlsx"/></Relationships>
</file>

<file path=ppt/charts/_rels/chart3409.xml.rels><?xml version='1.0' encoding='UTF-8' standalone='yes'?>
<Relationships xmlns="http://schemas.openxmlformats.org/package/2006/relationships"><Relationship Id="rId1" Type="http://schemas.openxmlformats.org/officeDocument/2006/relationships/themeOverride" Target="../theme/themeOverride3409.xml"/><Relationship Id="rId2" Type="http://schemas.openxmlformats.org/officeDocument/2006/relationships/package" Target="../embeddings/Microsoft_Excel_Worksheet3408.xlsx"/></Relationships>
</file>

<file path=ppt/charts/_rels/chart3410.xml.rels><?xml version='1.0' encoding='UTF-8' standalone='yes'?>
<Relationships xmlns="http://schemas.openxmlformats.org/package/2006/relationships"><Relationship Id="rId1" Type="http://schemas.openxmlformats.org/officeDocument/2006/relationships/themeOverride" Target="../theme/themeOverride3410.xml"/><Relationship Id="rId2" Type="http://schemas.openxmlformats.org/officeDocument/2006/relationships/package" Target="../embeddings/Microsoft_Excel_Worksheet3409.xlsx"/></Relationships>
</file>

<file path=ppt/charts/_rels/chart3413.xml.rels><?xml version='1.0' encoding='UTF-8' standalone='yes'?>
<Relationships xmlns="http://schemas.openxmlformats.org/package/2006/relationships"><Relationship Id="rId1" Type="http://schemas.openxmlformats.org/officeDocument/2006/relationships/themeOverride" Target="../theme/themeOverride3413.xml"/><Relationship Id="rId2" Type="http://schemas.openxmlformats.org/officeDocument/2006/relationships/package" Target="../embeddings/Microsoft_Excel_Worksheet3412.xlsx"/></Relationships>
</file>

<file path=ppt/charts/_rels/chart3414.xml.rels><?xml version='1.0' encoding='UTF-8' standalone='yes'?>
<Relationships xmlns="http://schemas.openxmlformats.org/package/2006/relationships"><Relationship Id="rId1" Type="http://schemas.openxmlformats.org/officeDocument/2006/relationships/themeOverride" Target="../theme/themeOverride3414.xml"/><Relationship Id="rId2" Type="http://schemas.openxmlformats.org/officeDocument/2006/relationships/package" Target="../embeddings/Microsoft_Excel_Worksheet3413.xlsx"/></Relationships>
</file>

<file path=ppt/charts/_rels/chart3415.xml.rels><?xml version='1.0' encoding='UTF-8' standalone='yes'?>
<Relationships xmlns="http://schemas.openxmlformats.org/package/2006/relationships"><Relationship Id="rId1" Type="http://schemas.openxmlformats.org/officeDocument/2006/relationships/themeOverride" Target="../theme/themeOverride3415.xml"/><Relationship Id="rId2" Type="http://schemas.openxmlformats.org/officeDocument/2006/relationships/package" Target="../embeddings/Microsoft_Excel_Worksheet3414.xlsx"/></Relationships>
</file>

<file path=ppt/charts/_rels/chart3416.xml.rels><?xml version='1.0' encoding='UTF-8' standalone='yes'?>
<Relationships xmlns="http://schemas.openxmlformats.org/package/2006/relationships"><Relationship Id="rId1" Type="http://schemas.openxmlformats.org/officeDocument/2006/relationships/themeOverride" Target="../theme/themeOverride3416.xml"/><Relationship Id="rId2" Type="http://schemas.openxmlformats.org/officeDocument/2006/relationships/package" Target="../embeddings/Microsoft_Excel_Worksheet3415.xlsx"/></Relationships>
</file>

<file path=ppt/charts/_rels/chart3417.xml.rels><?xml version='1.0' encoding='UTF-8' standalone='yes'?>
<Relationships xmlns="http://schemas.openxmlformats.org/package/2006/relationships"><Relationship Id="rId1" Type="http://schemas.openxmlformats.org/officeDocument/2006/relationships/themeOverride" Target="../theme/themeOverride3417.xml"/><Relationship Id="rId2" Type="http://schemas.openxmlformats.org/officeDocument/2006/relationships/package" Target="../embeddings/Microsoft_Excel_Worksheet3416.xlsx"/></Relationships>
</file>

<file path=ppt/charts/_rels/chart3418.xml.rels><?xml version='1.0' encoding='UTF-8' standalone='yes'?>
<Relationships xmlns="http://schemas.openxmlformats.org/package/2006/relationships"><Relationship Id="rId1" Type="http://schemas.openxmlformats.org/officeDocument/2006/relationships/themeOverride" Target="../theme/themeOverride3418.xml"/><Relationship Id="rId2" Type="http://schemas.openxmlformats.org/officeDocument/2006/relationships/package" Target="../embeddings/Microsoft_Excel_Worksheet3417.xlsx"/></Relationships>
</file>

<file path=ppt/charts/_rels/chart3444.xml.rels><?xml version='1.0' encoding='UTF-8' standalone='yes'?>
<Relationships xmlns="http://schemas.openxmlformats.org/package/2006/relationships"><Relationship Id="rId1" Type="http://schemas.openxmlformats.org/officeDocument/2006/relationships/themeOverride" Target="../theme/themeOverride3444.xml"/><Relationship Id="rId2" Type="http://schemas.openxmlformats.org/officeDocument/2006/relationships/package" Target="../embeddings/Microsoft_Excel_Worksheet3443.xlsx"/></Relationships>
</file>

<file path=ppt/charts/_rels/chart3445.xml.rels><?xml version='1.0' encoding='UTF-8' standalone='yes'?>
<Relationships xmlns="http://schemas.openxmlformats.org/package/2006/relationships"><Relationship Id="rId1" Type="http://schemas.openxmlformats.org/officeDocument/2006/relationships/themeOverride" Target="../theme/themeOverride3445.xml"/><Relationship Id="rId2" Type="http://schemas.openxmlformats.org/officeDocument/2006/relationships/package" Target="../embeddings/Microsoft_Excel_Worksheet3444.xlsx"/></Relationships>
</file>

<file path=ppt/charts/_rels/chart3457.xml.rels><?xml version='1.0' encoding='UTF-8' standalone='yes'?>
<Relationships xmlns="http://schemas.openxmlformats.org/package/2006/relationships"><Relationship Id="rId1" Type="http://schemas.openxmlformats.org/officeDocument/2006/relationships/themeOverride" Target="../theme/themeOverride3457.xml"/><Relationship Id="rId2" Type="http://schemas.openxmlformats.org/officeDocument/2006/relationships/package" Target="../embeddings/Microsoft_Excel_Worksheet3456.xlsx"/></Relationships>
</file>

<file path=ppt/charts/_rels/chart3458.xml.rels><?xml version='1.0' encoding='UTF-8' standalone='yes'?>
<Relationships xmlns="http://schemas.openxmlformats.org/package/2006/relationships"><Relationship Id="rId1" Type="http://schemas.openxmlformats.org/officeDocument/2006/relationships/themeOverride" Target="../theme/themeOverride3458.xml"/><Relationship Id="rId2" Type="http://schemas.openxmlformats.org/officeDocument/2006/relationships/package" Target="../embeddings/Microsoft_Excel_Worksheet3457.xlsx"/></Relationships>
</file>

<file path=ppt/charts/_rels/chart3459.xml.rels><?xml version='1.0' encoding='UTF-8' standalone='yes'?>
<Relationships xmlns="http://schemas.openxmlformats.org/package/2006/relationships"><Relationship Id="rId1" Type="http://schemas.openxmlformats.org/officeDocument/2006/relationships/themeOverride" Target="../theme/themeOverride3459.xml"/><Relationship Id="rId2" Type="http://schemas.openxmlformats.org/officeDocument/2006/relationships/package" Target="../embeddings/Microsoft_Excel_Worksheet3458.xlsx"/></Relationships>
</file>

<file path=ppt/charts/_rels/chart3482.xml.rels><?xml version='1.0' encoding='UTF-8' standalone='yes'?>
<Relationships xmlns="http://schemas.openxmlformats.org/package/2006/relationships"><Relationship Id="rId1" Type="http://schemas.openxmlformats.org/officeDocument/2006/relationships/themeOverride" Target="../theme/themeOverride3482.xml"/><Relationship Id="rId2" Type="http://schemas.openxmlformats.org/officeDocument/2006/relationships/package" Target="../embeddings/Microsoft_Excel_Worksheet3481.xlsx"/></Relationships>
</file>

<file path=ppt/charts/_rels/chart3483.xml.rels><?xml version='1.0' encoding='UTF-8' standalone='yes'?>
<Relationships xmlns="http://schemas.openxmlformats.org/package/2006/relationships"><Relationship Id="rId1" Type="http://schemas.openxmlformats.org/officeDocument/2006/relationships/themeOverride" Target="../theme/themeOverride3483.xml"/><Relationship Id="rId2" Type="http://schemas.openxmlformats.org/officeDocument/2006/relationships/package" Target="../embeddings/Microsoft_Excel_Worksheet3482.xlsx"/></Relationships>
</file>

<file path=ppt/charts/_rels/chart3484.xml.rels><?xml version='1.0' encoding='UTF-8' standalone='yes'?>
<Relationships xmlns="http://schemas.openxmlformats.org/package/2006/relationships"><Relationship Id="rId1" Type="http://schemas.openxmlformats.org/officeDocument/2006/relationships/themeOverride" Target="../theme/themeOverride3484.xml"/><Relationship Id="rId2" Type="http://schemas.openxmlformats.org/officeDocument/2006/relationships/package" Target="../embeddings/Microsoft_Excel_Worksheet3483.xlsx"/></Relationships>
</file>

<file path=ppt/charts/_rels/chart3485.xml.rels><?xml version='1.0' encoding='UTF-8' standalone='yes'?>
<Relationships xmlns="http://schemas.openxmlformats.org/package/2006/relationships"><Relationship Id="rId1" Type="http://schemas.openxmlformats.org/officeDocument/2006/relationships/themeOverride" Target="../theme/themeOverride3485.xml"/><Relationship Id="rId2" Type="http://schemas.openxmlformats.org/officeDocument/2006/relationships/package" Target="../embeddings/Microsoft_Excel_Worksheet3484.xlsx"/></Relationships>
</file>

<file path=ppt/charts/_rels/chart3486.xml.rels><?xml version='1.0' encoding='UTF-8' standalone='yes'?>
<Relationships xmlns="http://schemas.openxmlformats.org/package/2006/relationships"><Relationship Id="rId1" Type="http://schemas.openxmlformats.org/officeDocument/2006/relationships/themeOverride" Target="../theme/themeOverride3486.xml"/><Relationship Id="rId2" Type="http://schemas.openxmlformats.org/officeDocument/2006/relationships/package" Target="../embeddings/Microsoft_Excel_Worksheet3485.xlsx"/></Relationships>
</file>

<file path=ppt/charts/_rels/chart3487.xml.rels><?xml version='1.0' encoding='UTF-8' standalone='yes'?>
<Relationships xmlns="http://schemas.openxmlformats.org/package/2006/relationships"><Relationship Id="rId1" Type="http://schemas.openxmlformats.org/officeDocument/2006/relationships/themeOverride" Target="../theme/themeOverride3487.xml"/><Relationship Id="rId2" Type="http://schemas.openxmlformats.org/officeDocument/2006/relationships/package" Target="../embeddings/Microsoft_Excel_Worksheet3486.xlsx"/></Relationships>
</file>

<file path=ppt/charts/_rels/chart3501.xml.rels><?xml version='1.0' encoding='UTF-8' standalone='yes'?>
<Relationships xmlns="http://schemas.openxmlformats.org/package/2006/relationships"><Relationship Id="rId1" Type="http://schemas.openxmlformats.org/officeDocument/2006/relationships/themeOverride" Target="../theme/themeOverride3501.xml"/><Relationship Id="rId2" Type="http://schemas.openxmlformats.org/officeDocument/2006/relationships/package" Target="../embeddings/Microsoft_Excel_Worksheet3500.xlsx"/></Relationships>
</file>

<file path=ppt/charts/_rels/chart3502.xml.rels><?xml version='1.0' encoding='UTF-8' standalone='yes'?>
<Relationships xmlns="http://schemas.openxmlformats.org/package/2006/relationships"><Relationship Id="rId1" Type="http://schemas.openxmlformats.org/officeDocument/2006/relationships/themeOverride" Target="../theme/themeOverride3502.xml"/><Relationship Id="rId2" Type="http://schemas.openxmlformats.org/officeDocument/2006/relationships/package" Target="../embeddings/Microsoft_Excel_Worksheet3501.xlsx"/></Relationships>
</file>

<file path=ppt/charts/_rels/chart3503.xml.rels><?xml version='1.0' encoding='UTF-8' standalone='yes'?>
<Relationships xmlns="http://schemas.openxmlformats.org/package/2006/relationships"><Relationship Id="rId1" Type="http://schemas.openxmlformats.org/officeDocument/2006/relationships/themeOverride" Target="../theme/themeOverride3503.xml"/><Relationship Id="rId2" Type="http://schemas.openxmlformats.org/officeDocument/2006/relationships/package" Target="../embeddings/Microsoft_Excel_Worksheet3502.xlsx"/></Relationships>
</file>

<file path=ppt/charts/_rels/chart3504.xml.rels><?xml version='1.0' encoding='UTF-8' standalone='yes'?>
<Relationships xmlns="http://schemas.openxmlformats.org/package/2006/relationships"><Relationship Id="rId1" Type="http://schemas.openxmlformats.org/officeDocument/2006/relationships/themeOverride" Target="../theme/themeOverride3504.xml"/><Relationship Id="rId2" Type="http://schemas.openxmlformats.org/officeDocument/2006/relationships/package" Target="../embeddings/Microsoft_Excel_Worksheet3503.xlsx"/></Relationships>
</file>

<file path=ppt/charts/_rels/chart3505.xml.rels><?xml version='1.0' encoding='UTF-8' standalone='yes'?>
<Relationships xmlns="http://schemas.openxmlformats.org/package/2006/relationships"><Relationship Id="rId1" Type="http://schemas.openxmlformats.org/officeDocument/2006/relationships/themeOverride" Target="../theme/themeOverride3505.xml"/><Relationship Id="rId2" Type="http://schemas.openxmlformats.org/officeDocument/2006/relationships/package" Target="../embeddings/Microsoft_Excel_Worksheet3504.xlsx"/></Relationships>
</file>

<file path=ppt/charts/_rels/chart3506.xml.rels><?xml version='1.0' encoding='UTF-8' standalone='yes'?>
<Relationships xmlns="http://schemas.openxmlformats.org/package/2006/relationships"><Relationship Id="rId1" Type="http://schemas.openxmlformats.org/officeDocument/2006/relationships/themeOverride" Target="../theme/themeOverride3506.xml"/><Relationship Id="rId2" Type="http://schemas.openxmlformats.org/officeDocument/2006/relationships/package" Target="../embeddings/Microsoft_Excel_Worksheet3505.xlsx"/></Relationships>
</file>

<file path=ppt/charts/_rels/chart351.xml.rels><?xml version='1.0' encoding='UTF-8' standalone='yes'?>
<Relationships xmlns="http://schemas.openxmlformats.org/package/2006/relationships"><Relationship Id="rId1" Type="http://schemas.openxmlformats.org/officeDocument/2006/relationships/themeOverride" Target="../theme/themeOverride351.xml"/><Relationship Id="rId2"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themeOverride" Target="../theme/themeOverride352.xml"/><Relationship Id="rId2" Type="http://schemas.openxmlformats.org/officeDocument/2006/relationships/package" Target="../embeddings/Microsoft_Excel_Worksheet351.xlsx"/></Relationships>
</file>

<file path=ppt/charts/_rels/chart3521.xml.rels><?xml version='1.0' encoding='UTF-8' standalone='yes'?>
<Relationships xmlns="http://schemas.openxmlformats.org/package/2006/relationships"><Relationship Id="rId1" Type="http://schemas.openxmlformats.org/officeDocument/2006/relationships/themeOverride" Target="../theme/themeOverride3521.xml"/><Relationship Id="rId2" Type="http://schemas.openxmlformats.org/officeDocument/2006/relationships/package" Target="../embeddings/Microsoft_Excel_Worksheet3520.xlsx"/></Relationships>
</file>

<file path=ppt/charts/_rels/chart3522.xml.rels><?xml version='1.0' encoding='UTF-8' standalone='yes'?>
<Relationships xmlns="http://schemas.openxmlformats.org/package/2006/relationships"><Relationship Id="rId1" Type="http://schemas.openxmlformats.org/officeDocument/2006/relationships/themeOverride" Target="../theme/themeOverride3522.xml"/><Relationship Id="rId2" Type="http://schemas.openxmlformats.org/officeDocument/2006/relationships/package" Target="../embeddings/Microsoft_Excel_Worksheet3521.xlsx"/></Relationships>
</file>

<file path=ppt/charts/_rels/chart353.xml.rels><?xml version='1.0' encoding='UTF-8' standalone='yes'?>
<Relationships xmlns="http://schemas.openxmlformats.org/package/2006/relationships"><Relationship Id="rId1" Type="http://schemas.openxmlformats.org/officeDocument/2006/relationships/themeOverride" Target="../theme/themeOverride353.xml"/><Relationship Id="rId2" Type="http://schemas.openxmlformats.org/officeDocument/2006/relationships/package" Target="../embeddings/Microsoft_Excel_Worksheet352.xlsx"/></Relationships>
</file>

<file path=ppt/charts/_rels/chart3532.xml.rels><?xml version='1.0' encoding='UTF-8' standalone='yes'?>
<Relationships xmlns="http://schemas.openxmlformats.org/package/2006/relationships"><Relationship Id="rId1" Type="http://schemas.openxmlformats.org/officeDocument/2006/relationships/themeOverride" Target="../theme/themeOverride3532.xml"/><Relationship Id="rId2" Type="http://schemas.openxmlformats.org/officeDocument/2006/relationships/package" Target="../embeddings/Microsoft_Excel_Worksheet3531.xlsx"/></Relationships>
</file>

<file path=ppt/charts/_rels/chart354.xml.rels><?xml version='1.0' encoding='UTF-8' standalone='yes'?>
<Relationships xmlns="http://schemas.openxmlformats.org/package/2006/relationships"><Relationship Id="rId1" Type="http://schemas.openxmlformats.org/officeDocument/2006/relationships/themeOverride" Target="../theme/themeOverride354.xml"/><Relationship Id="rId2" Type="http://schemas.openxmlformats.org/officeDocument/2006/relationships/package" Target="../embeddings/Microsoft_Excel_Worksheet353.xlsx"/></Relationships>
</file>

<file path=ppt/charts/_rels/chart3544.xml.rels><?xml version='1.0' encoding='UTF-8' standalone='yes'?>
<Relationships xmlns="http://schemas.openxmlformats.org/package/2006/relationships"><Relationship Id="rId1" Type="http://schemas.openxmlformats.org/officeDocument/2006/relationships/themeOverride" Target="../theme/themeOverride3544.xml"/><Relationship Id="rId2" Type="http://schemas.openxmlformats.org/officeDocument/2006/relationships/package" Target="../embeddings/Microsoft_Excel_Worksheet3543.xlsx"/></Relationships>
</file>

<file path=ppt/charts/_rels/chart3545.xml.rels><?xml version='1.0' encoding='UTF-8' standalone='yes'?>
<Relationships xmlns="http://schemas.openxmlformats.org/package/2006/relationships"><Relationship Id="rId1" Type="http://schemas.openxmlformats.org/officeDocument/2006/relationships/themeOverride" Target="../theme/themeOverride3545.xml"/><Relationship Id="rId2" Type="http://schemas.openxmlformats.org/officeDocument/2006/relationships/package" Target="../embeddings/Microsoft_Excel_Worksheet3544.xlsx"/></Relationships>
</file>

<file path=ppt/charts/_rels/chart3546.xml.rels><?xml version='1.0' encoding='UTF-8' standalone='yes'?>
<Relationships xmlns="http://schemas.openxmlformats.org/package/2006/relationships"><Relationship Id="rId1" Type="http://schemas.openxmlformats.org/officeDocument/2006/relationships/themeOverride" Target="../theme/themeOverride3546.xml"/><Relationship Id="rId2" Type="http://schemas.openxmlformats.org/officeDocument/2006/relationships/package" Target="../embeddings/Microsoft_Excel_Worksheet3545.xlsx"/></Relationships>
</file>

<file path=ppt/charts/_rels/chart355.xml.rels><?xml version='1.0' encoding='UTF-8' standalone='yes'?>
<Relationships xmlns="http://schemas.openxmlformats.org/package/2006/relationships"><Relationship Id="rId1" Type="http://schemas.openxmlformats.org/officeDocument/2006/relationships/themeOverride" Target="../theme/themeOverride355.xml"/><Relationship Id="rId2" Type="http://schemas.openxmlformats.org/officeDocument/2006/relationships/package" Target="../embeddings/Microsoft_Excel_Worksheet354.xlsx"/></Relationships>
</file>

<file path=ppt/charts/_rels/chart3561.xml.rels><?xml version='1.0' encoding='UTF-8' standalone='yes'?>
<Relationships xmlns="http://schemas.openxmlformats.org/package/2006/relationships"><Relationship Id="rId1" Type="http://schemas.openxmlformats.org/officeDocument/2006/relationships/themeOverride" Target="../theme/themeOverride3561.xml"/><Relationship Id="rId2" Type="http://schemas.openxmlformats.org/officeDocument/2006/relationships/package" Target="../embeddings/Microsoft_Excel_Worksheet3560.xlsx"/></Relationships>
</file>

<file path=ppt/charts/_rels/chart3562.xml.rels><?xml version='1.0' encoding='UTF-8' standalone='yes'?>
<Relationships xmlns="http://schemas.openxmlformats.org/package/2006/relationships"><Relationship Id="rId1" Type="http://schemas.openxmlformats.org/officeDocument/2006/relationships/themeOverride" Target="../theme/themeOverride3562.xml"/><Relationship Id="rId2" Type="http://schemas.openxmlformats.org/officeDocument/2006/relationships/package" Target="../embeddings/Microsoft_Excel_Worksheet3561.xlsx"/></Relationships>
</file>

<file path=ppt/charts/_rels/chart3563.xml.rels><?xml version='1.0' encoding='UTF-8' standalone='yes'?>
<Relationships xmlns="http://schemas.openxmlformats.org/package/2006/relationships"><Relationship Id="rId1" Type="http://schemas.openxmlformats.org/officeDocument/2006/relationships/themeOverride" Target="../theme/themeOverride3563.xml"/><Relationship Id="rId2" Type="http://schemas.openxmlformats.org/officeDocument/2006/relationships/package" Target="../embeddings/Microsoft_Excel_Worksheet3562.xlsx"/></Relationships>
</file>

<file path=ppt/charts/_rels/chart3564.xml.rels><?xml version='1.0' encoding='UTF-8' standalone='yes'?>
<Relationships xmlns="http://schemas.openxmlformats.org/package/2006/relationships"><Relationship Id="rId1" Type="http://schemas.openxmlformats.org/officeDocument/2006/relationships/themeOverride" Target="../theme/themeOverride3564.xml"/><Relationship Id="rId2" Type="http://schemas.openxmlformats.org/officeDocument/2006/relationships/package" Target="../embeddings/Microsoft_Excel_Worksheet3563.xlsx"/></Relationships>
</file>

<file path=ppt/charts/_rels/chart3565.xml.rels><?xml version='1.0' encoding='UTF-8' standalone='yes'?>
<Relationships xmlns="http://schemas.openxmlformats.org/package/2006/relationships"><Relationship Id="rId1" Type="http://schemas.openxmlformats.org/officeDocument/2006/relationships/themeOverride" Target="../theme/themeOverride3565.xml"/><Relationship Id="rId2" Type="http://schemas.openxmlformats.org/officeDocument/2006/relationships/package" Target="../embeddings/Microsoft_Excel_Worksheet3564.xlsx"/></Relationships>
</file>

<file path=ppt/charts/_rels/chart3580.xml.rels><?xml version='1.0' encoding='UTF-8' standalone='yes'?>
<Relationships xmlns="http://schemas.openxmlformats.org/package/2006/relationships"><Relationship Id="rId1" Type="http://schemas.openxmlformats.org/officeDocument/2006/relationships/themeOverride" Target="../theme/themeOverride3580.xml"/><Relationship Id="rId2" Type="http://schemas.openxmlformats.org/officeDocument/2006/relationships/package" Target="../embeddings/Microsoft_Excel_Worksheet3579.xlsx"/></Relationships>
</file>

<file path=ppt/charts/_rels/chart3581.xml.rels><?xml version='1.0' encoding='UTF-8' standalone='yes'?>
<Relationships xmlns="http://schemas.openxmlformats.org/package/2006/relationships"><Relationship Id="rId1" Type="http://schemas.openxmlformats.org/officeDocument/2006/relationships/themeOverride" Target="../theme/themeOverride3581.xml"/><Relationship Id="rId2" Type="http://schemas.openxmlformats.org/officeDocument/2006/relationships/package" Target="../embeddings/Microsoft_Excel_Worksheet3580.xlsx"/></Relationships>
</file>

<file path=ppt/charts/_rels/chart3582.xml.rels><?xml version='1.0' encoding='UTF-8' standalone='yes'?>
<Relationships xmlns="http://schemas.openxmlformats.org/package/2006/relationships"><Relationship Id="rId1" Type="http://schemas.openxmlformats.org/officeDocument/2006/relationships/themeOverride" Target="../theme/themeOverride3582.xml"/><Relationship Id="rId2" Type="http://schemas.openxmlformats.org/officeDocument/2006/relationships/package" Target="../embeddings/Microsoft_Excel_Worksheet3581.xlsx"/></Relationships>
</file>

<file path=ppt/charts/_rels/chart3591.xml.rels><?xml version='1.0' encoding='UTF-8' standalone='yes'?>
<Relationships xmlns="http://schemas.openxmlformats.org/package/2006/relationships"><Relationship Id="rId1" Type="http://schemas.openxmlformats.org/officeDocument/2006/relationships/themeOverride" Target="../theme/themeOverride3591.xml"/><Relationship Id="rId2" Type="http://schemas.openxmlformats.org/officeDocument/2006/relationships/package" Target="../embeddings/Microsoft_Excel_Worksheet3590.xlsx"/></Relationships>
</file>

<file path=ppt/charts/_rels/chart3592.xml.rels><?xml version='1.0' encoding='UTF-8' standalone='yes'?>
<Relationships xmlns="http://schemas.openxmlformats.org/package/2006/relationships"><Relationship Id="rId1" Type="http://schemas.openxmlformats.org/officeDocument/2006/relationships/themeOverride" Target="../theme/themeOverride3592.xml"/><Relationship Id="rId2" Type="http://schemas.openxmlformats.org/officeDocument/2006/relationships/package" Target="../embeddings/Microsoft_Excel_Worksheet3591.xlsx"/></Relationships>
</file>

<file path=ppt/charts/_rels/chart3593.xml.rels><?xml version='1.0' encoding='UTF-8' standalone='yes'?>
<Relationships xmlns="http://schemas.openxmlformats.org/package/2006/relationships"><Relationship Id="rId1" Type="http://schemas.openxmlformats.org/officeDocument/2006/relationships/themeOverride" Target="../theme/themeOverride3593.xml"/><Relationship Id="rId2" Type="http://schemas.openxmlformats.org/officeDocument/2006/relationships/package" Target="../embeddings/Microsoft_Excel_Worksheet3592.xlsx"/></Relationships>
</file>

<file path=ppt/charts/_rels/chart3621.xml.rels><?xml version='1.0' encoding='UTF-8' standalone='yes'?>
<Relationships xmlns="http://schemas.openxmlformats.org/package/2006/relationships"><Relationship Id="rId1" Type="http://schemas.openxmlformats.org/officeDocument/2006/relationships/themeOverride" Target="../theme/themeOverride3621.xml"/><Relationship Id="rId2" Type="http://schemas.openxmlformats.org/officeDocument/2006/relationships/package" Target="../embeddings/Microsoft_Excel_Worksheet3620.xlsx"/></Relationships>
</file>

<file path=ppt/charts/_rels/chart3622.xml.rels><?xml version='1.0' encoding='UTF-8' standalone='yes'?>
<Relationships xmlns="http://schemas.openxmlformats.org/package/2006/relationships"><Relationship Id="rId1" Type="http://schemas.openxmlformats.org/officeDocument/2006/relationships/themeOverride" Target="../theme/themeOverride3622.xml"/><Relationship Id="rId2" Type="http://schemas.openxmlformats.org/officeDocument/2006/relationships/package" Target="../embeddings/Microsoft_Excel_Worksheet3621.xlsx"/></Relationships>
</file>

<file path=ppt/charts/_rels/chart3623.xml.rels><?xml version='1.0' encoding='UTF-8' standalone='yes'?>
<Relationships xmlns="http://schemas.openxmlformats.org/package/2006/relationships"><Relationship Id="rId1" Type="http://schemas.openxmlformats.org/officeDocument/2006/relationships/themeOverride" Target="../theme/themeOverride3623.xml"/><Relationship Id="rId2" Type="http://schemas.openxmlformats.org/officeDocument/2006/relationships/package" Target="../embeddings/Microsoft_Excel_Worksheet3622.xlsx"/></Relationships>
</file>

<file path=ppt/charts/_rels/chart3624.xml.rels><?xml version='1.0' encoding='UTF-8' standalone='yes'?>
<Relationships xmlns="http://schemas.openxmlformats.org/package/2006/relationships"><Relationship Id="rId1" Type="http://schemas.openxmlformats.org/officeDocument/2006/relationships/themeOverride" Target="../theme/themeOverride3624.xml"/><Relationship Id="rId2" Type="http://schemas.openxmlformats.org/officeDocument/2006/relationships/package" Target="../embeddings/Microsoft_Excel_Worksheet3623.xlsx"/></Relationships>
</file>

<file path=ppt/charts/_rels/chart3625.xml.rels><?xml version='1.0' encoding='UTF-8' standalone='yes'?>
<Relationships xmlns="http://schemas.openxmlformats.org/package/2006/relationships"><Relationship Id="rId1" Type="http://schemas.openxmlformats.org/officeDocument/2006/relationships/themeOverride" Target="../theme/themeOverride3625.xml"/><Relationship Id="rId2" Type="http://schemas.openxmlformats.org/officeDocument/2006/relationships/package" Target="../embeddings/Microsoft_Excel_Worksheet3624.xlsx"/></Relationships>
</file>

<file path=ppt/charts/_rels/chart3626.xml.rels><?xml version='1.0' encoding='UTF-8' standalone='yes'?>
<Relationships xmlns="http://schemas.openxmlformats.org/package/2006/relationships"><Relationship Id="rId1" Type="http://schemas.openxmlformats.org/officeDocument/2006/relationships/themeOverride" Target="../theme/themeOverride3626.xml"/><Relationship Id="rId2" Type="http://schemas.openxmlformats.org/officeDocument/2006/relationships/package" Target="../embeddings/Microsoft_Excel_Worksheet3625.xlsx"/></Relationships>
</file>

<file path=ppt/charts/_rels/chart3641.xml.rels><?xml version='1.0' encoding='UTF-8' standalone='yes'?>
<Relationships xmlns="http://schemas.openxmlformats.org/package/2006/relationships"><Relationship Id="rId1" Type="http://schemas.openxmlformats.org/officeDocument/2006/relationships/themeOverride" Target="../theme/themeOverride3641.xml"/><Relationship Id="rId2" Type="http://schemas.openxmlformats.org/officeDocument/2006/relationships/package" Target="../embeddings/Microsoft_Excel_Worksheet3640.xlsx"/></Relationships>
</file>

<file path=ppt/charts/_rels/chart3642.xml.rels><?xml version='1.0' encoding='UTF-8' standalone='yes'?>
<Relationships xmlns="http://schemas.openxmlformats.org/package/2006/relationships"><Relationship Id="rId1" Type="http://schemas.openxmlformats.org/officeDocument/2006/relationships/themeOverride" Target="../theme/themeOverride3642.xml"/><Relationship Id="rId2" Type="http://schemas.openxmlformats.org/officeDocument/2006/relationships/package" Target="../embeddings/Microsoft_Excel_Worksheet3641.xlsx"/></Relationships>
</file>

<file path=ppt/charts/_rels/chart3652.xml.rels><?xml version='1.0' encoding='UTF-8' standalone='yes'?>
<Relationships xmlns="http://schemas.openxmlformats.org/package/2006/relationships"><Relationship Id="rId1" Type="http://schemas.openxmlformats.org/officeDocument/2006/relationships/themeOverride" Target="../theme/themeOverride3652.xml"/><Relationship Id="rId2" Type="http://schemas.openxmlformats.org/officeDocument/2006/relationships/package" Target="../embeddings/Microsoft_Excel_Worksheet3651.xlsx"/></Relationships>
</file>

<file path=ppt/charts/_rels/chart3653.xml.rels><?xml version='1.0' encoding='UTF-8' standalone='yes'?>
<Relationships xmlns="http://schemas.openxmlformats.org/package/2006/relationships"><Relationship Id="rId1" Type="http://schemas.openxmlformats.org/officeDocument/2006/relationships/themeOverride" Target="../theme/themeOverride3653.xml"/><Relationship Id="rId2" Type="http://schemas.openxmlformats.org/officeDocument/2006/relationships/package" Target="../embeddings/Microsoft_Excel_Worksheet3652.xlsx"/></Relationships>
</file>

<file path=ppt/charts/_rels/chart3660.xml.rels><?xml version='1.0' encoding='UTF-8' standalone='yes'?>
<Relationships xmlns="http://schemas.openxmlformats.org/package/2006/relationships"><Relationship Id="rId1" Type="http://schemas.openxmlformats.org/officeDocument/2006/relationships/themeOverride" Target="../theme/themeOverride3660.xml"/><Relationship Id="rId2" Type="http://schemas.openxmlformats.org/officeDocument/2006/relationships/package" Target="../embeddings/Microsoft_Excel_Worksheet3659.xlsx"/></Relationships>
</file>

<file path=ppt/charts/_rels/chart3661.xml.rels><?xml version='1.0' encoding='UTF-8' standalone='yes'?>
<Relationships xmlns="http://schemas.openxmlformats.org/package/2006/relationships"><Relationship Id="rId1" Type="http://schemas.openxmlformats.org/officeDocument/2006/relationships/themeOverride" Target="../theme/themeOverride3661.xml"/><Relationship Id="rId2" Type="http://schemas.openxmlformats.org/officeDocument/2006/relationships/package" Target="../embeddings/Microsoft_Excel_Worksheet3660.xlsx"/></Relationships>
</file>

<file path=ppt/charts/_rels/chart3662.xml.rels><?xml version='1.0' encoding='UTF-8' standalone='yes'?>
<Relationships xmlns="http://schemas.openxmlformats.org/package/2006/relationships"><Relationship Id="rId1" Type="http://schemas.openxmlformats.org/officeDocument/2006/relationships/themeOverride" Target="../theme/themeOverride3662.xml"/><Relationship Id="rId2" Type="http://schemas.openxmlformats.org/officeDocument/2006/relationships/package" Target="../embeddings/Microsoft_Excel_Worksheet3661.xlsx"/></Relationships>
</file>

<file path=ppt/charts/_rels/chart3682.xml.rels><?xml version='1.0' encoding='UTF-8' standalone='yes'?>
<Relationships xmlns="http://schemas.openxmlformats.org/package/2006/relationships"><Relationship Id="rId1" Type="http://schemas.openxmlformats.org/officeDocument/2006/relationships/themeOverride" Target="../theme/themeOverride3682.xml"/><Relationship Id="rId2" Type="http://schemas.openxmlformats.org/officeDocument/2006/relationships/package" Target="../embeddings/Microsoft_Excel_Worksheet3681.xlsx"/></Relationships>
</file>

<file path=ppt/charts/_rels/chart3683.xml.rels><?xml version='1.0' encoding='UTF-8' standalone='yes'?>
<Relationships xmlns="http://schemas.openxmlformats.org/package/2006/relationships"><Relationship Id="rId1" Type="http://schemas.openxmlformats.org/officeDocument/2006/relationships/themeOverride" Target="../theme/themeOverride3683.xml"/><Relationship Id="rId2" Type="http://schemas.openxmlformats.org/officeDocument/2006/relationships/package" Target="../embeddings/Microsoft_Excel_Worksheet3682.xlsx"/></Relationships>
</file>

<file path=ppt/charts/_rels/chart3684.xml.rels><?xml version='1.0' encoding='UTF-8' standalone='yes'?>
<Relationships xmlns="http://schemas.openxmlformats.org/package/2006/relationships"><Relationship Id="rId1" Type="http://schemas.openxmlformats.org/officeDocument/2006/relationships/themeOverride" Target="../theme/themeOverride3684.xml"/><Relationship Id="rId2" Type="http://schemas.openxmlformats.org/officeDocument/2006/relationships/package" Target="../embeddings/Microsoft_Excel_Worksheet3683.xlsx"/></Relationships>
</file>

<file path=ppt/charts/_rels/chart3701.xml.rels><?xml version='1.0' encoding='UTF-8' standalone='yes'?>
<Relationships xmlns="http://schemas.openxmlformats.org/package/2006/relationships"><Relationship Id="rId1" Type="http://schemas.openxmlformats.org/officeDocument/2006/relationships/themeOverride" Target="../theme/themeOverride3701.xml"/><Relationship Id="rId2" Type="http://schemas.openxmlformats.org/officeDocument/2006/relationships/package" Target="../embeddings/Microsoft_Excel_Worksheet3700.xlsx"/></Relationships>
</file>

<file path=ppt/charts/_rels/chart3702.xml.rels><?xml version='1.0' encoding='UTF-8' standalone='yes'?>
<Relationships xmlns="http://schemas.openxmlformats.org/package/2006/relationships"><Relationship Id="rId1" Type="http://schemas.openxmlformats.org/officeDocument/2006/relationships/themeOverride" Target="../theme/themeOverride3702.xml"/><Relationship Id="rId2" Type="http://schemas.openxmlformats.org/officeDocument/2006/relationships/package" Target="../embeddings/Microsoft_Excel_Worksheet3701.xlsx"/></Relationships>
</file>

<file path=ppt/charts/_rels/chart3703.xml.rels><?xml version='1.0' encoding='UTF-8' standalone='yes'?>
<Relationships xmlns="http://schemas.openxmlformats.org/package/2006/relationships"><Relationship Id="rId1" Type="http://schemas.openxmlformats.org/officeDocument/2006/relationships/themeOverride" Target="../theme/themeOverride3703.xml"/><Relationship Id="rId2" Type="http://schemas.openxmlformats.org/officeDocument/2006/relationships/package" Target="../embeddings/Microsoft_Excel_Worksheet3702.xlsx"/></Relationships>
</file>

<file path=ppt/charts/_rels/chart3704.xml.rels><?xml version='1.0' encoding='UTF-8' standalone='yes'?>
<Relationships xmlns="http://schemas.openxmlformats.org/package/2006/relationships"><Relationship Id="rId1" Type="http://schemas.openxmlformats.org/officeDocument/2006/relationships/themeOverride" Target="../theme/themeOverride3704.xml"/><Relationship Id="rId2" Type="http://schemas.openxmlformats.org/officeDocument/2006/relationships/package" Target="../embeddings/Microsoft_Excel_Worksheet3703.xlsx"/></Relationships>
</file>

<file path=ppt/charts/_rels/chart3705.xml.rels><?xml version='1.0' encoding='UTF-8' standalone='yes'?>
<Relationships xmlns="http://schemas.openxmlformats.org/package/2006/relationships"><Relationship Id="rId1" Type="http://schemas.openxmlformats.org/officeDocument/2006/relationships/themeOverride" Target="../theme/themeOverride3705.xml"/><Relationship Id="rId2" Type="http://schemas.openxmlformats.org/officeDocument/2006/relationships/package" Target="../embeddings/Microsoft_Excel_Worksheet3704.xlsx"/></Relationships>
</file>

<file path=ppt/charts/_rels/chart3706.xml.rels><?xml version='1.0' encoding='UTF-8' standalone='yes'?>
<Relationships xmlns="http://schemas.openxmlformats.org/package/2006/relationships"><Relationship Id="rId1" Type="http://schemas.openxmlformats.org/officeDocument/2006/relationships/themeOverride" Target="../theme/themeOverride3706.xml"/><Relationship Id="rId2" Type="http://schemas.openxmlformats.org/officeDocument/2006/relationships/package" Target="../embeddings/Microsoft_Excel_Worksheet3705.xlsx"/></Relationships>
</file>

<file path=ppt/charts/_rels/chart3720.xml.rels><?xml version='1.0' encoding='UTF-8' standalone='yes'?>
<Relationships xmlns="http://schemas.openxmlformats.org/package/2006/relationships"><Relationship Id="rId1" Type="http://schemas.openxmlformats.org/officeDocument/2006/relationships/themeOverride" Target="../theme/themeOverride3720.xml"/><Relationship Id="rId2" Type="http://schemas.openxmlformats.org/officeDocument/2006/relationships/package" Target="../embeddings/Microsoft_Excel_Worksheet3719.xlsx"/></Relationships>
</file>

<file path=ppt/charts/_rels/chart3721.xml.rels><?xml version='1.0' encoding='UTF-8' standalone='yes'?>
<Relationships xmlns="http://schemas.openxmlformats.org/package/2006/relationships"><Relationship Id="rId1" Type="http://schemas.openxmlformats.org/officeDocument/2006/relationships/themeOverride" Target="../theme/themeOverride3721.xml"/><Relationship Id="rId2" Type="http://schemas.openxmlformats.org/officeDocument/2006/relationships/package" Target="../embeddings/Microsoft_Excel_Worksheet3720.xlsx"/></Relationships>
</file>

<file path=ppt/charts/_rels/chart3722.xml.rels><?xml version='1.0' encoding='UTF-8' standalone='yes'?>
<Relationships xmlns="http://schemas.openxmlformats.org/package/2006/relationships"><Relationship Id="rId1" Type="http://schemas.openxmlformats.org/officeDocument/2006/relationships/themeOverride" Target="../theme/themeOverride3722.xml"/><Relationship Id="rId2" Type="http://schemas.openxmlformats.org/officeDocument/2006/relationships/package" Target="../embeddings/Microsoft_Excel_Worksheet3721.xlsx"/></Relationships>
</file>

<file path=ppt/charts/_rels/chart3731.xml.rels><?xml version='1.0' encoding='UTF-8' standalone='yes'?>
<Relationships xmlns="http://schemas.openxmlformats.org/package/2006/relationships"><Relationship Id="rId1" Type="http://schemas.openxmlformats.org/officeDocument/2006/relationships/themeOverride" Target="../theme/themeOverride3731.xml"/><Relationship Id="rId2" Type="http://schemas.openxmlformats.org/officeDocument/2006/relationships/package" Target="../embeddings/Microsoft_Excel_Worksheet3730.xlsx"/></Relationships>
</file>

<file path=ppt/charts/_rels/chart3732.xml.rels><?xml version='1.0' encoding='UTF-8' standalone='yes'?>
<Relationships xmlns="http://schemas.openxmlformats.org/package/2006/relationships"><Relationship Id="rId1" Type="http://schemas.openxmlformats.org/officeDocument/2006/relationships/themeOverride" Target="../theme/themeOverride3732.xml"/><Relationship Id="rId2" Type="http://schemas.openxmlformats.org/officeDocument/2006/relationships/package" Target="../embeddings/Microsoft_Excel_Worksheet3731.xlsx"/></Relationships>
</file>

<file path=ppt/charts/_rels/chart3733.xml.rels><?xml version='1.0' encoding='UTF-8' standalone='yes'?>
<Relationships xmlns="http://schemas.openxmlformats.org/package/2006/relationships"><Relationship Id="rId1" Type="http://schemas.openxmlformats.org/officeDocument/2006/relationships/themeOverride" Target="../theme/themeOverride3733.xml"/><Relationship Id="rId2" Type="http://schemas.openxmlformats.org/officeDocument/2006/relationships/package" Target="../embeddings/Microsoft_Excel_Worksheet3732.xlsx"/></Relationships>
</file>

<file path=ppt/charts/_rels/chart3745.xml.rels><?xml version='1.0' encoding='UTF-8' standalone='yes'?>
<Relationships xmlns="http://schemas.openxmlformats.org/package/2006/relationships"><Relationship Id="rId1" Type="http://schemas.openxmlformats.org/officeDocument/2006/relationships/themeOverride" Target="../theme/themeOverride3745.xml"/><Relationship Id="rId2" Type="http://schemas.openxmlformats.org/officeDocument/2006/relationships/package" Target="../embeddings/Microsoft_Excel_Worksheet3744.xlsx"/></Relationships>
</file>

<file path=ppt/charts/_rels/chart3746.xml.rels><?xml version='1.0' encoding='UTF-8' standalone='yes'?>
<Relationships xmlns="http://schemas.openxmlformats.org/package/2006/relationships"><Relationship Id="rId1" Type="http://schemas.openxmlformats.org/officeDocument/2006/relationships/themeOverride" Target="../theme/themeOverride3746.xml"/><Relationship Id="rId2" Type="http://schemas.openxmlformats.org/officeDocument/2006/relationships/package" Target="../embeddings/Microsoft_Excel_Worksheet3745.xlsx"/></Relationships>
</file>

<file path=ppt/charts/_rels/chart3747.xml.rels><?xml version='1.0' encoding='UTF-8' standalone='yes'?>
<Relationships xmlns="http://schemas.openxmlformats.org/package/2006/relationships"><Relationship Id="rId1" Type="http://schemas.openxmlformats.org/officeDocument/2006/relationships/themeOverride" Target="../theme/themeOverride3747.xml"/><Relationship Id="rId2" Type="http://schemas.openxmlformats.org/officeDocument/2006/relationships/package" Target="../embeddings/Microsoft_Excel_Worksheet3746.xlsx"/></Relationships>
</file>

<file path=ppt/charts/_rels/chart3748.xml.rels><?xml version='1.0' encoding='UTF-8' standalone='yes'?>
<Relationships xmlns="http://schemas.openxmlformats.org/package/2006/relationships"><Relationship Id="rId1" Type="http://schemas.openxmlformats.org/officeDocument/2006/relationships/themeOverride" Target="../theme/themeOverride3748.xml"/><Relationship Id="rId2" Type="http://schemas.openxmlformats.org/officeDocument/2006/relationships/package" Target="../embeddings/Microsoft_Excel_Worksheet3747.xlsx"/></Relationships>
</file>

<file path=ppt/charts/_rels/chart3749.xml.rels><?xml version='1.0' encoding='UTF-8' standalone='yes'?>
<Relationships xmlns="http://schemas.openxmlformats.org/package/2006/relationships"><Relationship Id="rId1" Type="http://schemas.openxmlformats.org/officeDocument/2006/relationships/themeOverride" Target="../theme/themeOverride3749.xml"/><Relationship Id="rId2" Type="http://schemas.openxmlformats.org/officeDocument/2006/relationships/package" Target="../embeddings/Microsoft_Excel_Worksheet3748.xlsx"/></Relationships>
</file>

<file path=ppt/charts/_rels/chart3750.xml.rels><?xml version='1.0' encoding='UTF-8' standalone='yes'?>
<Relationships xmlns="http://schemas.openxmlformats.org/package/2006/relationships"><Relationship Id="rId1" Type="http://schemas.openxmlformats.org/officeDocument/2006/relationships/themeOverride" Target="../theme/themeOverride3750.xml"/><Relationship Id="rId2" Type="http://schemas.openxmlformats.org/officeDocument/2006/relationships/package" Target="../embeddings/Microsoft_Excel_Worksheet3749.xlsx"/></Relationships>
</file>

<file path=ppt/charts/_rels/chart3775.xml.rels><?xml version='1.0' encoding='UTF-8' standalone='yes'?>
<Relationships xmlns="http://schemas.openxmlformats.org/package/2006/relationships"><Relationship Id="rId1" Type="http://schemas.openxmlformats.org/officeDocument/2006/relationships/themeOverride" Target="../theme/themeOverride3775.xml"/><Relationship Id="rId2" Type="http://schemas.openxmlformats.org/officeDocument/2006/relationships/package" Target="../embeddings/Microsoft_Excel_Worksheet3774.xlsx"/></Relationships>
</file>

<file path=ppt/charts/_rels/chart3776.xml.rels><?xml version='1.0' encoding='UTF-8' standalone='yes'?>
<Relationships xmlns="http://schemas.openxmlformats.org/package/2006/relationships"><Relationship Id="rId1" Type="http://schemas.openxmlformats.org/officeDocument/2006/relationships/themeOverride" Target="../theme/themeOverride3776.xml"/><Relationship Id="rId2" Type="http://schemas.openxmlformats.org/officeDocument/2006/relationships/package" Target="../embeddings/Microsoft_Excel_Worksheet3775.xlsx"/></Relationships>
</file>

<file path=ppt/charts/_rels/chart3777.xml.rels><?xml version='1.0' encoding='UTF-8' standalone='yes'?>
<Relationships xmlns="http://schemas.openxmlformats.org/package/2006/relationships"><Relationship Id="rId1" Type="http://schemas.openxmlformats.org/officeDocument/2006/relationships/themeOverride" Target="../theme/themeOverride3777.xml"/><Relationship Id="rId2" Type="http://schemas.openxmlformats.org/officeDocument/2006/relationships/package" Target="../embeddings/Microsoft_Excel_Worksheet3776.xlsx"/></Relationships>
</file>

<file path=ppt/charts/_rels/chart3789.xml.rels><?xml version='1.0' encoding='UTF-8' standalone='yes'?>
<Relationships xmlns="http://schemas.openxmlformats.org/package/2006/relationships"><Relationship Id="rId1" Type="http://schemas.openxmlformats.org/officeDocument/2006/relationships/themeOverride" Target="../theme/themeOverride3789.xml"/><Relationship Id="rId2" Type="http://schemas.openxmlformats.org/officeDocument/2006/relationships/package" Target="../embeddings/Microsoft_Excel_Worksheet3788.xlsx"/></Relationships>
</file>

<file path=ppt/charts/_rels/chart3790.xml.rels><?xml version='1.0' encoding='UTF-8' standalone='yes'?>
<Relationships xmlns="http://schemas.openxmlformats.org/package/2006/relationships"><Relationship Id="rId1" Type="http://schemas.openxmlformats.org/officeDocument/2006/relationships/themeOverride" Target="../theme/themeOverride3790.xml"/><Relationship Id="rId2" Type="http://schemas.openxmlformats.org/officeDocument/2006/relationships/package" Target="../embeddings/Microsoft_Excel_Worksheet3789.xlsx"/></Relationships>
</file>

<file path=ppt/charts/_rels/chart3791.xml.rels><?xml version='1.0' encoding='UTF-8' standalone='yes'?>
<Relationships xmlns="http://schemas.openxmlformats.org/package/2006/relationships"><Relationship Id="rId1" Type="http://schemas.openxmlformats.org/officeDocument/2006/relationships/themeOverride" Target="../theme/themeOverride3791.xml"/><Relationship Id="rId2" Type="http://schemas.openxmlformats.org/officeDocument/2006/relationships/package" Target="../embeddings/Microsoft_Excel_Worksheet3790.xlsx"/></Relationships>
</file>

<file path=ppt/charts/_rels/chart3806.xml.rels><?xml version='1.0' encoding='UTF-8' standalone='yes'?>
<Relationships xmlns="http://schemas.openxmlformats.org/package/2006/relationships"><Relationship Id="rId1" Type="http://schemas.openxmlformats.org/officeDocument/2006/relationships/themeOverride" Target="../theme/themeOverride3806.xml"/><Relationship Id="rId2" Type="http://schemas.openxmlformats.org/officeDocument/2006/relationships/package" Target="../embeddings/Microsoft_Excel_Worksheet3805.xlsx"/></Relationships>
</file>

<file path=ppt/charts/_rels/chart3807.xml.rels><?xml version='1.0' encoding='UTF-8' standalone='yes'?>
<Relationships xmlns="http://schemas.openxmlformats.org/package/2006/relationships"><Relationship Id="rId1" Type="http://schemas.openxmlformats.org/officeDocument/2006/relationships/themeOverride" Target="../theme/themeOverride3807.xml"/><Relationship Id="rId2" Type="http://schemas.openxmlformats.org/officeDocument/2006/relationships/package" Target="../embeddings/Microsoft_Excel_Worksheet3806.xlsx"/></Relationships>
</file>

<file path=ppt/charts/_rels/chart3808.xml.rels><?xml version='1.0' encoding='UTF-8' standalone='yes'?>
<Relationships xmlns="http://schemas.openxmlformats.org/package/2006/relationships"><Relationship Id="rId1" Type="http://schemas.openxmlformats.org/officeDocument/2006/relationships/themeOverride" Target="../theme/themeOverride3808.xml"/><Relationship Id="rId2" Type="http://schemas.openxmlformats.org/officeDocument/2006/relationships/package" Target="../embeddings/Microsoft_Excel_Worksheet3807.xlsx"/></Relationships>
</file>

<file path=ppt/charts/_rels/chart3809.xml.rels><?xml version='1.0' encoding='UTF-8' standalone='yes'?>
<Relationships xmlns="http://schemas.openxmlformats.org/package/2006/relationships"><Relationship Id="rId1" Type="http://schemas.openxmlformats.org/officeDocument/2006/relationships/themeOverride" Target="../theme/themeOverride3809.xml"/><Relationship Id="rId2" Type="http://schemas.openxmlformats.org/officeDocument/2006/relationships/package" Target="../embeddings/Microsoft_Excel_Worksheet3808.xlsx"/></Relationships>
</file>

<file path=ppt/charts/_rels/chart3810.xml.rels><?xml version='1.0' encoding='UTF-8' standalone='yes'?>
<Relationships xmlns="http://schemas.openxmlformats.org/package/2006/relationships"><Relationship Id="rId1" Type="http://schemas.openxmlformats.org/officeDocument/2006/relationships/themeOverride" Target="../theme/themeOverride3810.xml"/><Relationship Id="rId2" Type="http://schemas.openxmlformats.org/officeDocument/2006/relationships/package" Target="../embeddings/Microsoft_Excel_Worksheet3809.xlsx"/></Relationships>
</file>

<file path=ppt/charts/_rels/chart3823.xml.rels><?xml version='1.0' encoding='UTF-8' standalone='yes'?>
<Relationships xmlns="http://schemas.openxmlformats.org/package/2006/relationships"><Relationship Id="rId1" Type="http://schemas.openxmlformats.org/officeDocument/2006/relationships/themeOverride" Target="../theme/themeOverride3823.xml"/><Relationship Id="rId2" Type="http://schemas.openxmlformats.org/officeDocument/2006/relationships/package" Target="../embeddings/Microsoft_Excel_Worksheet3822.xlsx"/></Relationships>
</file>

<file path=ppt/charts/_rels/chart3824.xml.rels><?xml version='1.0' encoding='UTF-8' standalone='yes'?>
<Relationships xmlns="http://schemas.openxmlformats.org/package/2006/relationships"><Relationship Id="rId1" Type="http://schemas.openxmlformats.org/officeDocument/2006/relationships/themeOverride" Target="../theme/themeOverride3824.xml"/><Relationship Id="rId2" Type="http://schemas.openxmlformats.org/officeDocument/2006/relationships/package" Target="../embeddings/Microsoft_Excel_Worksheet3823.xlsx"/></Relationships>
</file>

<file path=ppt/charts/_rels/chart3825.xml.rels><?xml version='1.0' encoding='UTF-8' standalone='yes'?>
<Relationships xmlns="http://schemas.openxmlformats.org/package/2006/relationships"><Relationship Id="rId1" Type="http://schemas.openxmlformats.org/officeDocument/2006/relationships/themeOverride" Target="../theme/themeOverride3825.xml"/><Relationship Id="rId2" Type="http://schemas.openxmlformats.org/officeDocument/2006/relationships/package" Target="../embeddings/Microsoft_Excel_Worksheet3824.xlsx"/></Relationships>
</file>

<file path=ppt/charts/_rels/chart3826.xml.rels><?xml version='1.0' encoding='UTF-8' standalone='yes'?>
<Relationships xmlns="http://schemas.openxmlformats.org/package/2006/relationships"><Relationship Id="rId1" Type="http://schemas.openxmlformats.org/officeDocument/2006/relationships/themeOverride" Target="../theme/themeOverride3826.xml"/><Relationship Id="rId2" Type="http://schemas.openxmlformats.org/officeDocument/2006/relationships/package" Target="../embeddings/Microsoft_Excel_Worksheet3825.xlsx"/></Relationships>
</file>

<file path=ppt/charts/_rels/chart3845.xml.rels><?xml version='1.0' encoding='UTF-8' standalone='yes'?>
<Relationships xmlns="http://schemas.openxmlformats.org/package/2006/relationships"><Relationship Id="rId1" Type="http://schemas.openxmlformats.org/officeDocument/2006/relationships/themeOverride" Target="../theme/themeOverride3845.xml"/><Relationship Id="rId2" Type="http://schemas.openxmlformats.org/officeDocument/2006/relationships/package" Target="../embeddings/Microsoft_Excel_Worksheet3844.xlsx"/></Relationships>
</file>

<file path=ppt/charts/_rels/chart3846.xml.rels><?xml version='1.0' encoding='UTF-8' standalone='yes'?>
<Relationships xmlns="http://schemas.openxmlformats.org/package/2006/relationships"><Relationship Id="rId1" Type="http://schemas.openxmlformats.org/officeDocument/2006/relationships/themeOverride" Target="../theme/themeOverride3846.xml"/><Relationship Id="rId2" Type="http://schemas.openxmlformats.org/officeDocument/2006/relationships/package" Target="../embeddings/Microsoft_Excel_Worksheet3845.xlsx"/></Relationships>
</file>

<file path=ppt/charts/_rels/chart3855.xml.rels><?xml version='1.0' encoding='UTF-8' standalone='yes'?>
<Relationships xmlns="http://schemas.openxmlformats.org/package/2006/relationships"><Relationship Id="rId1" Type="http://schemas.openxmlformats.org/officeDocument/2006/relationships/themeOverride" Target="../theme/themeOverride3855.xml"/><Relationship Id="rId2" Type="http://schemas.openxmlformats.org/officeDocument/2006/relationships/package" Target="../embeddings/Microsoft_Excel_Worksheet3854.xlsx"/></Relationships>
</file>

<file path=ppt/charts/_rels/chart3856.xml.rels><?xml version='1.0' encoding='UTF-8' standalone='yes'?>
<Relationships xmlns="http://schemas.openxmlformats.org/package/2006/relationships"><Relationship Id="rId1" Type="http://schemas.openxmlformats.org/officeDocument/2006/relationships/themeOverride" Target="../theme/themeOverride3856.xml"/><Relationship Id="rId2" Type="http://schemas.openxmlformats.org/officeDocument/2006/relationships/package" Target="../embeddings/Microsoft_Excel_Worksheet3855.xlsx"/></Relationships>
</file>

<file path=ppt/charts/_rels/chart3867.xml.rels><?xml version='1.0' encoding='UTF-8' standalone='yes'?>
<Relationships xmlns="http://schemas.openxmlformats.org/package/2006/relationships"><Relationship Id="rId1" Type="http://schemas.openxmlformats.org/officeDocument/2006/relationships/themeOverride" Target="../theme/themeOverride3867.xml"/><Relationship Id="rId2" Type="http://schemas.openxmlformats.org/officeDocument/2006/relationships/package" Target="../embeddings/Microsoft_Excel_Worksheet3866.xlsx"/></Relationships>
</file>

<file path=ppt/charts/_rels/chart3868.xml.rels><?xml version='1.0' encoding='UTF-8' standalone='yes'?>
<Relationships xmlns="http://schemas.openxmlformats.org/package/2006/relationships"><Relationship Id="rId1" Type="http://schemas.openxmlformats.org/officeDocument/2006/relationships/themeOverride" Target="../theme/themeOverride3868.xml"/><Relationship Id="rId2" Type="http://schemas.openxmlformats.org/officeDocument/2006/relationships/package" Target="../embeddings/Microsoft_Excel_Worksheet3867.xlsx"/></Relationships>
</file>

<file path=ppt/charts/_rels/chart3869.xml.rels><?xml version='1.0' encoding='UTF-8' standalone='yes'?>
<Relationships xmlns="http://schemas.openxmlformats.org/package/2006/relationships"><Relationship Id="rId1" Type="http://schemas.openxmlformats.org/officeDocument/2006/relationships/themeOverride" Target="../theme/themeOverride3869.xml"/><Relationship Id="rId2" Type="http://schemas.openxmlformats.org/officeDocument/2006/relationships/package" Target="../embeddings/Microsoft_Excel_Worksheet3868.xlsx"/></Relationships>
</file>

<file path=ppt/charts/_rels/chart3870.xml.rels><?xml version='1.0' encoding='UTF-8' standalone='yes'?>
<Relationships xmlns="http://schemas.openxmlformats.org/package/2006/relationships"><Relationship Id="rId1" Type="http://schemas.openxmlformats.org/officeDocument/2006/relationships/themeOverride" Target="../theme/themeOverride3870.xml"/><Relationship Id="rId2" Type="http://schemas.openxmlformats.org/officeDocument/2006/relationships/package" Target="../embeddings/Microsoft_Excel_Worksheet3869.xlsx"/></Relationships>
</file>

<file path=ppt/charts/_rels/chart3881.xml.rels><?xml version='1.0' encoding='UTF-8' standalone='yes'?>
<Relationships xmlns="http://schemas.openxmlformats.org/package/2006/relationships"><Relationship Id="rId1" Type="http://schemas.openxmlformats.org/officeDocument/2006/relationships/themeOverride" Target="../theme/themeOverride3881.xml"/><Relationship Id="rId2" Type="http://schemas.openxmlformats.org/officeDocument/2006/relationships/package" Target="../embeddings/Microsoft_Excel_Worksheet3880.xlsx"/></Relationships>
</file>

<file path=ppt/charts/_rels/chart3882.xml.rels><?xml version='1.0' encoding='UTF-8' standalone='yes'?>
<Relationships xmlns="http://schemas.openxmlformats.org/package/2006/relationships"><Relationship Id="rId1" Type="http://schemas.openxmlformats.org/officeDocument/2006/relationships/themeOverride" Target="../theme/themeOverride3882.xml"/><Relationship Id="rId2" Type="http://schemas.openxmlformats.org/officeDocument/2006/relationships/package" Target="../embeddings/Microsoft_Excel_Worksheet3881.xlsx"/></Relationships>
</file>

<file path=ppt/charts/_rels/chart3889.xml.rels><?xml version='1.0' encoding='UTF-8' standalone='yes'?>
<Relationships xmlns="http://schemas.openxmlformats.org/package/2006/relationships"><Relationship Id="rId1" Type="http://schemas.openxmlformats.org/officeDocument/2006/relationships/themeOverride" Target="../theme/themeOverride3889.xml"/><Relationship Id="rId2" Type="http://schemas.openxmlformats.org/officeDocument/2006/relationships/package" Target="../embeddings/Microsoft_Excel_Worksheet3888.xlsx"/></Relationships>
</file>

<file path=ppt/charts/_rels/chart3890.xml.rels><?xml version='1.0' encoding='UTF-8' standalone='yes'?>
<Relationships xmlns="http://schemas.openxmlformats.org/package/2006/relationships"><Relationship Id="rId1" Type="http://schemas.openxmlformats.org/officeDocument/2006/relationships/themeOverride" Target="../theme/themeOverride3890.xml"/><Relationship Id="rId2" Type="http://schemas.openxmlformats.org/officeDocument/2006/relationships/package" Target="../embeddings/Microsoft_Excel_Worksheet3889.xlsx"/></Relationships>
</file>

<file path=ppt/charts/_rels/chart3899.xml.rels><?xml version='1.0' encoding='UTF-8' standalone='yes'?>
<Relationships xmlns="http://schemas.openxmlformats.org/package/2006/relationships"><Relationship Id="rId1" Type="http://schemas.openxmlformats.org/officeDocument/2006/relationships/themeOverride" Target="../theme/themeOverride3899.xml"/><Relationship Id="rId2" Type="http://schemas.openxmlformats.org/officeDocument/2006/relationships/package" Target="../embeddings/Microsoft_Excel_Worksheet3898.xlsx"/></Relationships>
</file>

<file path=ppt/charts/_rels/chart3900.xml.rels><?xml version='1.0' encoding='UTF-8' standalone='yes'?>
<Relationships xmlns="http://schemas.openxmlformats.org/package/2006/relationships"><Relationship Id="rId1" Type="http://schemas.openxmlformats.org/officeDocument/2006/relationships/themeOverride" Target="../theme/themeOverride3900.xml"/><Relationship Id="rId2" Type="http://schemas.openxmlformats.org/officeDocument/2006/relationships/package" Target="../embeddings/Microsoft_Excel_Worksheet3899.xlsx"/></Relationships>
</file>

<file path=ppt/charts/_rels/chart3911.xml.rels><?xml version='1.0' encoding='UTF-8' standalone='yes'?>
<Relationships xmlns="http://schemas.openxmlformats.org/package/2006/relationships"><Relationship Id="rId1" Type="http://schemas.openxmlformats.org/officeDocument/2006/relationships/themeOverride" Target="../theme/themeOverride3911.xml"/><Relationship Id="rId2" Type="http://schemas.openxmlformats.org/officeDocument/2006/relationships/package" Target="../embeddings/Microsoft_Excel_Worksheet3910.xlsx"/></Relationships>
</file>

<file path=ppt/charts/_rels/chart3912.xml.rels><?xml version='1.0' encoding='UTF-8' standalone='yes'?>
<Relationships xmlns="http://schemas.openxmlformats.org/package/2006/relationships"><Relationship Id="rId1" Type="http://schemas.openxmlformats.org/officeDocument/2006/relationships/themeOverride" Target="../theme/themeOverride3912.xml"/><Relationship Id="rId2" Type="http://schemas.openxmlformats.org/officeDocument/2006/relationships/package" Target="../embeddings/Microsoft_Excel_Worksheet3911.xlsx"/></Relationships>
</file>

<file path=ppt/charts/_rels/chart3913.xml.rels><?xml version='1.0' encoding='UTF-8' standalone='yes'?>
<Relationships xmlns="http://schemas.openxmlformats.org/package/2006/relationships"><Relationship Id="rId1" Type="http://schemas.openxmlformats.org/officeDocument/2006/relationships/themeOverride" Target="../theme/themeOverride3913.xml"/><Relationship Id="rId2" Type="http://schemas.openxmlformats.org/officeDocument/2006/relationships/package" Target="../embeddings/Microsoft_Excel_Worksheet3912.xlsx"/></Relationships>
</file>

<file path=ppt/charts/_rels/chart3914.xml.rels><?xml version='1.0' encoding='UTF-8' standalone='yes'?>
<Relationships xmlns="http://schemas.openxmlformats.org/package/2006/relationships"><Relationship Id="rId1" Type="http://schemas.openxmlformats.org/officeDocument/2006/relationships/themeOverride" Target="../theme/themeOverride3914.xml"/><Relationship Id="rId2" Type="http://schemas.openxmlformats.org/officeDocument/2006/relationships/package" Target="../embeddings/Microsoft_Excel_Worksheet3913.xlsx"/></Relationships>
</file>

<file path=ppt/charts/_rels/chart3925.xml.rels><?xml version='1.0' encoding='UTF-8' standalone='yes'?>
<Relationships xmlns="http://schemas.openxmlformats.org/package/2006/relationships"><Relationship Id="rId1" Type="http://schemas.openxmlformats.org/officeDocument/2006/relationships/themeOverride" Target="../theme/themeOverride3925.xml"/><Relationship Id="rId2" Type="http://schemas.openxmlformats.org/officeDocument/2006/relationships/package" Target="../embeddings/Microsoft_Excel_Worksheet3924.xlsx"/></Relationships>
</file>

<file path=ppt/charts/_rels/chart3926.xml.rels><?xml version='1.0' encoding='UTF-8' standalone='yes'?>
<Relationships xmlns="http://schemas.openxmlformats.org/package/2006/relationships"><Relationship Id="rId1" Type="http://schemas.openxmlformats.org/officeDocument/2006/relationships/themeOverride" Target="../theme/themeOverride3926.xml"/><Relationship Id="rId2" Type="http://schemas.openxmlformats.org/officeDocument/2006/relationships/package" Target="../embeddings/Microsoft_Excel_Worksheet3925.xlsx"/></Relationships>
</file>

<file path=ppt/charts/_rels/chart3933.xml.rels><?xml version='1.0' encoding='UTF-8' standalone='yes'?>
<Relationships xmlns="http://schemas.openxmlformats.org/package/2006/relationships"><Relationship Id="rId1" Type="http://schemas.openxmlformats.org/officeDocument/2006/relationships/themeOverride" Target="../theme/themeOverride3933.xml"/><Relationship Id="rId2" Type="http://schemas.openxmlformats.org/officeDocument/2006/relationships/package" Target="../embeddings/Microsoft_Excel_Worksheet3932.xlsx"/></Relationships>
</file>

<file path=ppt/charts/_rels/chart3934.xml.rels><?xml version='1.0' encoding='UTF-8' standalone='yes'?>
<Relationships xmlns="http://schemas.openxmlformats.org/package/2006/relationships"><Relationship Id="rId1" Type="http://schemas.openxmlformats.org/officeDocument/2006/relationships/themeOverride" Target="../theme/themeOverride3934.xml"/><Relationship Id="rId2" Type="http://schemas.openxmlformats.org/officeDocument/2006/relationships/package" Target="../embeddings/Microsoft_Excel_Worksheet3933.xlsx"/></Relationships>
</file>

<file path=ppt/charts/_rels/chart3955.xml.rels><?xml version='1.0' encoding='UTF-8' standalone='yes'?>
<Relationships xmlns="http://schemas.openxmlformats.org/package/2006/relationships"><Relationship Id="rId1" Type="http://schemas.openxmlformats.org/officeDocument/2006/relationships/themeOverride" Target="../theme/themeOverride3955.xml"/><Relationship Id="rId2" Type="http://schemas.openxmlformats.org/officeDocument/2006/relationships/package" Target="../embeddings/Microsoft_Excel_Worksheet3954.xlsx"/></Relationships>
</file>

<file path=ppt/charts/_rels/chart3956.xml.rels><?xml version='1.0' encoding='UTF-8' standalone='yes'?>
<Relationships xmlns="http://schemas.openxmlformats.org/package/2006/relationships"><Relationship Id="rId1" Type="http://schemas.openxmlformats.org/officeDocument/2006/relationships/themeOverride" Target="../theme/themeOverride3956.xml"/><Relationship Id="rId2" Type="http://schemas.openxmlformats.org/officeDocument/2006/relationships/package" Target="../embeddings/Microsoft_Excel_Worksheet3955.xlsx"/></Relationships>
</file>

<file path=ppt/charts/_rels/chart3957.xml.rels><?xml version='1.0' encoding='UTF-8' standalone='yes'?>
<Relationships xmlns="http://schemas.openxmlformats.org/package/2006/relationships"><Relationship Id="rId1" Type="http://schemas.openxmlformats.org/officeDocument/2006/relationships/themeOverride" Target="../theme/themeOverride3957.xml"/><Relationship Id="rId2" Type="http://schemas.openxmlformats.org/officeDocument/2006/relationships/package" Target="../embeddings/Microsoft_Excel_Worksheet3956.xlsx"/></Relationships>
</file>

<file path=ppt/charts/_rels/chart3958.xml.rels><?xml version='1.0' encoding='UTF-8' standalone='yes'?>
<Relationships xmlns="http://schemas.openxmlformats.org/package/2006/relationships"><Relationship Id="rId1" Type="http://schemas.openxmlformats.org/officeDocument/2006/relationships/themeOverride" Target="../theme/themeOverride3958.xml"/><Relationship Id="rId2" Type="http://schemas.openxmlformats.org/officeDocument/2006/relationships/package" Target="../embeddings/Microsoft_Excel_Worksheet3957.xlsx"/></Relationships>
</file>

<file path=ppt/charts/_rels/chart3975.xml.rels><?xml version='1.0' encoding='UTF-8' standalone='yes'?>
<Relationships xmlns="http://schemas.openxmlformats.org/package/2006/relationships"><Relationship Id="rId1" Type="http://schemas.openxmlformats.org/officeDocument/2006/relationships/themeOverride" Target="../theme/themeOverride3975.xml"/><Relationship Id="rId2" Type="http://schemas.openxmlformats.org/officeDocument/2006/relationships/package" Target="../embeddings/Microsoft_Excel_Worksheet3974.xlsx"/></Relationships>
</file>

<file path=ppt/charts/_rels/chart3976.xml.rels><?xml version='1.0' encoding='UTF-8' standalone='yes'?>
<Relationships xmlns="http://schemas.openxmlformats.org/package/2006/relationships"><Relationship Id="rId1" Type="http://schemas.openxmlformats.org/officeDocument/2006/relationships/themeOverride" Target="../theme/themeOverride3976.xml"/><Relationship Id="rId2" Type="http://schemas.openxmlformats.org/officeDocument/2006/relationships/package" Target="../embeddings/Microsoft_Excel_Worksheet3975.xlsx"/></Relationships>
</file>

<file path=ppt/charts/_rels/chart3989.xml.rels><?xml version='1.0' encoding='UTF-8' standalone='yes'?>
<Relationships xmlns="http://schemas.openxmlformats.org/package/2006/relationships"><Relationship Id="rId1" Type="http://schemas.openxmlformats.org/officeDocument/2006/relationships/themeOverride" Target="../theme/themeOverride3989.xml"/><Relationship Id="rId2" Type="http://schemas.openxmlformats.org/officeDocument/2006/relationships/package" Target="../embeddings/Microsoft_Excel_Worksheet3988.xlsx"/></Relationships>
</file>

<file path=ppt/charts/_rels/chart3990.xml.rels><?xml version='1.0' encoding='UTF-8' standalone='yes'?>
<Relationships xmlns="http://schemas.openxmlformats.org/package/2006/relationships"><Relationship Id="rId1" Type="http://schemas.openxmlformats.org/officeDocument/2006/relationships/themeOverride" Target="../theme/themeOverride3990.xml"/><Relationship Id="rId2" Type="http://schemas.openxmlformats.org/officeDocument/2006/relationships/package" Target="../embeddings/Microsoft_Excel_Worksheet3989.xlsx"/></Relationships>
</file>

<file path=ppt/charts/_rels/chart4001.xml.rels><?xml version='1.0' encoding='UTF-8' standalone='yes'?>
<Relationships xmlns="http://schemas.openxmlformats.org/package/2006/relationships"><Relationship Id="rId1" Type="http://schemas.openxmlformats.org/officeDocument/2006/relationships/themeOverride" Target="../theme/themeOverride4001.xml"/><Relationship Id="rId2" Type="http://schemas.openxmlformats.org/officeDocument/2006/relationships/package" Target="../embeddings/Microsoft_Excel_Worksheet4000.xlsx"/></Relationships>
</file>

<file path=ppt/charts/_rels/chart4002.xml.rels><?xml version='1.0' encoding='UTF-8' standalone='yes'?>
<Relationships xmlns="http://schemas.openxmlformats.org/package/2006/relationships"><Relationship Id="rId1" Type="http://schemas.openxmlformats.org/officeDocument/2006/relationships/themeOverride" Target="../theme/themeOverride4002.xml"/><Relationship Id="rId2" Type="http://schemas.openxmlformats.org/officeDocument/2006/relationships/package" Target="../embeddings/Microsoft_Excel_Worksheet4001.xlsx"/></Relationships>
</file>

<file path=ppt/charts/_rels/chart4003.xml.rels><?xml version='1.0' encoding='UTF-8' standalone='yes'?>
<Relationships xmlns="http://schemas.openxmlformats.org/package/2006/relationships"><Relationship Id="rId1" Type="http://schemas.openxmlformats.org/officeDocument/2006/relationships/themeOverride" Target="../theme/themeOverride4003.xml"/><Relationship Id="rId2" Type="http://schemas.openxmlformats.org/officeDocument/2006/relationships/package" Target="../embeddings/Microsoft_Excel_Worksheet4002.xlsx"/></Relationships>
</file>

<file path=ppt/charts/_rels/chart4004.xml.rels><?xml version='1.0' encoding='UTF-8' standalone='yes'?>
<Relationships xmlns="http://schemas.openxmlformats.org/package/2006/relationships"><Relationship Id="rId1" Type="http://schemas.openxmlformats.org/officeDocument/2006/relationships/themeOverride" Target="../theme/themeOverride4004.xml"/><Relationship Id="rId2" Type="http://schemas.openxmlformats.org/officeDocument/2006/relationships/package" Target="../embeddings/Microsoft_Excel_Worksheet4003.xlsx"/></Relationships>
</file>

<file path=ppt/charts/_rels/chart4019.xml.rels><?xml version='1.0' encoding='UTF-8' standalone='yes'?>
<Relationships xmlns="http://schemas.openxmlformats.org/package/2006/relationships"><Relationship Id="rId1" Type="http://schemas.openxmlformats.org/officeDocument/2006/relationships/themeOverride" Target="../theme/themeOverride4019.xml"/><Relationship Id="rId2" Type="http://schemas.openxmlformats.org/officeDocument/2006/relationships/package" Target="../embeddings/Microsoft_Excel_Worksheet4018.xlsx"/></Relationships>
</file>

<file path=ppt/charts/_rels/chart4020.xml.rels><?xml version='1.0' encoding='UTF-8' standalone='yes'?>
<Relationships xmlns="http://schemas.openxmlformats.org/package/2006/relationships"><Relationship Id="rId1" Type="http://schemas.openxmlformats.org/officeDocument/2006/relationships/themeOverride" Target="../theme/themeOverride4020.xml"/><Relationship Id="rId2" Type="http://schemas.openxmlformats.org/officeDocument/2006/relationships/package" Target="../embeddings/Microsoft_Excel_Worksheet4019.xlsx"/></Relationships>
</file>

<file path=ppt/charts/_rels/chart4023.xml.rels><?xml version='1.0' encoding='UTF-8' standalone='yes'?>
<Relationships xmlns="http://schemas.openxmlformats.org/package/2006/relationships"><Relationship Id="rId1" Type="http://schemas.openxmlformats.org/officeDocument/2006/relationships/themeOverride" Target="../theme/themeOverride4023.xml"/><Relationship Id="rId2" Type="http://schemas.openxmlformats.org/officeDocument/2006/relationships/package" Target="../embeddings/Microsoft_Excel_Worksheet4022.xlsx"/></Relationships>
</file>

<file path=ppt/charts/_rels/chart4024.xml.rels><?xml version='1.0' encoding='UTF-8' standalone='yes'?>
<Relationships xmlns="http://schemas.openxmlformats.org/package/2006/relationships"><Relationship Id="rId1" Type="http://schemas.openxmlformats.org/officeDocument/2006/relationships/themeOverride" Target="../theme/themeOverride4024.xml"/><Relationship Id="rId2" Type="http://schemas.openxmlformats.org/officeDocument/2006/relationships/package" Target="../embeddings/Microsoft_Excel_Worksheet4023.xlsx"/></Relationships>
</file>

<file path=ppt/charts/_rels/chart4033.xml.rels><?xml version='1.0' encoding='UTF-8' standalone='yes'?>
<Relationships xmlns="http://schemas.openxmlformats.org/package/2006/relationships"><Relationship Id="rId1" Type="http://schemas.openxmlformats.org/officeDocument/2006/relationships/themeOverride" Target="../theme/themeOverride4033.xml"/><Relationship Id="rId2" Type="http://schemas.openxmlformats.org/officeDocument/2006/relationships/package" Target="../embeddings/Microsoft_Excel_Worksheet4032.xlsx"/></Relationships>
</file>

<file path=ppt/charts/_rels/chart4034.xml.rels><?xml version='1.0' encoding='UTF-8' standalone='yes'?>
<Relationships xmlns="http://schemas.openxmlformats.org/package/2006/relationships"><Relationship Id="rId1" Type="http://schemas.openxmlformats.org/officeDocument/2006/relationships/themeOverride" Target="../theme/themeOverride4034.xml"/><Relationship Id="rId2" Type="http://schemas.openxmlformats.org/officeDocument/2006/relationships/package" Target="../embeddings/Microsoft_Excel_Worksheet4033.xlsx"/></Relationships>
</file>

<file path=ppt/charts/_rels/chart406.xml.rels><?xml version='1.0' encoding='UTF-8' standalone='yes'?>
<Relationships xmlns="http://schemas.openxmlformats.org/package/2006/relationships"><Relationship Id="rId1" Type="http://schemas.openxmlformats.org/officeDocument/2006/relationships/themeOverride" Target="../theme/themeOverride406.xml"/><Relationship Id="rId2" Type="http://schemas.openxmlformats.org/officeDocument/2006/relationships/package" Target="../embeddings/Microsoft_Excel_Worksheet405.xlsx"/></Relationships>
</file>

<file path=ppt/charts/_rels/chart4065.xml.rels><?xml version='1.0' encoding='UTF-8' standalone='yes'?>
<Relationships xmlns="http://schemas.openxmlformats.org/package/2006/relationships"><Relationship Id="rId1" Type="http://schemas.openxmlformats.org/officeDocument/2006/relationships/themeOverride" Target="../theme/themeOverride4055.xml"/><Relationship Id="rId2" Type="http://schemas.openxmlformats.org/officeDocument/2006/relationships/package" Target="../embeddings/Microsoft_Excel_Worksheet4064.xlsx"/></Relationships>
</file>

<file path=ppt/charts/_rels/chart4066.xml.rels><?xml version='1.0' encoding='UTF-8' standalone='yes'?>
<Relationships xmlns="http://schemas.openxmlformats.org/package/2006/relationships"><Relationship Id="rId1" Type="http://schemas.openxmlformats.org/officeDocument/2006/relationships/themeOverride" Target="../theme/themeOverride4056.xml"/><Relationship Id="rId2" Type="http://schemas.openxmlformats.org/officeDocument/2006/relationships/package" Target="../embeddings/Microsoft_Excel_Worksheet4065.xlsx"/></Relationships>
</file>

<file path=ppt/charts/_rels/chart4067.xml.rels><?xml version='1.0' encoding='UTF-8' standalone='yes'?>
<Relationships xmlns="http://schemas.openxmlformats.org/package/2006/relationships"><Relationship Id="rId1" Type="http://schemas.openxmlformats.org/officeDocument/2006/relationships/themeOverride" Target="../theme/themeOverride4057.xml"/><Relationship Id="rId2" Type="http://schemas.openxmlformats.org/officeDocument/2006/relationships/package" Target="../embeddings/Microsoft_Excel_Worksheet4066.xlsx"/></Relationships>
</file>

<file path=ppt/charts/_rels/chart4068.xml.rels><?xml version='1.0' encoding='UTF-8' standalone='yes'?>
<Relationships xmlns="http://schemas.openxmlformats.org/package/2006/relationships"><Relationship Id="rId1" Type="http://schemas.openxmlformats.org/officeDocument/2006/relationships/themeOverride" Target="../theme/themeOverride4058.xml"/><Relationship Id="rId2" Type="http://schemas.openxmlformats.org/officeDocument/2006/relationships/package" Target="../embeddings/Microsoft_Excel_Worksheet4067.xlsx"/></Relationships>
</file>

<file path=ppt/charts/_rels/chart4069.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4068.xlsx"/></Relationships>
</file>

<file path=ppt/charts/_rels/chart407.xml.rels><?xml version='1.0' encoding='UTF-8' standalone='yes'?>
<Relationships xmlns="http://schemas.openxmlformats.org/package/2006/relationships"><Relationship Id="rId1" Type="http://schemas.openxmlformats.org/officeDocument/2006/relationships/themeOverride" Target="../theme/themeOverride407.xml"/><Relationship Id="rId2" Type="http://schemas.openxmlformats.org/officeDocument/2006/relationships/package" Target="../embeddings/Microsoft_Excel_Worksheet406.xlsx"/></Relationships>
</file>

<file path=ppt/charts/_rels/chart4070.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4069.xlsx"/></Relationships>
</file>

<file path=ppt/charts/_rels/chart4071.xml.rels><?xml version='1.0' encoding='UTF-8' standalone='yes'?>
<Relationships xmlns="http://schemas.openxmlformats.org/package/2006/relationships"><Relationship Id="rId1" Type="http://schemas.openxmlformats.org/officeDocument/2006/relationships/themeOverride" Target="../theme/themeOverride4059.xml"/><Relationship Id="rId2" Type="http://schemas.openxmlformats.org/officeDocument/2006/relationships/package" Target="../embeddings/Microsoft_Excel_Worksheet4070.xlsx"/></Relationships>
</file>

<file path=ppt/charts/_rels/chart4072.xml.rels><?xml version='1.0' encoding='UTF-8' standalone='yes'?>
<Relationships xmlns="http://schemas.openxmlformats.org/package/2006/relationships"><Relationship Id="rId1" Type="http://schemas.openxmlformats.org/officeDocument/2006/relationships/themeOverride" Target="../theme/themeOverride4060.xml"/><Relationship Id="rId2" Type="http://schemas.openxmlformats.org/officeDocument/2006/relationships/package" Target="../embeddings/Microsoft_Excel_Worksheet4071.xlsx"/></Relationships>
</file>

<file path=ppt/charts/_rels/chart4073.xml.rels><?xml version='1.0' encoding='UTF-8' standalone='yes'?>
<Relationships xmlns="http://schemas.openxmlformats.org/package/2006/relationships"><Relationship Id="rId1" Type="http://schemas.openxmlformats.org/officeDocument/2006/relationships/themeOverride" Target="../theme/themeOverride4061.xml"/><Relationship Id="rId2" Type="http://schemas.openxmlformats.org/officeDocument/2006/relationships/package" Target="../embeddings/Microsoft_Excel_Worksheet4072.xlsx"/></Relationships>
</file>

<file path=ppt/charts/_rels/chart4074.xml.rels><?xml version='1.0' encoding='UTF-8' standalone='yes'?>
<Relationships xmlns="http://schemas.openxmlformats.org/package/2006/relationships"><Relationship Id="rId1" Type="http://schemas.openxmlformats.org/officeDocument/2006/relationships/themeOverride" Target="../theme/themeOverride4062.xml"/><Relationship Id="rId2" Type="http://schemas.openxmlformats.org/officeDocument/2006/relationships/package" Target="../embeddings/Microsoft_Excel_Worksheet4073.xlsx"/></Relationships>
</file>

<file path=ppt/charts/_rels/chart4075.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4074.xlsx"/></Relationships>
</file>

<file path=ppt/charts/_rels/chart4076.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4075.xlsx"/></Relationships>
</file>

<file path=ppt/charts/_rels/chart408.xml.rels><?xml version='1.0' encoding='UTF-8' standalone='yes'?>
<Relationships xmlns="http://schemas.openxmlformats.org/package/2006/relationships"><Relationship Id="rId1" Type="http://schemas.openxmlformats.org/officeDocument/2006/relationships/themeOverride" Target="../theme/themeOverride408.xml"/><Relationship Id="rId2"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themeOverride" Target="../theme/themeOverride409.xml"/><Relationship Id="rId2"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themeOverride" Target="../theme/themeOverride410.xml"/><Relationship Id="rId2"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themeOverride" Target="../theme/themeOverride411.xml"/><Relationship Id="rId2"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themeOverride" Target="../theme/themeOverride412.xml"/><Relationship Id="rId2"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themeOverride" Target="../theme/themeOverride413.xml"/><Relationship Id="rId2" Type="http://schemas.openxmlformats.org/officeDocument/2006/relationships/package" Target="../embeddings/Microsoft_Excel_Worksheet412.xlsx"/></Relationships>
</file>

<file path=ppt/charts/_rels/chart4131.xml.rels><?xml version='1.0' encoding='UTF-8' standalone='yes'?>
<Relationships xmlns="http://schemas.openxmlformats.org/package/2006/relationships"><Relationship Id="rId1" Type="http://schemas.openxmlformats.org/officeDocument/2006/relationships/themeOverride" Target="../theme/themeOverride4099.xml"/><Relationship Id="rId2" Type="http://schemas.openxmlformats.org/officeDocument/2006/relationships/package" Target="../embeddings/Microsoft_Excel_Worksheet4130.xlsx"/></Relationships>
</file>

<file path=ppt/charts/_rels/chart4132.xml.rels><?xml version='1.0' encoding='UTF-8' standalone='yes'?>
<Relationships xmlns="http://schemas.openxmlformats.org/package/2006/relationships"><Relationship Id="rId1" Type="http://schemas.openxmlformats.org/officeDocument/2006/relationships/themeOverride" Target="../theme/themeOverride4100.xml"/><Relationship Id="rId2" Type="http://schemas.openxmlformats.org/officeDocument/2006/relationships/package" Target="../embeddings/Microsoft_Excel_Worksheet4131.xlsx"/></Relationships>
</file>

<file path=ppt/charts/_rels/chart4133.xml.rels><?xml version='1.0' encoding='UTF-8' standalone='yes'?>
<Relationships xmlns="http://schemas.openxmlformats.org/package/2006/relationships"><Relationship Id="rId1" Type="http://schemas.openxmlformats.org/officeDocument/2006/relationships/themeOverride" Target="../theme/themeOverride4101.xml"/><Relationship Id="rId2" Type="http://schemas.openxmlformats.org/officeDocument/2006/relationships/package" Target="../embeddings/Microsoft_Excel_Worksheet4132.xlsx"/></Relationships>
</file>

<file path=ppt/charts/_rels/chart4134.xml.rels><?xml version='1.0' encoding='UTF-8' standalone='yes'?>
<Relationships xmlns="http://schemas.openxmlformats.org/package/2006/relationships"><Relationship Id="rId1" Type="http://schemas.openxmlformats.org/officeDocument/2006/relationships/themeOverride" Target="../theme/themeOverride4102.xml"/><Relationship Id="rId2" Type="http://schemas.openxmlformats.org/officeDocument/2006/relationships/package" Target="../embeddings/Microsoft_Excel_Worksheet4133.xlsx"/></Relationships>
</file>

<file path=ppt/charts/_rels/chart4135.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4134.xlsx"/></Relationships>
</file>

<file path=ppt/charts/_rels/chart4136.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4135.xlsx"/></Relationships>
</file>

<file path=ppt/charts/_rels/chart414.xml.rels><?xml version='1.0' encoding='UTF-8' standalone='yes'?>
<Relationships xmlns="http://schemas.openxmlformats.org/package/2006/relationships"><Relationship Id="rId1" Type="http://schemas.openxmlformats.org/officeDocument/2006/relationships/themeOverride" Target="../theme/themeOverride414.xml"/><Relationship Id="rId2"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themeOverride" Target="../theme/themeOverride415.xml"/><Relationship Id="rId2" Type="http://schemas.openxmlformats.org/officeDocument/2006/relationships/package" Target="../embeddings/Microsoft_Excel_Worksheet414.xlsx"/></Relationships>
</file>

<file path=ppt/charts/_rels/chart4161.xml.rels><?xml version='1.0' encoding='UTF-8' standalone='yes'?>
<Relationships xmlns="http://schemas.openxmlformats.org/package/2006/relationships"><Relationship Id="rId1" Type="http://schemas.openxmlformats.org/officeDocument/2006/relationships/themeOverride" Target="../theme/themeOverride4119.xml"/><Relationship Id="rId2" Type="http://schemas.openxmlformats.org/officeDocument/2006/relationships/package" Target="../embeddings/Microsoft_Excel_Worksheet4160.xlsx"/></Relationships>
</file>

<file path=ppt/charts/_rels/chart4162.xml.rels><?xml version='1.0' encoding='UTF-8' standalone='yes'?>
<Relationships xmlns="http://schemas.openxmlformats.org/package/2006/relationships"><Relationship Id="rId1" Type="http://schemas.openxmlformats.org/officeDocument/2006/relationships/themeOverride" Target="../theme/themeOverride4120.xml"/><Relationship Id="rId2" Type="http://schemas.openxmlformats.org/officeDocument/2006/relationships/package" Target="../embeddings/Microsoft_Excel_Worksheet4161.xlsx"/></Relationships>
</file>

<file path=ppt/charts/_rels/chart4163.xml.rels><?xml version='1.0' encoding='UTF-8' standalone='yes'?>
<Relationships xmlns="http://schemas.openxmlformats.org/package/2006/relationships"><Relationship Id="rId1" Type="http://schemas.openxmlformats.org/officeDocument/2006/relationships/themeOverride" Target="../theme/themeOverride4121.xml"/><Relationship Id="rId2" Type="http://schemas.openxmlformats.org/officeDocument/2006/relationships/package" Target="../embeddings/Microsoft_Excel_Worksheet4162.xlsx"/></Relationships>
</file>

<file path=ppt/charts/_rels/chart4164.xml.rels><?xml version='1.0' encoding='UTF-8' standalone='yes'?>
<Relationships xmlns="http://schemas.openxmlformats.org/package/2006/relationships"><Relationship Id="rId1" Type="http://schemas.openxmlformats.org/officeDocument/2006/relationships/themeOverride" Target="../theme/themeOverride4122.xml"/><Relationship Id="rId2" Type="http://schemas.openxmlformats.org/officeDocument/2006/relationships/package" Target="../embeddings/Microsoft_Excel_Worksheet4163.xlsx"/></Relationships>
</file>

<file path=ppt/charts/_rels/chart4165.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164.xlsx"/></Relationships>
</file>

<file path=ppt/charts/_rels/chart4166.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165.xlsx"/></Relationships>
</file>

<file path=ppt/charts/_rels/chart4197.xml.rels><?xml version='1.0' encoding='UTF-8' standalone='yes'?>
<Relationships xmlns="http://schemas.openxmlformats.org/package/2006/relationships"><Relationship Id="rId1" Type="http://schemas.openxmlformats.org/officeDocument/2006/relationships/themeOverride" Target="../theme/themeOverride4143.xml"/><Relationship Id="rId2" Type="http://schemas.openxmlformats.org/officeDocument/2006/relationships/package" Target="../embeddings/Microsoft_Excel_Worksheet4196.xlsx"/></Relationships>
</file>

<file path=ppt/charts/_rels/chart4198.xml.rels><?xml version='1.0' encoding='UTF-8' standalone='yes'?>
<Relationships xmlns="http://schemas.openxmlformats.org/package/2006/relationships"><Relationship Id="rId1" Type="http://schemas.openxmlformats.org/officeDocument/2006/relationships/themeOverride" Target="../theme/themeOverride4144.xml"/><Relationship Id="rId2" Type="http://schemas.openxmlformats.org/officeDocument/2006/relationships/package" Target="../embeddings/Microsoft_Excel_Worksheet4197.xlsx"/></Relationships>
</file>

<file path=ppt/charts/_rels/chart4199.xml.rels><?xml version='1.0' encoding='UTF-8' standalone='yes'?>
<Relationships xmlns="http://schemas.openxmlformats.org/package/2006/relationships"><Relationship Id="rId1" Type="http://schemas.openxmlformats.org/officeDocument/2006/relationships/themeOverride" Target="../theme/themeOverride4145.xml"/><Relationship Id="rId2" Type="http://schemas.openxmlformats.org/officeDocument/2006/relationships/package" Target="../embeddings/Microsoft_Excel_Worksheet4198.xlsx"/></Relationships>
</file>

<file path=ppt/charts/_rels/chart42.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41.xlsx"/></Relationships>
</file>

<file path=ppt/charts/_rels/chart4200.xml.rels><?xml version='1.0' encoding='UTF-8' standalone='yes'?>
<Relationships xmlns="http://schemas.openxmlformats.org/package/2006/relationships"><Relationship Id="rId1" Type="http://schemas.openxmlformats.org/officeDocument/2006/relationships/themeOverride" Target="../theme/themeOverride4146.xml"/><Relationship Id="rId2" Type="http://schemas.openxmlformats.org/officeDocument/2006/relationships/package" Target="../embeddings/Microsoft_Excel_Worksheet4199.xlsx"/></Relationships>
</file>

<file path=ppt/charts/_rels/chart4201.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4200.xlsx"/></Relationships>
</file>

<file path=ppt/charts/_rels/chart4202.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4201.xlsx"/></Relationships>
</file>

<file path=ppt/charts/_rels/chart4203.xml.rels><?xml version='1.0' encoding='UTF-8' standalone='yes'?>
<Relationships xmlns="http://schemas.openxmlformats.org/package/2006/relationships"><Relationship Id="rId1" Type="http://schemas.openxmlformats.org/officeDocument/2006/relationships/themeOverride" Target="../theme/themeOverride4147.xml"/><Relationship Id="rId2" Type="http://schemas.openxmlformats.org/officeDocument/2006/relationships/package" Target="../embeddings/Microsoft_Excel_Worksheet4202.xlsx"/></Relationships>
</file>

<file path=ppt/charts/_rels/chart4204.xml.rels><?xml version='1.0' encoding='UTF-8' standalone='yes'?>
<Relationships xmlns="http://schemas.openxmlformats.org/package/2006/relationships"><Relationship Id="rId1" Type="http://schemas.openxmlformats.org/officeDocument/2006/relationships/themeOverride" Target="../theme/themeOverride4148.xml"/><Relationship Id="rId2" Type="http://schemas.openxmlformats.org/officeDocument/2006/relationships/package" Target="../embeddings/Microsoft_Excel_Worksheet4203.xlsx"/></Relationships>
</file>

<file path=ppt/charts/_rels/chart4205.xml.rels><?xml version='1.0' encoding='UTF-8' standalone='yes'?>
<Relationships xmlns="http://schemas.openxmlformats.org/package/2006/relationships"><Relationship Id="rId1" Type="http://schemas.openxmlformats.org/officeDocument/2006/relationships/themeOverride" Target="../theme/themeOverride4149.xml"/><Relationship Id="rId2" Type="http://schemas.openxmlformats.org/officeDocument/2006/relationships/package" Target="../embeddings/Microsoft_Excel_Worksheet4204.xlsx"/></Relationships>
</file>

<file path=ppt/charts/_rels/chart4206.xml.rels><?xml version='1.0' encoding='UTF-8' standalone='yes'?>
<Relationships xmlns="http://schemas.openxmlformats.org/package/2006/relationships"><Relationship Id="rId1" Type="http://schemas.openxmlformats.org/officeDocument/2006/relationships/themeOverride" Target="../theme/themeOverride4150.xml"/><Relationship Id="rId2" Type="http://schemas.openxmlformats.org/officeDocument/2006/relationships/package" Target="../embeddings/Microsoft_Excel_Worksheet4205.xlsx"/></Relationships>
</file>

<file path=ppt/charts/_rels/chart420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4206.xlsx"/></Relationships>
</file>

<file path=ppt/charts/_rels/chart420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4207.xlsx"/></Relationships>
</file>

<file path=ppt/charts/_rels/chart4239.xml.rels><?xml version='1.0' encoding='UTF-8' standalone='yes'?>
<Relationships xmlns="http://schemas.openxmlformats.org/package/2006/relationships"><Relationship Id="rId1" Type="http://schemas.openxmlformats.org/officeDocument/2006/relationships/themeOverride" Target="../theme/themeOverride4171.xml"/><Relationship Id="rId2" Type="http://schemas.openxmlformats.org/officeDocument/2006/relationships/package" Target="../embeddings/Microsoft_Excel_Worksheet4238.xlsx"/></Relationships>
</file>

<file path=ppt/charts/_rels/chart4240.xml.rels><?xml version='1.0' encoding='UTF-8' standalone='yes'?>
<Relationships xmlns="http://schemas.openxmlformats.org/package/2006/relationships"><Relationship Id="rId1" Type="http://schemas.openxmlformats.org/officeDocument/2006/relationships/themeOverride" Target="../theme/themeOverride4172.xml"/><Relationship Id="rId2" Type="http://schemas.openxmlformats.org/officeDocument/2006/relationships/package" Target="../embeddings/Microsoft_Excel_Worksheet4239.xlsx"/></Relationships>
</file>

<file path=ppt/charts/_rels/chart4241.xml.rels><?xml version='1.0' encoding='UTF-8' standalone='yes'?>
<Relationships xmlns="http://schemas.openxmlformats.org/package/2006/relationships"><Relationship Id="rId1" Type="http://schemas.openxmlformats.org/officeDocument/2006/relationships/themeOverride" Target="../theme/themeOverride4173.xml"/><Relationship Id="rId2" Type="http://schemas.openxmlformats.org/officeDocument/2006/relationships/package" Target="../embeddings/Microsoft_Excel_Worksheet4240.xlsx"/></Relationships>
</file>

<file path=ppt/charts/_rels/chart4242.xml.rels><?xml version='1.0' encoding='UTF-8' standalone='yes'?>
<Relationships xmlns="http://schemas.openxmlformats.org/package/2006/relationships"><Relationship Id="rId1" Type="http://schemas.openxmlformats.org/officeDocument/2006/relationships/themeOverride" Target="../theme/themeOverride4174.xml"/><Relationship Id="rId2" Type="http://schemas.openxmlformats.org/officeDocument/2006/relationships/package" Target="../embeddings/Microsoft_Excel_Worksheet4241.xlsx"/></Relationships>
</file>

<file path=ppt/charts/_rels/chart4243.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4242.xlsx"/></Relationships>
</file>

<file path=ppt/charts/_rels/chart4244.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4243.xlsx"/></Relationships>
</file>

<file path=ppt/charts/_rels/chart4245.xml.rels><?xml version='1.0' encoding='UTF-8' standalone='yes'?>
<Relationships xmlns="http://schemas.openxmlformats.org/package/2006/relationships"><Relationship Id="rId1" Type="http://schemas.openxmlformats.org/officeDocument/2006/relationships/themeOverride" Target="../theme/themeOverride4175.xml"/><Relationship Id="rId2" Type="http://schemas.openxmlformats.org/officeDocument/2006/relationships/package" Target="../embeddings/Microsoft_Excel_Worksheet4244.xlsx"/></Relationships>
</file>

<file path=ppt/charts/_rels/chart4246.xml.rels><?xml version='1.0' encoding='UTF-8' standalone='yes'?>
<Relationships xmlns="http://schemas.openxmlformats.org/package/2006/relationships"><Relationship Id="rId1" Type="http://schemas.openxmlformats.org/officeDocument/2006/relationships/themeOverride" Target="../theme/themeOverride4176.xml"/><Relationship Id="rId2" Type="http://schemas.openxmlformats.org/officeDocument/2006/relationships/package" Target="../embeddings/Microsoft_Excel_Worksheet4245.xlsx"/></Relationships>
</file>

<file path=ppt/charts/_rels/chart4247.xml.rels><?xml version='1.0' encoding='UTF-8' standalone='yes'?>
<Relationships xmlns="http://schemas.openxmlformats.org/package/2006/relationships"><Relationship Id="rId1" Type="http://schemas.openxmlformats.org/officeDocument/2006/relationships/themeOverride" Target="../theme/themeOverride4177.xml"/><Relationship Id="rId2" Type="http://schemas.openxmlformats.org/officeDocument/2006/relationships/package" Target="../embeddings/Microsoft_Excel_Worksheet4246.xlsx"/></Relationships>
</file>

<file path=ppt/charts/_rels/chart4248.xml.rels><?xml version='1.0' encoding='UTF-8' standalone='yes'?>
<Relationships xmlns="http://schemas.openxmlformats.org/package/2006/relationships"><Relationship Id="rId1" Type="http://schemas.openxmlformats.org/officeDocument/2006/relationships/themeOverride" Target="../theme/themeOverride4178.xml"/><Relationship Id="rId2" Type="http://schemas.openxmlformats.org/officeDocument/2006/relationships/package" Target="../embeddings/Microsoft_Excel_Worksheet4247.xlsx"/></Relationships>
</file>

<file path=ppt/charts/_rels/chart4249.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4248.xlsx"/></Relationships>
</file>

<file path=ppt/charts/_rels/chart4250.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4249.xlsx"/></Relationships>
</file>

<file path=ppt/charts/_rels/chart4263.xml.rels><?xml version='1.0' encoding='UTF-8' standalone='yes'?>
<Relationships xmlns="http://schemas.openxmlformats.org/package/2006/relationships"><Relationship Id="rId1" Type="http://schemas.openxmlformats.org/officeDocument/2006/relationships/themeOverride" Target="../theme/themeOverride4187.xml"/><Relationship Id="rId2" Type="http://schemas.openxmlformats.org/officeDocument/2006/relationships/package" Target="../embeddings/Microsoft_Excel_Worksheet4262.xlsx"/></Relationships>
</file>

<file path=ppt/charts/_rels/chart4264.xml.rels><?xml version='1.0' encoding='UTF-8' standalone='yes'?>
<Relationships xmlns="http://schemas.openxmlformats.org/package/2006/relationships"><Relationship Id="rId1" Type="http://schemas.openxmlformats.org/officeDocument/2006/relationships/themeOverride" Target="../theme/themeOverride4188.xml"/><Relationship Id="rId2" Type="http://schemas.openxmlformats.org/officeDocument/2006/relationships/package" Target="../embeddings/Microsoft_Excel_Worksheet4263.xlsx"/></Relationships>
</file>

<file path=ppt/charts/_rels/chart4265.xml.rels><?xml version='1.0' encoding='UTF-8' standalone='yes'?>
<Relationships xmlns="http://schemas.openxmlformats.org/package/2006/relationships"><Relationship Id="rId1" Type="http://schemas.openxmlformats.org/officeDocument/2006/relationships/themeOverride" Target="../theme/themeOverride4189.xml"/><Relationship Id="rId2" Type="http://schemas.openxmlformats.org/officeDocument/2006/relationships/package" Target="../embeddings/Microsoft_Excel_Worksheet4264.xlsx"/></Relationships>
</file>

<file path=ppt/charts/_rels/chart4266.xml.rels><?xml version='1.0' encoding='UTF-8' standalone='yes'?>
<Relationships xmlns="http://schemas.openxmlformats.org/package/2006/relationships"><Relationship Id="rId1" Type="http://schemas.openxmlformats.org/officeDocument/2006/relationships/themeOverride" Target="../theme/themeOverride4190.xml"/><Relationship Id="rId2" Type="http://schemas.openxmlformats.org/officeDocument/2006/relationships/package" Target="../embeddings/Microsoft_Excel_Worksheet4265.xlsx"/></Relationships>
</file>

<file path=ppt/charts/_rels/chart426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4266.xlsx"/></Relationships>
</file>

<file path=ppt/charts/_rels/chart426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4267.xlsx"/></Relationships>
</file>

<file path=ppt/charts/_rels/chart43.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42.xlsx"/></Relationships>
</file>

<file path=ppt/charts/_rels/chart4305.xml.rels><?xml version='1.0' encoding='UTF-8' standalone='yes'?>
<Relationships xmlns="http://schemas.openxmlformats.org/package/2006/relationships"><Relationship Id="rId1" Type="http://schemas.openxmlformats.org/officeDocument/2006/relationships/themeOverride" Target="../theme/themeOverride4215.xml"/><Relationship Id="rId2" Type="http://schemas.openxmlformats.org/officeDocument/2006/relationships/package" Target="../embeddings/Microsoft_Excel_Worksheet4304.xlsx"/></Relationships>
</file>

<file path=ppt/charts/_rels/chart4306.xml.rels><?xml version='1.0' encoding='UTF-8' standalone='yes'?>
<Relationships xmlns="http://schemas.openxmlformats.org/package/2006/relationships"><Relationship Id="rId1" Type="http://schemas.openxmlformats.org/officeDocument/2006/relationships/themeOverride" Target="../theme/themeOverride4216.xml"/><Relationship Id="rId2" Type="http://schemas.openxmlformats.org/officeDocument/2006/relationships/package" Target="../embeddings/Microsoft_Excel_Worksheet4305.xlsx"/></Relationships>
</file>

<file path=ppt/charts/_rels/chart4307.xml.rels><?xml version='1.0' encoding='UTF-8' standalone='yes'?>
<Relationships xmlns="http://schemas.openxmlformats.org/package/2006/relationships"><Relationship Id="rId1" Type="http://schemas.openxmlformats.org/officeDocument/2006/relationships/themeOverride" Target="../theme/themeOverride4217.xml"/><Relationship Id="rId2" Type="http://schemas.openxmlformats.org/officeDocument/2006/relationships/package" Target="../embeddings/Microsoft_Excel_Worksheet4306.xlsx"/></Relationships>
</file>

<file path=ppt/charts/_rels/chart4308.xml.rels><?xml version='1.0' encoding='UTF-8' standalone='yes'?>
<Relationships xmlns="http://schemas.openxmlformats.org/package/2006/relationships"><Relationship Id="rId1" Type="http://schemas.openxmlformats.org/officeDocument/2006/relationships/themeOverride" Target="../theme/themeOverride4218.xml"/><Relationship Id="rId2" Type="http://schemas.openxmlformats.org/officeDocument/2006/relationships/package" Target="../embeddings/Microsoft_Excel_Worksheet4307.xlsx"/></Relationships>
</file>

<file path=ppt/charts/_rels/chart4309.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4308.xlsx"/></Relationships>
</file>

<file path=ppt/charts/_rels/chart4310.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4309.xlsx"/></Relationships>
</file>

<file path=ppt/charts/_rels/chart4325.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4324.xlsx"/></Relationships>
</file>

<file path=ppt/charts/_rels/chart4331.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4330.xlsx"/></Relationships>
</file>

<file path=ppt/charts/_rels/chart4332.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4331.xlsx"/></Relationships>
</file>

<file path=ppt/charts/_rels/chart4341.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4340.xlsx"/></Relationships>
</file>

<file path=ppt/charts/_rels/chart4345.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4344.xlsx"/></Relationships>
</file>

<file path=ppt/charts/_rels/chart4348.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4347.xlsx"/></Relationships>
</file>

<file path=ppt/charts/_rels/chart4356.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4355.xlsx"/></Relationships>
</file>

<file path=ppt/charts/_rels/chart4357.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4356.xlsx"/></Relationships>
</file>

<file path=ppt/charts/_rels/chart4358.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4357.xlsx"/></Relationships>
</file>

<file path=ppt/charts/_rels/chart4363.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4362.xlsx"/></Relationships>
</file>

<file path=ppt/charts/_rels/chart4367.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4366.xlsx"/></Relationships>
</file>

<file path=ppt/charts/_rels/chart4369.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4368.xlsx"/></Relationships>
</file>

<file path=ppt/charts/_rels/chart4370.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4369.xlsx"/></Relationships>
</file>

<file path=ppt/charts/_rels/chart4385.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4384.xlsx"/></Relationships>
</file>

<file path=ppt/charts/_rels/chart4392.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4391.xlsx"/></Relationships>
</file>

<file path=ppt/charts/_rels/chart4398.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4397.xlsx"/></Relationships>
</file>

<file path=ppt/charts/_rels/chart4399.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4398.xlsx"/></Relationships>
</file>

<file path=ppt/charts/_rels/chart44.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43.xlsx"/></Relationships>
</file>

<file path=ppt/charts/_rels/chart4407.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4406.xlsx"/></Relationships>
</file>

<file path=ppt/charts/_rels/chart4409.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4408.xlsx"/></Relationships>
</file>

<file path=ppt/charts/_rels/chart441.xml.rels><?xml version='1.0' encoding='UTF-8' standalone='yes'?>
<Relationships xmlns="http://schemas.openxmlformats.org/package/2006/relationships"><Relationship Id="rId1" Type="http://schemas.openxmlformats.org/officeDocument/2006/relationships/themeOverride" Target="../theme/themeOverride441.xml"/><Relationship Id="rId2" Type="http://schemas.openxmlformats.org/officeDocument/2006/relationships/package" Target="../embeddings/Microsoft_Excel_Worksheet440.xlsx"/></Relationships>
</file>

<file path=ppt/charts/_rels/chart4414.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4413.xlsx"/></Relationships>
</file>

<file path=ppt/charts/_rels/chart442.xml.rels><?xml version='1.0' encoding='UTF-8' standalone='yes'?>
<Relationships xmlns="http://schemas.openxmlformats.org/package/2006/relationships"><Relationship Id="rId1" Type="http://schemas.openxmlformats.org/officeDocument/2006/relationships/themeOverride" Target="../theme/themeOverride442.xml"/><Relationship Id="rId2"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themeOverride" Target="../theme/themeOverride443.xml"/><Relationship Id="rId2"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themeOverride" Target="../theme/themeOverride444.xml"/><Relationship Id="rId2"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themeOverride" Target="../theme/themeOverride445.xml"/><Relationship Id="rId2" Type="http://schemas.openxmlformats.org/officeDocument/2006/relationships/package" Target="../embeddings/Microsoft_Excel_Worksheet444.xlsx"/></Relationships>
</file>

<file path=ppt/charts/_rels/chart45.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45.xlsx"/></Relationships>
</file>

<file path=ppt/charts/_rels/chart461.xml.rels><?xml version='1.0' encoding='UTF-8' standalone='yes'?>
<Relationships xmlns="http://schemas.openxmlformats.org/package/2006/relationships"><Relationship Id="rId1" Type="http://schemas.openxmlformats.org/officeDocument/2006/relationships/themeOverride" Target="../theme/themeOverride461.xml"/><Relationship Id="rId2"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themeOverride" Target="../theme/themeOverride462.xml"/><Relationship Id="rId2"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themeOverride" Target="../theme/themeOverride463.xml"/><Relationship Id="rId2"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themeOverride" Target="../theme/themeOverride464.xml"/><Relationship Id="rId2"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themeOverride" Target="../theme/themeOverride465.xml"/><Relationship Id="rId2" Type="http://schemas.openxmlformats.org/officeDocument/2006/relationships/package" Target="../embeddings/Microsoft_Excel_Worksheet464.xlsx"/></Relationships>
</file>

<file path=ppt/charts/_rels/chart47.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46.xlsx"/></Relationships>
</file>

<file path=ppt/charts/_rels/chart476.xml.rels><?xml version='1.0' encoding='UTF-8' standalone='yes'?>
<Relationships xmlns="http://schemas.openxmlformats.org/package/2006/relationships"><Relationship Id="rId1" Type="http://schemas.openxmlformats.org/officeDocument/2006/relationships/themeOverride" Target="../theme/themeOverride476.xml"/><Relationship Id="rId2"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themeOverride" Target="../theme/themeOverride477.xml"/><Relationship Id="rId2"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themeOverride" Target="../theme/themeOverride478.xml"/><Relationship Id="rId2"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themeOverride" Target="../theme/themeOverride479.xml"/><Relationship Id="rId2"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themeOverride" Target="../theme/themeOverride480.xml"/><Relationship Id="rId2" Type="http://schemas.openxmlformats.org/officeDocument/2006/relationships/package" Target="../embeddings/Microsoft_Excel_Worksheet479.xlsx"/></Relationships>
</file>

<file path=ppt/charts/_rels/chart49.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48.xlsx"/></Relationships>
</file>

<file path=ppt/charts/_rels/chart50.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49.xlsx"/></Relationships>
</file>

<file path=ppt/charts/_rels/chart501.xml.rels><?xml version='1.0' encoding='UTF-8' standalone='yes'?>
<Relationships xmlns="http://schemas.openxmlformats.org/package/2006/relationships"><Relationship Id="rId1" Type="http://schemas.openxmlformats.org/officeDocument/2006/relationships/themeOverride" Target="../theme/themeOverride501.xml"/><Relationship Id="rId2"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themeOverride" Target="../theme/themeOverride502.xml"/><Relationship Id="rId2"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themeOverride" Target="../theme/themeOverride503.xml"/><Relationship Id="rId2"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themeOverride" Target="../theme/themeOverride504.xml"/><Relationship Id="rId2"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themeOverride" Target="../theme/themeOverride505.xml"/><Relationship Id="rId2" Type="http://schemas.openxmlformats.org/officeDocument/2006/relationships/package" Target="../embeddings/Microsoft_Excel_Worksheet504.xlsx"/></Relationships>
</file>

<file path=ppt/charts/_rels/chart521.xml.rels><?xml version='1.0' encoding='UTF-8' standalone='yes'?>
<Relationships xmlns="http://schemas.openxmlformats.org/package/2006/relationships"><Relationship Id="rId1" Type="http://schemas.openxmlformats.org/officeDocument/2006/relationships/themeOverride" Target="../theme/themeOverride521.xml"/><Relationship Id="rId2"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themeOverride" Target="../theme/themeOverride522.xml"/><Relationship Id="rId2"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themeOverride" Target="../theme/themeOverride523.xml"/><Relationship Id="rId2"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themeOverride" Target="../theme/themeOverride524.xml"/><Relationship Id="rId2"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themeOverride" Target="../theme/themeOverride525.xml"/><Relationship Id="rId2" Type="http://schemas.openxmlformats.org/officeDocument/2006/relationships/package" Target="../embeddings/Microsoft_Excel_Worksheet524.xlsx"/></Relationships>
</file>

<file path=ppt/charts/_rels/chart536.xml.rels><?xml version='1.0' encoding='UTF-8' standalone='yes'?>
<Relationships xmlns="http://schemas.openxmlformats.org/package/2006/relationships"><Relationship Id="rId1" Type="http://schemas.openxmlformats.org/officeDocument/2006/relationships/themeOverride" Target="../theme/themeOverride536.xml"/><Relationship Id="rId2"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themeOverride" Target="../theme/themeOverride537.xml"/><Relationship Id="rId2"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themeOverride" Target="../theme/themeOverride538.xml"/><Relationship Id="rId2"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themeOverride" Target="../theme/themeOverride539.xml"/><Relationship Id="rId2" Type="http://schemas.openxmlformats.org/officeDocument/2006/relationships/package" Target="../embeddings/Microsoft_Excel_Worksheet538.xlsx"/></Relationships>
</file>

<file path=ppt/charts/_rels/chart540.xml.rels><?xml version='1.0' encoding='UTF-8' standalone='yes'?>
<Relationships xmlns="http://schemas.openxmlformats.org/package/2006/relationships"><Relationship Id="rId1" Type="http://schemas.openxmlformats.org/officeDocument/2006/relationships/themeOverride" Target="../theme/themeOverride540.xml"/><Relationship Id="rId2" Type="http://schemas.openxmlformats.org/officeDocument/2006/relationships/package" Target="../embeddings/Microsoft_Excel_Worksheet539.xlsx"/></Relationships>
</file>

<file path=ppt/charts/_rels/chart6.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5.xlsx"/></Relationships>
</file>

<file path=ppt/charts/_rels/chart611.xml.rels><?xml version='1.0' encoding='UTF-8' standalone='yes'?>
<Relationships xmlns="http://schemas.openxmlformats.org/package/2006/relationships"><Relationship Id="rId1" Type="http://schemas.openxmlformats.org/officeDocument/2006/relationships/themeOverride" Target="../theme/themeOverride611.xml"/><Relationship Id="rId2"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themeOverride" Target="../theme/themeOverride612.xml"/><Relationship Id="rId2"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themeOverride" Target="../theme/themeOverride613.xml"/><Relationship Id="rId2"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themeOverride" Target="../theme/themeOverride614.xml"/><Relationship Id="rId2"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themeOverride" Target="../theme/themeOverride615.xml"/><Relationship Id="rId2"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themeOverride" Target="../theme/themeOverride616.xml"/><Relationship Id="rId2"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themeOverride" Target="../theme/themeOverride617.xml"/><Relationship Id="rId2"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themeOverride" Target="../theme/themeOverride618.xml"/><Relationship Id="rId2"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themeOverride" Target="../theme/themeOverride619.xml"/><Relationship Id="rId2" Type="http://schemas.openxmlformats.org/officeDocument/2006/relationships/package" Target="../embeddings/Microsoft_Excel_Worksheet618.xlsx"/></Relationships>
</file>

<file path=ppt/charts/_rels/chart620.xml.rels><?xml version='1.0' encoding='UTF-8' standalone='yes'?>
<Relationships xmlns="http://schemas.openxmlformats.org/package/2006/relationships"><Relationship Id="rId1" Type="http://schemas.openxmlformats.org/officeDocument/2006/relationships/themeOverride" Target="../theme/themeOverride620.xml"/><Relationship Id="rId2" Type="http://schemas.openxmlformats.org/officeDocument/2006/relationships/package" Target="../embeddings/Microsoft_Excel_Worksheet619.xlsx"/></Relationships>
</file>

<file path=ppt/charts/_rels/chart646.xml.rels><?xml version='1.0' encoding='UTF-8' standalone='yes'?>
<Relationships xmlns="http://schemas.openxmlformats.org/package/2006/relationships"><Relationship Id="rId1" Type="http://schemas.openxmlformats.org/officeDocument/2006/relationships/themeOverride" Target="../theme/themeOverride646.xml"/><Relationship Id="rId2"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themeOverride" Target="../theme/themeOverride647.xml"/><Relationship Id="rId2"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themeOverride" Target="../theme/themeOverride648.xml"/><Relationship Id="rId2"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themeOverride" Target="../theme/themeOverride649.xml"/><Relationship Id="rId2" Type="http://schemas.openxmlformats.org/officeDocument/2006/relationships/package" Target="../embeddings/Microsoft_Excel_Worksheet648.xlsx"/></Relationships>
</file>

<file path=ppt/charts/_rels/chart650.xml.rels><?xml version='1.0' encoding='UTF-8' standalone='yes'?>
<Relationships xmlns="http://schemas.openxmlformats.org/package/2006/relationships"><Relationship Id="rId1" Type="http://schemas.openxmlformats.org/officeDocument/2006/relationships/themeOverride" Target="../theme/themeOverride650.xml"/><Relationship Id="rId2" Type="http://schemas.openxmlformats.org/officeDocument/2006/relationships/package" Target="../embeddings/Microsoft_Excel_Worksheet649.xlsx"/></Relationships>
</file>

<file path=ppt/charts/_rels/chart666.xml.rels><?xml version='1.0' encoding='UTF-8' standalone='yes'?>
<Relationships xmlns="http://schemas.openxmlformats.org/package/2006/relationships"><Relationship Id="rId1" Type="http://schemas.openxmlformats.org/officeDocument/2006/relationships/themeOverride" Target="../theme/themeOverride666.xml"/><Relationship Id="rId2"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themeOverride" Target="../theme/themeOverride667.xml"/><Relationship Id="rId2"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themeOverride" Target="../theme/themeOverride668.xml"/><Relationship Id="rId2"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themeOverride" Target="../theme/themeOverride669.xml"/><Relationship Id="rId2" Type="http://schemas.openxmlformats.org/officeDocument/2006/relationships/package" Target="../embeddings/Microsoft_Excel_Worksheet668.xlsx"/></Relationships>
</file>

<file path=ppt/charts/_rels/chart670.xml.rels><?xml version='1.0' encoding='UTF-8' standalone='yes'?>
<Relationships xmlns="http://schemas.openxmlformats.org/package/2006/relationships"><Relationship Id="rId1" Type="http://schemas.openxmlformats.org/officeDocument/2006/relationships/themeOverride" Target="../theme/themeOverride670.xml"/><Relationship Id="rId2" Type="http://schemas.openxmlformats.org/officeDocument/2006/relationships/package" Target="../embeddings/Microsoft_Excel_Worksheet669.xlsx"/></Relationships>
</file>

<file path=ppt/charts/_rels/chart676.xml.rels><?xml version='1.0' encoding='UTF-8' standalone='yes'?>
<Relationships xmlns="http://schemas.openxmlformats.org/package/2006/relationships"><Relationship Id="rId1" Type="http://schemas.openxmlformats.org/officeDocument/2006/relationships/themeOverride" Target="../theme/themeOverride676.xml"/><Relationship Id="rId2"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themeOverride" Target="../theme/themeOverride677.xml"/><Relationship Id="rId2"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themeOverride" Target="../theme/themeOverride678.xml"/><Relationship Id="rId2"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themeOverride" Target="../theme/themeOverride679.xml"/><Relationship Id="rId2" Type="http://schemas.openxmlformats.org/officeDocument/2006/relationships/package" Target="../embeddings/Microsoft_Excel_Worksheet678.xlsx"/></Relationships>
</file>

<file path=ppt/charts/_rels/chart680.xml.rels><?xml version='1.0' encoding='UTF-8' standalone='yes'?>
<Relationships xmlns="http://schemas.openxmlformats.org/package/2006/relationships"><Relationship Id="rId1" Type="http://schemas.openxmlformats.org/officeDocument/2006/relationships/themeOverride" Target="../theme/themeOverride680.xml"/><Relationship Id="rId2"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themeOverride" Target="../theme/themeOverride681.xml"/><Relationship Id="rId2"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themeOverride" Target="../theme/themeOverride682.xml"/><Relationship Id="rId2"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themeOverride" Target="../theme/themeOverride683.xml"/><Relationship Id="rId2"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themeOverride" Target="../theme/themeOverride684.xml"/><Relationship Id="rId2"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themeOverride" Target="../theme/themeOverride685.xml"/><Relationship Id="rId2" Type="http://schemas.openxmlformats.org/officeDocument/2006/relationships/package" Target="../embeddings/Microsoft_Excel_Worksheet684.xlsx"/></Relationships>
</file>

<file path=ppt/charts/_rels/chart7.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6.xlsx"/></Relationships>
</file>

<file path=ppt/charts/_rels/chart721.xml.rels><?xml version='1.0' encoding='UTF-8' standalone='yes'?>
<Relationships xmlns="http://schemas.openxmlformats.org/package/2006/relationships"><Relationship Id="rId1" Type="http://schemas.openxmlformats.org/officeDocument/2006/relationships/themeOverride" Target="../theme/themeOverride721.xml"/><Relationship Id="rId2"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themeOverride" Target="../theme/themeOverride722.xml"/><Relationship Id="rId2"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themeOverride" Target="../theme/themeOverride723.xml"/><Relationship Id="rId2"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themeOverride" Target="../theme/themeOverride724.xml"/><Relationship Id="rId2"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themeOverride" Target="../theme/themeOverride725.xml"/><Relationship Id="rId2" Type="http://schemas.openxmlformats.org/officeDocument/2006/relationships/package" Target="../embeddings/Microsoft_Excel_Worksheet724.xlsx"/></Relationships>
</file>

<file path=ppt/charts/_rels/chart731.xml.rels><?xml version='1.0' encoding='UTF-8' standalone='yes'?>
<Relationships xmlns="http://schemas.openxmlformats.org/package/2006/relationships"><Relationship Id="rId1" Type="http://schemas.openxmlformats.org/officeDocument/2006/relationships/themeOverride" Target="../theme/themeOverride731.xml"/><Relationship Id="rId2"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themeOverride" Target="../theme/themeOverride732.xml"/><Relationship Id="rId2"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themeOverride" Target="../theme/themeOverride733.xml"/><Relationship Id="rId2"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themeOverride" Target="../theme/themeOverride734.xml"/><Relationship Id="rId2"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themeOverride" Target="../theme/themeOverride735.xml"/><Relationship Id="rId2" Type="http://schemas.openxmlformats.org/officeDocument/2006/relationships/package" Target="../embeddings/Microsoft_Excel_Worksheet734.xlsx"/></Relationships>
</file>

<file path=ppt/charts/_rels/chart756.xml.rels><?xml version='1.0' encoding='UTF-8' standalone='yes'?>
<Relationships xmlns="http://schemas.openxmlformats.org/package/2006/relationships"><Relationship Id="rId1" Type="http://schemas.openxmlformats.org/officeDocument/2006/relationships/themeOverride" Target="../theme/themeOverride756.xml"/><Relationship Id="rId2"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themeOverride" Target="../theme/themeOverride757.xml"/><Relationship Id="rId2"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themeOverride" Target="../theme/themeOverride758.xml"/><Relationship Id="rId2"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themeOverride" Target="../theme/themeOverride759.xml"/><Relationship Id="rId2"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themeOverride" Target="../theme/themeOverride76.xml"/><Relationship Id="rId2"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themeOverride" Target="../theme/themeOverride760.xml"/><Relationship Id="rId2" Type="http://schemas.openxmlformats.org/officeDocument/2006/relationships/package" Target="../embeddings/Microsoft_Excel_Worksheet759.xlsx"/></Relationships>
</file>

<file path=ppt/charts/_rels/chart77.xml.rels><?xml version='1.0' encoding='UTF-8' standalone='yes'?>
<Relationships xmlns="http://schemas.openxmlformats.org/package/2006/relationships"><Relationship Id="rId1" Type="http://schemas.openxmlformats.org/officeDocument/2006/relationships/themeOverride" Target="../theme/themeOverride77.xml"/><Relationship Id="rId2"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themeOverride" Target="../theme/themeOverride78.xml"/><Relationship Id="rId2" Type="http://schemas.openxmlformats.org/officeDocument/2006/relationships/package" Target="../embeddings/Microsoft_Excel_Worksheet77.xlsx"/></Relationships>
</file>

<file path=ppt/charts/_rels/chart786.xml.rels><?xml version='1.0' encoding='UTF-8' standalone='yes'?>
<Relationships xmlns="http://schemas.openxmlformats.org/package/2006/relationships"><Relationship Id="rId1" Type="http://schemas.openxmlformats.org/officeDocument/2006/relationships/themeOverride" Target="../theme/themeOverride786.xml"/><Relationship Id="rId2"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themeOverride" Target="../theme/themeOverride787.xml"/><Relationship Id="rId2"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themeOverride" Target="../theme/themeOverride788.xml"/><Relationship Id="rId2"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themeOverride" Target="../theme/themeOverride789.xml"/><Relationship Id="rId2"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themeOverride" Target="../theme/themeOverride79.xml"/><Relationship Id="rId2"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themeOverride" Target="../theme/themeOverride790.xml"/><Relationship Id="rId2"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themeOverride" Target="../theme/themeOverride791.xml"/><Relationship Id="rId2"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themeOverride" Target="../theme/themeOverride792.xml"/><Relationship Id="rId2"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themeOverride" Target="../theme/themeOverride793.xml"/><Relationship Id="rId2"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themeOverride" Target="../theme/themeOverride794.xml"/><Relationship Id="rId2"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themeOverride" Target="../theme/themeOverride795.xml"/><Relationship Id="rId2" Type="http://schemas.openxmlformats.org/officeDocument/2006/relationships/package" Target="../embeddings/Microsoft_Excel_Worksheet794.xlsx"/></Relationships>
</file>

<file path=ppt/charts/_rels/chart8.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themeOverride" Target="../theme/themeOverride80.xml"/><Relationship Id="rId2"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themeOverride" Target="../theme/themeOverride81.xml"/><Relationship Id="rId2"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themeOverride" Target="../theme/themeOverride82.xml"/><Relationship Id="rId2" Type="http://schemas.openxmlformats.org/officeDocument/2006/relationships/package" Target="../embeddings/Microsoft_Excel_Worksheet81.xlsx"/></Relationships>
</file>

<file path=ppt/charts/_rels/chart826.xml.rels><?xml version='1.0' encoding='UTF-8' standalone='yes'?>
<Relationships xmlns="http://schemas.openxmlformats.org/package/2006/relationships"><Relationship Id="rId1" Type="http://schemas.openxmlformats.org/officeDocument/2006/relationships/themeOverride" Target="../theme/themeOverride826.xml"/><Relationship Id="rId2"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themeOverride" Target="../theme/themeOverride827.xml"/><Relationship Id="rId2"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themeOverride" Target="../theme/themeOverride828.xml"/><Relationship Id="rId2"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themeOverride" Target="../theme/themeOverride829.xml"/><Relationship Id="rId2"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themeOverride" Target="../theme/themeOverride83.xml"/><Relationship Id="rId2"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themeOverride" Target="../theme/themeOverride830.xml"/><Relationship Id="rId2" Type="http://schemas.openxmlformats.org/officeDocument/2006/relationships/package" Target="../embeddings/Microsoft_Excel_Worksheet829.xlsx"/></Relationships>
</file>

<file path=ppt/charts/_rels/chart84.xml.rels><?xml version='1.0' encoding='UTF-8' standalone='yes'?>
<Relationships xmlns="http://schemas.openxmlformats.org/package/2006/relationships"><Relationship Id="rId1" Type="http://schemas.openxmlformats.org/officeDocument/2006/relationships/themeOverride" Target="../theme/themeOverride84.xml"/><Relationship Id="rId2" Type="http://schemas.openxmlformats.org/officeDocument/2006/relationships/package" Target="../embeddings/Microsoft_Excel_Worksheet83.xlsx"/></Relationships>
</file>

<file path=ppt/charts/_rels/chart841.xml.rels><?xml version='1.0' encoding='UTF-8' standalone='yes'?>
<Relationships xmlns="http://schemas.openxmlformats.org/package/2006/relationships"><Relationship Id="rId1" Type="http://schemas.openxmlformats.org/officeDocument/2006/relationships/themeOverride" Target="../theme/themeOverride841.xml"/><Relationship Id="rId2"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themeOverride" Target="../theme/themeOverride842.xml"/><Relationship Id="rId2"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themeOverride" Target="../theme/themeOverride843.xml"/><Relationship Id="rId2"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themeOverride" Target="../theme/themeOverride844.xml"/><Relationship Id="rId2"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themeOverride" Target="../theme/themeOverride845.xml"/><Relationship Id="rId2" Type="http://schemas.openxmlformats.org/officeDocument/2006/relationships/package" Target="../embeddings/Microsoft_Excel_Worksheet844.xlsx"/></Relationships>
</file>

<file path=ppt/charts/_rels/chart85.xml.rels><?xml version='1.0' encoding='UTF-8' standalone='yes'?>
<Relationships xmlns="http://schemas.openxmlformats.org/package/2006/relationships"><Relationship Id="rId1" Type="http://schemas.openxmlformats.org/officeDocument/2006/relationships/themeOverride" Target="../theme/themeOverride85.xml"/><Relationship Id="rId2" Type="http://schemas.openxmlformats.org/officeDocument/2006/relationships/package" Target="../embeddings/Microsoft_Excel_Worksheet84.xlsx"/></Relationships>
</file>

<file path=ppt/charts/_rels/chart866.xml.rels><?xml version='1.0' encoding='UTF-8' standalone='yes'?>
<Relationships xmlns="http://schemas.openxmlformats.org/package/2006/relationships"><Relationship Id="rId1" Type="http://schemas.openxmlformats.org/officeDocument/2006/relationships/themeOverride" Target="../theme/themeOverride866.xml"/><Relationship Id="rId2"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themeOverride" Target="../theme/themeOverride867.xml"/><Relationship Id="rId2"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themeOverride" Target="../theme/themeOverride868.xml"/><Relationship Id="rId2"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themeOverride" Target="../theme/themeOverride869.xml"/><Relationship Id="rId2" Type="http://schemas.openxmlformats.org/officeDocument/2006/relationships/package" Target="../embeddings/Microsoft_Excel_Worksheet868.xlsx"/></Relationships>
</file>

<file path=ppt/charts/_rels/chart870.xml.rels><?xml version='1.0' encoding='UTF-8' standalone='yes'?>
<Relationships xmlns="http://schemas.openxmlformats.org/package/2006/relationships"><Relationship Id="rId1" Type="http://schemas.openxmlformats.org/officeDocument/2006/relationships/themeOverride" Target="../theme/themeOverride870.xml"/><Relationship Id="rId2" Type="http://schemas.openxmlformats.org/officeDocument/2006/relationships/package" Target="../embeddings/Microsoft_Excel_Worksheet869.xlsx"/></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8.xlsx"/></Relationships>
</file>

<file path=ppt/charts/_rels/chart901.xml.rels><?xml version='1.0' encoding='UTF-8' standalone='yes'?>
<Relationships xmlns="http://schemas.openxmlformats.org/package/2006/relationships"><Relationship Id="rId1" Type="http://schemas.openxmlformats.org/officeDocument/2006/relationships/themeOverride" Target="../theme/themeOverride901.xml"/><Relationship Id="rId2"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themeOverride" Target="../theme/themeOverride902.xml"/><Relationship Id="rId2"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themeOverride" Target="../theme/themeOverride903.xml"/><Relationship Id="rId2"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themeOverride" Target="../theme/themeOverride904.xml"/><Relationship Id="rId2"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themeOverride" Target="../theme/themeOverride905.xml"/><Relationship Id="rId2" Type="http://schemas.openxmlformats.org/officeDocument/2006/relationships/package" Target="../embeddings/Microsoft_Excel_Worksheet904.xlsx"/></Relationships>
</file>

<file path=ppt/charts/_rels/chart931.xml.rels><?xml version='1.0' encoding='UTF-8' standalone='yes'?>
<Relationships xmlns="http://schemas.openxmlformats.org/package/2006/relationships"><Relationship Id="rId1" Type="http://schemas.openxmlformats.org/officeDocument/2006/relationships/themeOverride" Target="../theme/themeOverride931.xml"/><Relationship Id="rId2"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themeOverride" Target="../theme/themeOverride932.xml"/><Relationship Id="rId2"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themeOverride" Target="../theme/themeOverride933.xml"/><Relationship Id="rId2"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themeOverride" Target="../theme/themeOverride934.xml"/><Relationship Id="rId2"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themeOverride" Target="../theme/themeOverride935.xml"/><Relationship Id="rId2"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themeOverride" Target="../theme/themeOverride936.xml"/><Relationship Id="rId2"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themeOverride" Target="../theme/themeOverride937.xml"/><Relationship Id="rId2"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themeOverride" Target="../theme/themeOverride938.xml"/><Relationship Id="rId2"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themeOverride" Target="../theme/themeOverride939.xml"/><Relationship Id="rId2" Type="http://schemas.openxmlformats.org/officeDocument/2006/relationships/package" Target="../embeddings/Microsoft_Excel_Worksheet938.xlsx"/></Relationships>
</file>

<file path=ppt/charts/_rels/chart940.xml.rels><?xml version='1.0' encoding='UTF-8' standalone='yes'?>
<Relationships xmlns="http://schemas.openxmlformats.org/package/2006/relationships"><Relationship Id="rId1" Type="http://schemas.openxmlformats.org/officeDocument/2006/relationships/themeOverride" Target="../theme/themeOverride940.xml"/><Relationship Id="rId2" Type="http://schemas.openxmlformats.org/officeDocument/2006/relationships/package" Target="../embeddings/Microsoft_Excel_Worksheet939.xlsx"/></Relationships>
</file>

<file path=ppt/charts/_rels/chart96.xml.rels><?xml version='1.0' encoding='UTF-8' standalone='yes'?>
<Relationships xmlns="http://schemas.openxmlformats.org/package/2006/relationships"><Relationship Id="rId1" Type="http://schemas.openxmlformats.org/officeDocument/2006/relationships/themeOverride" Target="../theme/themeOverride96.xml"/><Relationship Id="rId2"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themeOverride" Target="../theme/themeOverride97.xml"/><Relationship Id="rId2"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themeOverride" Target="../theme/themeOverride98.xml"/><Relationship Id="rId2" Type="http://schemas.openxmlformats.org/officeDocument/2006/relationships/package" Target="../embeddings/Microsoft_Excel_Worksheet97.xlsx"/></Relationships>
</file>

<file path=ppt/charts/_rels/chart981.xml.rels><?xml version='1.0' encoding='UTF-8' standalone='yes'?>
<Relationships xmlns="http://schemas.openxmlformats.org/package/2006/relationships"><Relationship Id="rId1" Type="http://schemas.openxmlformats.org/officeDocument/2006/relationships/themeOverride" Target="../theme/themeOverride981.xml"/><Relationship Id="rId2"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themeOverride" Target="../theme/themeOverride982.xml"/><Relationship Id="rId2"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themeOverride" Target="../theme/themeOverride983.xml"/><Relationship Id="rId2"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themeOverride" Target="../theme/themeOverride984.xml"/><Relationship Id="rId2"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themeOverride" Target="../theme/themeOverride985.xml"/><Relationship Id="rId2" Type="http://schemas.openxmlformats.org/officeDocument/2006/relationships/package" Target="../embeddings/Microsoft_Excel_Worksheet984.xlsx"/></Relationships>
</file>

<file path=ppt/charts/_rels/chart99.xml.rels><?xml version='1.0' encoding='UTF-8' standalone='yes'?>
<Relationships xmlns="http://schemas.openxmlformats.org/package/2006/relationships"><Relationship Id="rId1" Type="http://schemas.openxmlformats.org/officeDocument/2006/relationships/themeOverride" Target="../theme/themeOverride99.xml"/><Relationship Id="rId2" Type="http://schemas.openxmlformats.org/officeDocument/2006/relationships/package" Target="../embeddings/Microsoft_Excel_Worksheet98.xlsx"/></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84863211490017</c:v>
                </c:pt>
                <c:pt idx="1">
                  <c:v>0.007432236990629629</c:v>
                </c:pt>
                <c:pt idx="2">
                  <c:v>-0.0037296067424231055</c:v>
                </c:pt>
                <c:pt idx="3">
                  <c:v>0.006798188371719617</c:v>
                </c:pt>
                <c:pt idx="4">
                  <c:v>-0.0003806446418643805</c:v>
                </c:pt>
                <c:pt idx="5">
                  <c:v>-0.0024217666730832477</c:v>
                </c:pt>
                <c:pt idx="6">
                  <c:v>-0.01016265559225063</c:v>
                </c:pt>
                <c:pt idx="7">
                  <c:v>-0.0021144023139371415</c:v>
                </c:pt>
                <c:pt idx="8">
                  <c:v>0.0015048349909172788</c:v>
                </c:pt>
                <c:pt idx="9">
                  <c:v>-0.01540928078791888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686365842805196</c:v>
                </c:pt>
                <c:pt idx="1">
                  <c:v>0.005481258133677086</c:v>
                </c:pt>
                <c:pt idx="2">
                  <c:v>-0.0013599566127367319</c:v>
                </c:pt>
                <c:pt idx="3">
                  <c:v>-0.00202519081912423</c:v>
                </c:pt>
                <c:pt idx="4">
                  <c:v>-0.0018983590573727685</c:v>
                </c:pt>
                <c:pt idx="5">
                  <c:v>0.0013675785919855174</c:v>
                </c:pt>
                <c:pt idx="6">
                  <c:v>0.001265369712213353</c:v>
                </c:pt>
                <c:pt idx="7">
                  <c:v>-0.016087952918312484</c:v>
                </c:pt>
                <c:pt idx="8">
                  <c:v>0.004746364189335092</c:v>
                </c:pt>
                <c:pt idx="9">
                  <c:v>-0.008352769647716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04616251501717</c:v>
                </c:pt>
                <c:pt idx="1">
                  <c:v>0.19355050198988577</c:v>
                </c:pt>
                <c:pt idx="2">
                  <c:v>0.07267069959635264</c:v>
                </c:pt>
                <c:pt idx="3">
                  <c:v>0.027197468255740192</c:v>
                </c:pt>
                <c:pt idx="4">
                  <c:v>0.00196507865630437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6676340268695902</c:v>
                </c:pt>
                <c:pt idx="1">
                  <c:v>0.0009383916063615549</c:v>
                </c:pt>
                <c:pt idx="2">
                  <c:v>0.009881689674318253</c:v>
                </c:pt>
                <c:pt idx="3">
                  <c:v>-0.017045786495117364</c:v>
                </c:pt>
                <c:pt idx="4">
                  <c:v>-0.000450635054258314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04616251501717</c:v>
                </c:pt>
                <c:pt idx="1">
                  <c:v>0.19355050198988577</c:v>
                </c:pt>
                <c:pt idx="2">
                  <c:v>0.07267069959635264</c:v>
                </c:pt>
                <c:pt idx="3">
                  <c:v>0.027197468255740192</c:v>
                </c:pt>
                <c:pt idx="4">
                  <c:v>0.00196507865630437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8398793106352942</c:v>
                </c:pt>
                <c:pt idx="1">
                  <c:v>-0.020897200431653523</c:v>
                </c:pt>
                <c:pt idx="2">
                  <c:v>0.03546886237911469</c:v>
                </c:pt>
                <c:pt idx="3">
                  <c:v>-0.024091512970460385</c:v>
                </c:pt>
                <c:pt idx="4">
                  <c:v>0.00112105791664627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8398793106352942</c:v>
                </c:pt>
                <c:pt idx="1">
                  <c:v>-0.020897200431653523</c:v>
                </c:pt>
                <c:pt idx="2">
                  <c:v>0.03546886237911469</c:v>
                </c:pt>
                <c:pt idx="3">
                  <c:v>-0.024091512970460385</c:v>
                </c:pt>
                <c:pt idx="4">
                  <c:v>0.00112105791664627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2310184063938</c:v>
                </c:pt>
                <c:pt idx="1">
                  <c:v>0.26895131993218696</c:v>
                </c:pt>
                <c:pt idx="2">
                  <c:v>0.0079468394284330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03923051482247719</c:v>
                </c:pt>
                <c:pt idx="1">
                  <c:v>0.09172398715124198</c:v>
                </c:pt>
                <c:pt idx="2">
                  <c:v>-0.0519148483516894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2310184063938</c:v>
                </c:pt>
                <c:pt idx="1">
                  <c:v>0.26895131993218696</c:v>
                </c:pt>
                <c:pt idx="2">
                  <c:v>0.0079468394284330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21365411174157234</c:v>
                </c:pt>
                <c:pt idx="1">
                  <c:v>0.2580195433754104</c:v>
                </c:pt>
                <c:pt idx="2">
                  <c:v>-0.04419372833713472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21365411174157234</c:v>
                </c:pt>
                <c:pt idx="1">
                  <c:v>0.2580195433754104</c:v>
                </c:pt>
                <c:pt idx="2">
                  <c:v>-0.04419372833713472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8238261024817</c:v>
                </c:pt>
                <c:pt idx="1">
                  <c:v>0.2069942867345117</c:v>
                </c:pt>
                <c:pt idx="2">
                  <c:v>0.0106231030173183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061347567099222844</c:v>
                </c:pt>
                <c:pt idx="1">
                  <c:v>0.0885570568199761</c:v>
                </c:pt>
                <c:pt idx="2">
                  <c:v>-0.0272094897207533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8238261024817</c:v>
                </c:pt>
                <c:pt idx="1">
                  <c:v>0.2069942867345117</c:v>
                </c:pt>
                <c:pt idx="2">
                  <c:v>0.0106231030173183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596845257583599</c:v>
                </c:pt>
                <c:pt idx="1">
                  <c:v>0.1877717584210743</c:v>
                </c:pt>
                <c:pt idx="2">
                  <c:v>-0.02808723266271431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596845257583599</c:v>
                </c:pt>
                <c:pt idx="1">
                  <c:v>0.1877717584210743</c:v>
                </c:pt>
                <c:pt idx="2">
                  <c:v>-0.02808723266271431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07218626393384</c:v>
                </c:pt>
                <c:pt idx="1">
                  <c:v>0.17201546206400575</c:v>
                </c:pt>
                <c:pt idx="2">
                  <c:v>0.03375584322186264</c:v>
                </c:pt>
                <c:pt idx="3">
                  <c:v>0.0135068320747932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5886211390071745</c:v>
                </c:pt>
                <c:pt idx="1">
                  <c:v>0.06625051259853283</c:v>
                </c:pt>
                <c:pt idx="2">
                  <c:v>-0.016249730075435218</c:v>
                </c:pt>
                <c:pt idx="3">
                  <c:v>-0.069089722532109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07218626393384</c:v>
                </c:pt>
                <c:pt idx="1">
                  <c:v>0.17201546206400575</c:v>
                </c:pt>
                <c:pt idx="2">
                  <c:v>0.03375584322186264</c:v>
                </c:pt>
                <c:pt idx="3">
                  <c:v>0.0135068320747932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7685675059347585</c:v>
                </c:pt>
                <c:pt idx="1">
                  <c:v>0.1575079727276304</c:v>
                </c:pt>
                <c:pt idx="2">
                  <c:v>-0.04240227601234032</c:v>
                </c:pt>
                <c:pt idx="3">
                  <c:v>-0.0339834962656491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7685675059347585</c:v>
                </c:pt>
                <c:pt idx="1">
                  <c:v>0.1575079727276304</c:v>
                </c:pt>
                <c:pt idx="2">
                  <c:v>-0.04240227601234032</c:v>
                </c:pt>
                <c:pt idx="3">
                  <c:v>-0.0339834962656491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23214810880791</c:v>
                </c:pt>
                <c:pt idx="1">
                  <c:v>0.12336754213057001</c:v>
                </c:pt>
                <c:pt idx="2">
                  <c:v>0.0663926948145018</c:v>
                </c:pt>
                <c:pt idx="3">
                  <c:v>0.04594921530481222</c:v>
                </c:pt>
                <c:pt idx="4">
                  <c:v>0.03677003088785984</c:v>
                </c:pt>
                <c:pt idx="5">
                  <c:v>0.03385622531182947</c:v>
                </c:pt>
                <c:pt idx="6">
                  <c:v>0.032283814695520774</c:v>
                </c:pt>
                <c:pt idx="7">
                  <c:v>0.029711021209499606</c:v>
                </c:pt>
                <c:pt idx="8">
                  <c:v>0.025648235606896382</c:v>
                </c:pt>
                <c:pt idx="9">
                  <c:v>0.4736997389504307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9072975449766073</c:v>
                </c:pt>
                <c:pt idx="1">
                  <c:v>0.06559590990208845</c:v>
                </c:pt>
                <c:pt idx="2">
                  <c:v>0.014614382867891768</c:v>
                </c:pt>
                <c:pt idx="3">
                  <c:v>0.0124921622534124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310084739144171</c:v>
                </c:pt>
                <c:pt idx="1">
                  <c:v>0.014579606440071556</c:v>
                </c:pt>
                <c:pt idx="2">
                  <c:v>-0.0037968858088390754</c:v>
                </c:pt>
                <c:pt idx="3">
                  <c:v>-0.0538835680226741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9072975449766073</c:v>
                </c:pt>
                <c:pt idx="1">
                  <c:v>0.06559590990208845</c:v>
                </c:pt>
                <c:pt idx="2">
                  <c:v>0.014614382867891768</c:v>
                </c:pt>
                <c:pt idx="3">
                  <c:v>0.0124921622534124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0597393346584596</c:v>
                </c:pt>
                <c:pt idx="1">
                  <c:v>0.06559590990208845</c:v>
                </c:pt>
                <c:pt idx="2">
                  <c:v>-0.001496307048711721</c:v>
                </c:pt>
                <c:pt idx="3">
                  <c:v>-0.064696996199961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0597393346584596</c:v>
                </c:pt>
                <c:pt idx="1">
                  <c:v>0.06559590990208845</c:v>
                </c:pt>
                <c:pt idx="2">
                  <c:v>-0.001496307048711721</c:v>
                </c:pt>
                <c:pt idx="3">
                  <c:v>-0.064696996199961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3943626525733</c:v>
                </c:pt>
                <c:pt idx="1">
                  <c:v>0.1878696363407575</c:v>
                </c:pt>
                <c:pt idx="2">
                  <c:v>0.02378255945639864</c:v>
                </c:pt>
                <c:pt idx="3">
                  <c:v>0.00440417767711085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5503986374504344</c:v>
                </c:pt>
                <c:pt idx="1">
                  <c:v>0.026675341574495772</c:v>
                </c:pt>
                <c:pt idx="2">
                  <c:v>-0.05313787681630883</c:v>
                </c:pt>
                <c:pt idx="3">
                  <c:v>-0.02021827500528794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3943626525733</c:v>
                </c:pt>
                <c:pt idx="1">
                  <c:v>0.1878696363407575</c:v>
                </c:pt>
                <c:pt idx="2">
                  <c:v>0.02378255945639864</c:v>
                </c:pt>
                <c:pt idx="3">
                  <c:v>0.00440417767711085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486866970156084</c:v>
                </c:pt>
                <c:pt idx="1">
                  <c:v>0.1826297667552894</c:v>
                </c:pt>
                <c:pt idx="2">
                  <c:v>-0.016040449393158882</c:v>
                </c:pt>
                <c:pt idx="3">
                  <c:v>-0.051720647660569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486866970156084</c:v>
                </c:pt>
                <c:pt idx="1">
                  <c:v>0.1826297667552894</c:v>
                </c:pt>
                <c:pt idx="2">
                  <c:v>-0.016040449393158882</c:v>
                </c:pt>
                <c:pt idx="3">
                  <c:v>-0.051720647660569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921372689298657</c:v>
                </c:pt>
                <c:pt idx="1">
                  <c:v>0.33647965659689366</c:v>
                </c:pt>
                <c:pt idx="2">
                  <c:v>0.19181417460940203</c:v>
                </c:pt>
                <c:pt idx="3">
                  <c:v>0.00249244190071773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8680084543506761</c:v>
                </c:pt>
                <c:pt idx="1">
                  <c:v>0.08402366509720333</c:v>
                </c:pt>
                <c:pt idx="2">
                  <c:v>0.023257466581027814</c:v>
                </c:pt>
                <c:pt idx="3">
                  <c:v>-0.0204802862431634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4344233920288</c:v>
                </c:pt>
                <c:pt idx="1">
                  <c:v>0.33647965659689366</c:v>
                </c:pt>
                <c:pt idx="2">
                  <c:v>0.19181417460940203</c:v>
                </c:pt>
                <c:pt idx="3">
                  <c:v>0.00736193487341626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20524455835915612</c:v>
                </c:pt>
                <c:pt idx="1">
                  <c:v>0.1986863613340005</c:v>
                </c:pt>
                <c:pt idx="2">
                  <c:v>0.05498743456344135</c:v>
                </c:pt>
                <c:pt idx="3">
                  <c:v>-0.04842923753828573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055886398781034</c:v>
                </c:pt>
                <c:pt idx="1">
                  <c:v>0.1986863613340005</c:v>
                </c:pt>
                <c:pt idx="2">
                  <c:v>0.05498743456344135</c:v>
                </c:pt>
                <c:pt idx="3">
                  <c:v>-0.1431149319096315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01270495918194</c:v>
                </c:pt>
                <c:pt idx="1">
                  <c:v>0.28284449858165656</c:v>
                </c:pt>
                <c:pt idx="2">
                  <c:v>0.10238553124162152</c:v>
                </c:pt>
                <c:pt idx="3">
                  <c:v>0.03565442952361092</c:v>
                </c:pt>
                <c:pt idx="4">
                  <c:v>0.02775120567469788</c:v>
                </c:pt>
                <c:pt idx="5">
                  <c:v>0.015679563606994733</c:v>
                </c:pt>
                <c:pt idx="6">
                  <c:v>0.012233833035983225</c:v>
                </c:pt>
                <c:pt idx="7">
                  <c:v>0.022180442417241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6938568372888865</c:v>
                </c:pt>
                <c:pt idx="1">
                  <c:v>0.024894476827425405</c:v>
                </c:pt>
                <c:pt idx="2">
                  <c:v>-0.0011511838671276614</c:v>
                </c:pt>
                <c:pt idx="3">
                  <c:v>0.0019443823333547341</c:v>
                </c:pt>
                <c:pt idx="4">
                  <c:v>-0.015239352914348761</c:v>
                </c:pt>
                <c:pt idx="5">
                  <c:v>0.0015966276139648683</c:v>
                </c:pt>
                <c:pt idx="6">
                  <c:v>0.0004511220130040787</c:v>
                </c:pt>
                <c:pt idx="7">
                  <c:v>-0.00406293091739184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571837910538993</c:v>
                </c:pt>
                <c:pt idx="1">
                  <c:v>0.2813726431280128</c:v>
                </c:pt>
                <c:pt idx="2">
                  <c:v>0.10238553124162152</c:v>
                </c:pt>
                <c:pt idx="3">
                  <c:v>0.09222046055614952</c:v>
                </c:pt>
                <c:pt idx="4">
                  <c:v>0.03565442952361092</c:v>
                </c:pt>
                <c:pt idx="5">
                  <c:v>0.02775120567469788</c:v>
                </c:pt>
                <c:pt idx="6">
                  <c:v>0.015679563606994733</c:v>
                </c:pt>
                <c:pt idx="7">
                  <c:v>0.01328200596024225</c:v>
                </c:pt>
                <c:pt idx="8">
                  <c:v>0.012233833035983225</c:v>
                </c:pt>
                <c:pt idx="9">
                  <c:v>0.02370194816729722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12735008668920411</c:v>
                </c:pt>
                <c:pt idx="1">
                  <c:v>0.027514651339082485</c:v>
                </c:pt>
                <c:pt idx="2">
                  <c:v>-0.0063148299461324026</c:v>
                </c:pt>
                <c:pt idx="3">
                  <c:v>-0.0010828247633495672</c:v>
                </c:pt>
                <c:pt idx="4">
                  <c:v>-0.014738588443381603</c:v>
                </c:pt>
                <c:pt idx="5">
                  <c:v>0.003430544988917702</c:v>
                </c:pt>
                <c:pt idx="6">
                  <c:v>-0.0024518552055665995</c:v>
                </c:pt>
                <c:pt idx="7">
                  <c:v>-0.00330559279978997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410928444029188</c:v>
                </c:pt>
                <c:pt idx="1">
                  <c:v>0.02604279588543873</c:v>
                </c:pt>
                <c:pt idx="2">
                  <c:v>-0.0063148299461324026</c:v>
                </c:pt>
                <c:pt idx="3">
                  <c:v>-0.014249063920814348</c:v>
                </c:pt>
                <c:pt idx="4">
                  <c:v>-0.0010828247633495672</c:v>
                </c:pt>
                <c:pt idx="5">
                  <c:v>-0.014738588443381603</c:v>
                </c:pt>
                <c:pt idx="6">
                  <c:v>0.003430544988917702</c:v>
                </c:pt>
                <c:pt idx="7">
                  <c:v>0.002910967631213438</c:v>
                </c:pt>
                <c:pt idx="8">
                  <c:v>-0.0024518552055665995</c:v>
                </c:pt>
                <c:pt idx="9">
                  <c:v>-0.0035434683748078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562524034806872</c:v>
                </c:pt>
                <c:pt idx="1">
                  <c:v>0.2112380049545239</c:v>
                </c:pt>
                <c:pt idx="2">
                  <c:v>0.08286754250248174</c:v>
                </c:pt>
                <c:pt idx="3">
                  <c:v>0.04701431803750771</c:v>
                </c:pt>
                <c:pt idx="4">
                  <c:v>0.028508634644105996</c:v>
                </c:pt>
                <c:pt idx="5">
                  <c:v>0.017546526914512105</c:v>
                </c:pt>
                <c:pt idx="6">
                  <c:v>0.012726150764195069</c:v>
                </c:pt>
                <c:pt idx="7">
                  <c:v>0.01197268751620952</c:v>
                </c:pt>
                <c:pt idx="8">
                  <c:v>0.0256020998595920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39814948004299855</c:v>
                </c:pt>
                <c:pt idx="1">
                  <c:v>-0.008793903038401746</c:v>
                </c:pt>
                <c:pt idx="2">
                  <c:v>0.003476312234041906</c:v>
                </c:pt>
                <c:pt idx="3">
                  <c:v>-0.016527752289242248</c:v>
                </c:pt>
                <c:pt idx="4">
                  <c:v>0.0004125502970391895</c:v>
                </c:pt>
                <c:pt idx="5">
                  <c:v>-0.0030296356275935563</c:v>
                </c:pt>
                <c:pt idx="6">
                  <c:v>0.001085440404021346</c:v>
                </c:pt>
                <c:pt idx="7">
                  <c:v>-0.007969918585685808</c:v>
                </c:pt>
                <c:pt idx="8">
                  <c:v>-0.003230345356004544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79433359864779</c:v>
                </c:pt>
                <c:pt idx="1">
                  <c:v>0.21068576334546626</c:v>
                </c:pt>
                <c:pt idx="2">
                  <c:v>0.15046459840632462</c:v>
                </c:pt>
                <c:pt idx="3">
                  <c:v>0.08286754250248174</c:v>
                </c:pt>
                <c:pt idx="4">
                  <c:v>0.04701431803750771</c:v>
                </c:pt>
                <c:pt idx="5">
                  <c:v>0.028508634644105996</c:v>
                </c:pt>
                <c:pt idx="6">
                  <c:v>0.017546526914512105</c:v>
                </c:pt>
                <c:pt idx="7">
                  <c:v>0.012726150764195069</c:v>
                </c:pt>
                <c:pt idx="8">
                  <c:v>0.01197268751620952</c:v>
                </c:pt>
                <c:pt idx="9">
                  <c:v>0.0302704418827190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60806732635006355</c:v>
                </c:pt>
                <c:pt idx="1">
                  <c:v>-0.027315663793208433</c:v>
                </c:pt>
                <c:pt idx="2">
                  <c:v>-0.009238883234303871</c:v>
                </c:pt>
                <c:pt idx="3">
                  <c:v>-0.011071289522757655</c:v>
                </c:pt>
                <c:pt idx="4">
                  <c:v>-0.0015624825328635454</c:v>
                </c:pt>
                <c:pt idx="5">
                  <c:v>0.0019244349077218517</c:v>
                </c:pt>
                <c:pt idx="6">
                  <c:v>-0.0006043250986388273</c:v>
                </c:pt>
                <c:pt idx="7">
                  <c:v>-0.015925248149346115</c:v>
                </c:pt>
                <c:pt idx="8">
                  <c:v>0.00352626033663919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342973574284098</c:v>
                </c:pt>
                <c:pt idx="1">
                  <c:v>-0.026439170152547598</c:v>
                </c:pt>
                <c:pt idx="2">
                  <c:v>0.017142920544765294</c:v>
                </c:pt>
                <c:pt idx="3">
                  <c:v>-0.009238883234303871</c:v>
                </c:pt>
                <c:pt idx="4">
                  <c:v>-0.011071289522757655</c:v>
                </c:pt>
                <c:pt idx="5">
                  <c:v>-0.0015624825328635454</c:v>
                </c:pt>
                <c:pt idx="6">
                  <c:v>0.0019244349077218517</c:v>
                </c:pt>
                <c:pt idx="7">
                  <c:v>-0.0006043250986388273</c:v>
                </c:pt>
                <c:pt idx="8">
                  <c:v>-0.015925248149346115</c:v>
                </c:pt>
                <c:pt idx="9">
                  <c:v>0.00257365710100539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08660043078477786</c:v>
                </c:pt>
                <c:pt idx="1">
                  <c:v>0.0014294656640414516</c:v>
                </c:pt>
                <c:pt idx="2">
                  <c:v>-0.0034429995364411575</c:v>
                </c:pt>
                <c:pt idx="3">
                  <c:v>0.0009060179605068358</c:v>
                </c:pt>
                <c:pt idx="4">
                  <c:v>0.0015340803787948151</c:v>
                </c:pt>
                <c:pt idx="5">
                  <c:v>-0.002428280516016172</c:v>
                </c:pt>
                <c:pt idx="6">
                  <c:v>-0.0010300718142937024</c:v>
                </c:pt>
                <c:pt idx="7">
                  <c:v>-0.0005154060125170286</c:v>
                </c:pt>
                <c:pt idx="8">
                  <c:v>-0.00029201439027706777</c:v>
                </c:pt>
                <c:pt idx="9">
                  <c:v>0.002973203958354228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6112763832189698</c:v>
                </c:pt>
                <c:pt idx="1">
                  <c:v>0.22679796751498307</c:v>
                </c:pt>
                <c:pt idx="2">
                  <c:v>0.04332059411100495</c:v>
                </c:pt>
                <c:pt idx="3">
                  <c:v>0.029368974203074785</c:v>
                </c:pt>
                <c:pt idx="4">
                  <c:v>0.02819638669330322</c:v>
                </c:pt>
                <c:pt idx="5">
                  <c:v>0.021041431425345262</c:v>
                </c:pt>
                <c:pt idx="6">
                  <c:v>0.019065404325545036</c:v>
                </c:pt>
                <c:pt idx="7">
                  <c:v>0.020932858507773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4427974907592036</c:v>
                </c:pt>
                <c:pt idx="1">
                  <c:v>-0.030742595473601225</c:v>
                </c:pt>
                <c:pt idx="2">
                  <c:v>-0.001086878236896384</c:v>
                </c:pt>
                <c:pt idx="3">
                  <c:v>0.0185873488219754</c:v>
                </c:pt>
                <c:pt idx="4">
                  <c:v>-0.013913689683678482</c:v>
                </c:pt>
                <c:pt idx="5">
                  <c:v>0.00516223959858516</c:v>
                </c:pt>
                <c:pt idx="6">
                  <c:v>-0.005830746466234479</c:v>
                </c:pt>
                <c:pt idx="7">
                  <c:v>-0.016455427636070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5382285242769044</c:v>
                </c:pt>
                <c:pt idx="1">
                  <c:v>0.22679796751498307</c:v>
                </c:pt>
                <c:pt idx="2">
                  <c:v>0.07304785894206549</c:v>
                </c:pt>
                <c:pt idx="3">
                  <c:v>0.04332059411100495</c:v>
                </c:pt>
                <c:pt idx="4">
                  <c:v>0.029368974203074785</c:v>
                </c:pt>
                <c:pt idx="5">
                  <c:v>0.02819638669330322</c:v>
                </c:pt>
                <c:pt idx="6">
                  <c:v>0.021041431425345262</c:v>
                </c:pt>
                <c:pt idx="7">
                  <c:v>0.019065404325545036</c:v>
                </c:pt>
                <c:pt idx="8">
                  <c:v>0.020932858507773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8523853242098598</c:v>
                </c:pt>
                <c:pt idx="1">
                  <c:v>0.018888805416314325</c:v>
                </c:pt>
                <c:pt idx="2">
                  <c:v>-0.004823800686851544</c:v>
                </c:pt>
                <c:pt idx="3">
                  <c:v>0.027488033886462628</c:v>
                </c:pt>
                <c:pt idx="4">
                  <c:v>0.0016021938086317328</c:v>
                </c:pt>
                <c:pt idx="5">
                  <c:v>0.0018404855810717664</c:v>
                </c:pt>
                <c:pt idx="6">
                  <c:v>-0.0005270841968803772</c:v>
                </c:pt>
                <c:pt idx="7">
                  <c:v>-0.0128626487319270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5918882950877591</c:v>
                </c:pt>
                <c:pt idx="1">
                  <c:v>0.02023233421389442</c:v>
                </c:pt>
                <c:pt idx="2">
                  <c:v>0.04250753004621584</c:v>
                </c:pt>
                <c:pt idx="3">
                  <c:v>-0.004823800686851544</c:v>
                </c:pt>
                <c:pt idx="4">
                  <c:v>0.027488033886462628</c:v>
                </c:pt>
                <c:pt idx="5">
                  <c:v>0.0016021938086317328</c:v>
                </c:pt>
                <c:pt idx="6">
                  <c:v>0.0018404855810717664</c:v>
                </c:pt>
                <c:pt idx="7">
                  <c:v>-0.0005270841968803772</c:v>
                </c:pt>
                <c:pt idx="8">
                  <c:v>-0.02594478056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48444780544667</c:v>
                </c:pt>
                <c:pt idx="1">
                  <c:v>0.1102991017551906</c:v>
                </c:pt>
                <c:pt idx="2">
                  <c:v>0.07269190182580358</c:v>
                </c:pt>
                <c:pt idx="3">
                  <c:v>0.05938376004240371</c:v>
                </c:pt>
                <c:pt idx="4">
                  <c:v>0.05701239733812216</c:v>
                </c:pt>
                <c:pt idx="5">
                  <c:v>0.05091000282861069</c:v>
                </c:pt>
                <c:pt idx="6">
                  <c:v>0.04145458947198984</c:v>
                </c:pt>
                <c:pt idx="7">
                  <c:v>0.03167744597361064</c:v>
                </c:pt>
                <c:pt idx="8">
                  <c:v>0.02958265742810182</c:v>
                </c:pt>
                <c:pt idx="9">
                  <c:v>0.232143665281700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151711747539442</c:v>
                </c:pt>
                <c:pt idx="1">
                  <c:v>-0.00712964387293713</c:v>
                </c:pt>
                <c:pt idx="2">
                  <c:v>0.012061058530754648</c:v>
                </c:pt>
                <c:pt idx="3">
                  <c:v>-0.012334845638098772</c:v>
                </c:pt>
                <c:pt idx="4">
                  <c:v>-0.0010946802940215578</c:v>
                </c:pt>
                <c:pt idx="5">
                  <c:v>-0.006337252450177765</c:v>
                </c:pt>
                <c:pt idx="6">
                  <c:v>-0.004085148836393507</c:v>
                </c:pt>
                <c:pt idx="7">
                  <c:v>-0.004061975706808163</c:v>
                </c:pt>
                <c:pt idx="8">
                  <c:v>-0.004197863525685356</c:v>
                </c:pt>
                <c:pt idx="9">
                  <c:v>0.005761502767874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6131551462210406</c:v>
                </c:pt>
                <c:pt idx="1">
                  <c:v>0.2421726642612989</c:v>
                </c:pt>
                <c:pt idx="2">
                  <c:v>0.03555533137105963</c:v>
                </c:pt>
                <c:pt idx="3">
                  <c:v>0.027493590960881123</c:v>
                </c:pt>
                <c:pt idx="4">
                  <c:v>0.02406356817318648</c:v>
                </c:pt>
                <c:pt idx="5">
                  <c:v>0.021971729016331182</c:v>
                </c:pt>
                <c:pt idx="6">
                  <c:v>0.016126447968097226</c:v>
                </c:pt>
                <c:pt idx="7">
                  <c:v>0.01946152202810482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26348916142291845</c:v>
                </c:pt>
                <c:pt idx="1">
                  <c:v>0.057570976523629885</c:v>
                </c:pt>
                <c:pt idx="2">
                  <c:v>-0.005420301479094947</c:v>
                </c:pt>
                <c:pt idx="3">
                  <c:v>0.0015182212009244613</c:v>
                </c:pt>
                <c:pt idx="4">
                  <c:v>-0.025198846401002787</c:v>
                </c:pt>
                <c:pt idx="5">
                  <c:v>0.0028868115013599045</c:v>
                </c:pt>
                <c:pt idx="6">
                  <c:v>-0.005200077833276374</c:v>
                </c:pt>
                <c:pt idx="7">
                  <c:v>0.00035346101966445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5331875474743638</c:v>
                </c:pt>
                <c:pt idx="1">
                  <c:v>0.2421726642612989</c:v>
                </c:pt>
                <c:pt idx="2">
                  <c:v>0.07640702145841245</c:v>
                </c:pt>
                <c:pt idx="3">
                  <c:v>0.03555533137105963</c:v>
                </c:pt>
                <c:pt idx="4">
                  <c:v>0.027493590960881123</c:v>
                </c:pt>
                <c:pt idx="5">
                  <c:v>0.02406356817318648</c:v>
                </c:pt>
                <c:pt idx="6">
                  <c:v>0.021971729016331182</c:v>
                </c:pt>
                <c:pt idx="7">
                  <c:v>0.016126447968097226</c:v>
                </c:pt>
                <c:pt idx="8">
                  <c:v>0.023022099316369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38395245178654003</c:v>
                </c:pt>
                <c:pt idx="1">
                  <c:v>-0.01893019100170973</c:v>
                </c:pt>
                <c:pt idx="2">
                  <c:v>-0.0031586091641462033</c:v>
                </c:pt>
                <c:pt idx="3">
                  <c:v>0.00947945644475575</c:v>
                </c:pt>
                <c:pt idx="4">
                  <c:v>-0.00702159058488188</c:v>
                </c:pt>
                <c:pt idx="5">
                  <c:v>0.01223014336411288</c:v>
                </c:pt>
                <c:pt idx="6">
                  <c:v>-0.002026649487462992</c:v>
                </c:pt>
                <c:pt idx="7">
                  <c:v>0.0055879159114667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006843995383888357</c:v>
                </c:pt>
                <c:pt idx="1">
                  <c:v>-0.01893019100170973</c:v>
                </c:pt>
                <c:pt idx="2">
                  <c:v>0.002623372575220731</c:v>
                </c:pt>
                <c:pt idx="3">
                  <c:v>-0.0031586091641462033</c:v>
                </c:pt>
                <c:pt idx="4">
                  <c:v>0.00947945644475575</c:v>
                </c:pt>
                <c:pt idx="5">
                  <c:v>-0.00702159058488188</c:v>
                </c:pt>
                <c:pt idx="6">
                  <c:v>0.01223014336411288</c:v>
                </c:pt>
                <c:pt idx="7">
                  <c:v>-0.002026649487462992</c:v>
                </c:pt>
                <c:pt idx="8">
                  <c:v>0.0061196683157225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486268364950756</c:v>
                </c:pt>
                <c:pt idx="1">
                  <c:v>0.07300804360281675</c:v>
                </c:pt>
                <c:pt idx="2">
                  <c:v>0.07081785368772946</c:v>
                </c:pt>
                <c:pt idx="3">
                  <c:v>0.055862491499573314</c:v>
                </c:pt>
                <c:pt idx="4">
                  <c:v>0.04145458947198984</c:v>
                </c:pt>
                <c:pt idx="5">
                  <c:v>0.039481248067461144</c:v>
                </c:pt>
                <c:pt idx="6">
                  <c:v>0.03167744597361064</c:v>
                </c:pt>
                <c:pt idx="7">
                  <c:v>0.02922545114943432</c:v>
                </c:pt>
                <c:pt idx="8">
                  <c:v>0.027270471514782648</c:v>
                </c:pt>
                <c:pt idx="9">
                  <c:v>0.386339721383094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298376045948861</c:v>
                </c:pt>
                <c:pt idx="1">
                  <c:v>0.2168139012799207</c:v>
                </c:pt>
                <c:pt idx="2">
                  <c:v>0.08542523105629901</c:v>
                </c:pt>
                <c:pt idx="3">
                  <c:v>0.07071634741537654</c:v>
                </c:pt>
                <c:pt idx="4">
                  <c:v>0.03947636957345695</c:v>
                </c:pt>
                <c:pt idx="5">
                  <c:v>0.035001020437913644</c:v>
                </c:pt>
                <c:pt idx="6">
                  <c:v>0.03481151053966588</c:v>
                </c:pt>
                <c:pt idx="7">
                  <c:v>0.029199102014635995</c:v>
                </c:pt>
                <c:pt idx="8">
                  <c:v>0.014927548908131432</c:v>
                </c:pt>
                <c:pt idx="9">
                  <c:v>0.04379136417971369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52594040489968</c:v>
                </c:pt>
                <c:pt idx="1">
                  <c:v>0.042761142714722034</c:v>
                </c:pt>
                <c:pt idx="2">
                  <c:v>-0.005921650444530982</c:v>
                </c:pt>
                <c:pt idx="3">
                  <c:v>-0.04869444631076389</c:v>
                </c:pt>
                <c:pt idx="4">
                  <c:v>0.007928731731907751</c:v>
                </c:pt>
                <c:pt idx="5">
                  <c:v>-0.005501537307679886</c:v>
                </c:pt>
                <c:pt idx="6">
                  <c:v>-0.015033718293623922</c:v>
                </c:pt>
                <c:pt idx="7">
                  <c:v>0.007076300512828464</c:v>
                </c:pt>
                <c:pt idx="8">
                  <c:v>-0.0027720612904042</c:v>
                </c:pt>
                <c:pt idx="9">
                  <c:v>-0.00512222681552663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758972564797806</c:v>
                </c:pt>
                <c:pt idx="1">
                  <c:v>0.21410245196652963</c:v>
                </c:pt>
                <c:pt idx="2">
                  <c:v>0.09597947462025132</c:v>
                </c:pt>
                <c:pt idx="3">
                  <c:v>0.08542523105629901</c:v>
                </c:pt>
                <c:pt idx="4">
                  <c:v>0.07071634741537654</c:v>
                </c:pt>
                <c:pt idx="5">
                  <c:v>0.03947636957345695</c:v>
                </c:pt>
                <c:pt idx="6">
                  <c:v>0.035001020437913644</c:v>
                </c:pt>
                <c:pt idx="7">
                  <c:v>0.03481151053966588</c:v>
                </c:pt>
                <c:pt idx="8">
                  <c:v>0.029199102014635995</c:v>
                </c:pt>
                <c:pt idx="9">
                  <c:v>0.067698766727892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845726166913461</c:v>
                </c:pt>
                <c:pt idx="1">
                  <c:v>0.06001116184937713</c:v>
                </c:pt>
                <c:pt idx="2">
                  <c:v>-0.004266852636539642</c:v>
                </c:pt>
                <c:pt idx="3">
                  <c:v>0.004576356043504232</c:v>
                </c:pt>
                <c:pt idx="4">
                  <c:v>0.0012294972697468598</c:v>
                </c:pt>
                <c:pt idx="5">
                  <c:v>0.01410477367346153</c:v>
                </c:pt>
                <c:pt idx="6">
                  <c:v>0.0029952896595968545</c:v>
                </c:pt>
                <c:pt idx="7">
                  <c:v>0.014463877683315892</c:v>
                </c:pt>
                <c:pt idx="8">
                  <c:v>-0.028779310453387122</c:v>
                </c:pt>
                <c:pt idx="9">
                  <c:v>-0.00569903702822418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0339437506181954</c:v>
                </c:pt>
                <c:pt idx="1">
                  <c:v>-0.010688974788865477</c:v>
                </c:pt>
                <c:pt idx="2">
                  <c:v>0.005325070721996589</c:v>
                </c:pt>
                <c:pt idx="3">
                  <c:v>-0.014885677180993387</c:v>
                </c:pt>
                <c:pt idx="4">
                  <c:v>0.009503207895682438</c:v>
                </c:pt>
                <c:pt idx="5">
                  <c:v>0.0004202813967123381</c:v>
                </c:pt>
                <c:pt idx="6">
                  <c:v>-1.68362002835043e-06</c:v>
                </c:pt>
                <c:pt idx="7">
                  <c:v>-0.0018650038544107336</c:v>
                </c:pt>
                <c:pt idx="8">
                  <c:v>-0.005610700445824315</c:v>
                </c:pt>
                <c:pt idx="9">
                  <c:v>-0.01243494215489794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256396287661211</c:v>
                </c:pt>
                <c:pt idx="1">
                  <c:v>0.057299712535986064</c:v>
                </c:pt>
                <c:pt idx="2">
                  <c:v>-0.013543821324528665</c:v>
                </c:pt>
                <c:pt idx="3">
                  <c:v>-0.004266852636539642</c:v>
                </c:pt>
                <c:pt idx="4">
                  <c:v>0.004576356043504232</c:v>
                </c:pt>
                <c:pt idx="5">
                  <c:v>0.0012294972697468598</c:v>
                </c:pt>
                <c:pt idx="6">
                  <c:v>0.01410477367346153</c:v>
                </c:pt>
                <c:pt idx="7">
                  <c:v>0.0029952896595968545</c:v>
                </c:pt>
                <c:pt idx="8">
                  <c:v>0.014463877683315892</c:v>
                </c:pt>
                <c:pt idx="9">
                  <c:v>-0.054294870027931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3831350171748367</c:v>
                </c:pt>
                <c:pt idx="1">
                  <c:v>0.005317183892064509</c:v>
                </c:pt>
                <c:pt idx="2">
                  <c:v>-0.006547738847713827</c:v>
                </c:pt>
                <c:pt idx="3">
                  <c:v>0.008870773971777018</c:v>
                </c:pt>
                <c:pt idx="4">
                  <c:v>-1.68362002835043e-06</c:v>
                </c:pt>
                <c:pt idx="5">
                  <c:v>-0.004141235941151643</c:v>
                </c:pt>
                <c:pt idx="6">
                  <c:v>-0.0018650038544107336</c:v>
                </c:pt>
                <c:pt idx="7">
                  <c:v>0.0003455162313768141</c:v>
                </c:pt>
                <c:pt idx="8">
                  <c:v>-0.006315403458513762</c:v>
                </c:pt>
                <c:pt idx="9">
                  <c:v>-0.0194835773184274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336754213057001</c:v>
                </c:pt>
                <c:pt idx="1">
                  <c:v>0.07395042011687268</c:v>
                </c:pt>
                <c:pt idx="2">
                  <c:v>0.03669953278434877</c:v>
                </c:pt>
                <c:pt idx="3">
                  <c:v>0.036043134585675644</c:v>
                </c:pt>
                <c:pt idx="4">
                  <c:v>0.03385622531182947</c:v>
                </c:pt>
                <c:pt idx="5">
                  <c:v>0.032283814695520774</c:v>
                </c:pt>
                <c:pt idx="6">
                  <c:v>0.029711021209499606</c:v>
                </c:pt>
                <c:pt idx="7">
                  <c:v>0.025648235606896382</c:v>
                </c:pt>
                <c:pt idx="8">
                  <c:v>0.02450019146037195</c:v>
                </c:pt>
                <c:pt idx="9">
                  <c:v>0.58393988209841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63832041007837</c:v>
                </c:pt>
                <c:pt idx="1">
                  <c:v>0.11429669508478289</c:v>
                </c:pt>
                <c:pt idx="2">
                  <c:v>0.0966956499710833</c:v>
                </c:pt>
                <c:pt idx="3">
                  <c:v>0.08750775903716357</c:v>
                </c:pt>
                <c:pt idx="4">
                  <c:v>0.0834186729648816</c:v>
                </c:pt>
                <c:pt idx="5">
                  <c:v>0.06106318407798265</c:v>
                </c:pt>
                <c:pt idx="6">
                  <c:v>0.047399179321520345</c:v>
                </c:pt>
                <c:pt idx="7">
                  <c:v>0.03642786734034071</c:v>
                </c:pt>
                <c:pt idx="8">
                  <c:v>0.02537061647674451</c:v>
                </c:pt>
                <c:pt idx="9">
                  <c:v>0.155182055315422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28575049460002333</c:v>
                </c:pt>
                <c:pt idx="1">
                  <c:v>-0.0007297371274292558</c:v>
                </c:pt>
                <c:pt idx="2">
                  <c:v>-0.002803348411072326</c:v>
                </c:pt>
                <c:pt idx="3">
                  <c:v>0.005526988980388836</c:v>
                </c:pt>
                <c:pt idx="4">
                  <c:v>0.002015970949159368</c:v>
                </c:pt>
                <c:pt idx="5">
                  <c:v>0.0010234151345994077</c:v>
                </c:pt>
                <c:pt idx="6">
                  <c:v>-0.0010401748100480473</c:v>
                </c:pt>
                <c:pt idx="7">
                  <c:v>0.0025175324922454938</c:v>
                </c:pt>
                <c:pt idx="8">
                  <c:v>-0.0001557350184048928</c:v>
                </c:pt>
                <c:pt idx="9">
                  <c:v>-0.009212417135438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63832041007837</c:v>
                </c:pt>
                <c:pt idx="1">
                  <c:v>0.08706360690939531</c:v>
                </c:pt>
                <c:pt idx="2">
                  <c:v>0.0834186729648816</c:v>
                </c:pt>
                <c:pt idx="3">
                  <c:v>0.08153657106937415</c:v>
                </c:pt>
                <c:pt idx="4">
                  <c:v>0.06106318407798265</c:v>
                </c:pt>
                <c:pt idx="5">
                  <c:v>0.05176417310937045</c:v>
                </c:pt>
                <c:pt idx="6">
                  <c:v>0.047399179321520345</c:v>
                </c:pt>
                <c:pt idx="7">
                  <c:v>0.027884391866467628</c:v>
                </c:pt>
                <c:pt idx="8">
                  <c:v>0.02537061647674451</c:v>
                </c:pt>
                <c:pt idx="9">
                  <c:v>0.241861283794184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150280671556874</c:v>
                </c:pt>
                <c:pt idx="1">
                  <c:v>-0.0015708847073129112</c:v>
                </c:pt>
                <c:pt idx="2">
                  <c:v>-0.006034254308017711</c:v>
                </c:pt>
                <c:pt idx="3">
                  <c:v>0.011897005984419548</c:v>
                </c:pt>
                <c:pt idx="4">
                  <c:v>0.0043393011096649475</c:v>
                </c:pt>
                <c:pt idx="5">
                  <c:v>0.002202873477809647</c:v>
                </c:pt>
                <c:pt idx="6">
                  <c:v>-0.0022391227226973356</c:v>
                </c:pt>
                <c:pt idx="7">
                  <c:v>0.005418963141917709</c:v>
                </c:pt>
                <c:pt idx="8">
                  <c:v>-0.0003353162173601737</c:v>
                </c:pt>
                <c:pt idx="9">
                  <c:v>-0.0198288464299805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150280671556874</c:v>
                </c:pt>
                <c:pt idx="1">
                  <c:v>-0.002763200865515056</c:v>
                </c:pt>
                <c:pt idx="2">
                  <c:v>0.0043393011096649475</c:v>
                </c:pt>
                <c:pt idx="3">
                  <c:v>0.0027435551308691852</c:v>
                </c:pt>
                <c:pt idx="4">
                  <c:v>0.002202873477809647</c:v>
                </c:pt>
                <c:pt idx="5">
                  <c:v>0.009336239518616354</c:v>
                </c:pt>
                <c:pt idx="6">
                  <c:v>-0.0022391227226973356</c:v>
                </c:pt>
                <c:pt idx="7">
                  <c:v>0.00658136010894287</c:v>
                </c:pt>
                <c:pt idx="8">
                  <c:v>-0.0003353162173601737</c:v>
                </c:pt>
                <c:pt idx="9">
                  <c:v>-0.0260159702118872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59861334257624</c:v>
                </c:pt>
                <c:pt idx="1">
                  <c:v>0.15909857332798333</c:v>
                </c:pt>
                <c:pt idx="2">
                  <c:v>0.14261642452778642</c:v>
                </c:pt>
                <c:pt idx="3">
                  <c:v>0.09954361287068</c:v>
                </c:pt>
                <c:pt idx="4">
                  <c:v>0.08254210225080705</c:v>
                </c:pt>
                <c:pt idx="5">
                  <c:v>0.057108275073005935</c:v>
                </c:pt>
                <c:pt idx="6">
                  <c:v>0.05317139105626935</c:v>
                </c:pt>
                <c:pt idx="7">
                  <c:v>0.04764220220450051</c:v>
                </c:pt>
                <c:pt idx="8">
                  <c:v>0.02307765756228892</c:v>
                </c:pt>
                <c:pt idx="9">
                  <c:v>0.0192136277009160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866504066691927</c:v>
                </c:pt>
                <c:pt idx="1">
                  <c:v>0.0027294535346393534</c:v>
                </c:pt>
                <c:pt idx="2">
                  <c:v>0.011351460339647373</c:v>
                </c:pt>
                <c:pt idx="3">
                  <c:v>0.0004710364223755731</c:v>
                </c:pt>
                <c:pt idx="4">
                  <c:v>0.003948027003412222</c:v>
                </c:pt>
                <c:pt idx="5">
                  <c:v>-0.007769069718477989</c:v>
                </c:pt>
                <c:pt idx="6">
                  <c:v>-0.016188081521749532</c:v>
                </c:pt>
                <c:pt idx="7">
                  <c:v>-0.005753359216618986</c:v>
                </c:pt>
                <c:pt idx="8">
                  <c:v>-0.0020309741913137926</c:v>
                </c:pt>
                <c:pt idx="9">
                  <c:v>0.00465972686682959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5091986650028</c:v>
                </c:pt>
                <c:pt idx="1">
                  <c:v>0.13736099068405083</c:v>
                </c:pt>
                <c:pt idx="2">
                  <c:v>0.10637534571228459</c:v>
                </c:pt>
                <c:pt idx="3">
                  <c:v>0.09954361287068</c:v>
                </c:pt>
                <c:pt idx="4">
                  <c:v>0.08254210225080705</c:v>
                </c:pt>
                <c:pt idx="5">
                  <c:v>0.057108275073005935</c:v>
                </c:pt>
                <c:pt idx="6">
                  <c:v>0.05314986596491189</c:v>
                </c:pt>
                <c:pt idx="7">
                  <c:v>0.04764220220450051</c:v>
                </c:pt>
                <c:pt idx="8">
                  <c:v>0.03624107881550182</c:v>
                </c:pt>
                <c:pt idx="9">
                  <c:v>0.1149445397742293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780444448632539</c:v>
                </c:pt>
                <c:pt idx="1">
                  <c:v>0.004032527280039833</c:v>
                </c:pt>
                <c:pt idx="2">
                  <c:v>-0.012540011407722595</c:v>
                </c:pt>
                <c:pt idx="3">
                  <c:v>-2.4797355487785055e-05</c:v>
                </c:pt>
                <c:pt idx="4">
                  <c:v>0.012970409906391742</c:v>
                </c:pt>
                <c:pt idx="5">
                  <c:v>-0.0044788309411686045</c:v>
                </c:pt>
                <c:pt idx="6">
                  <c:v>-0.008685568263015815</c:v>
                </c:pt>
                <c:pt idx="7">
                  <c:v>-0.003446513276215729</c:v>
                </c:pt>
                <c:pt idx="8">
                  <c:v>-0.0007273530212260695</c:v>
                </c:pt>
                <c:pt idx="9">
                  <c:v>0.0050956925920795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6030988394640566</c:v>
                </c:pt>
                <c:pt idx="1">
                  <c:v>0.01073792178062935</c:v>
                </c:pt>
                <c:pt idx="2">
                  <c:v>-0.0028586394813252813</c:v>
                </c:pt>
                <c:pt idx="3">
                  <c:v>-2.4797355487785055e-05</c:v>
                </c:pt>
                <c:pt idx="4">
                  <c:v>0.012970409906391742</c:v>
                </c:pt>
                <c:pt idx="5">
                  <c:v>-0.0044788309411686045</c:v>
                </c:pt>
                <c:pt idx="6">
                  <c:v>-0.00865619419438493</c:v>
                </c:pt>
                <c:pt idx="7">
                  <c:v>-0.003446513276215729</c:v>
                </c:pt>
                <c:pt idx="8">
                  <c:v>-0.009681371926397314</c:v>
                </c:pt>
                <c:pt idx="9">
                  <c:v>-0.01059297290668202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399549647421336</c:v>
                </c:pt>
                <c:pt idx="1">
                  <c:v>0.1508154410360743</c:v>
                </c:pt>
                <c:pt idx="2">
                  <c:v>0.12264206846149288</c:v>
                </c:pt>
                <c:pt idx="3">
                  <c:v>0.11086310993475156</c:v>
                </c:pt>
                <c:pt idx="4">
                  <c:v>0.09933434728504553</c:v>
                </c:pt>
                <c:pt idx="5">
                  <c:v>0.051494261955083255</c:v>
                </c:pt>
                <c:pt idx="6">
                  <c:v>0.04630598955761418</c:v>
                </c:pt>
                <c:pt idx="7">
                  <c:v>0.036284986272147275</c:v>
                </c:pt>
                <c:pt idx="8">
                  <c:v>0.01651951198635774</c:v>
                </c:pt>
                <c:pt idx="9">
                  <c:v>0.001744787037219928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8461637348575384</c:v>
                </c:pt>
                <c:pt idx="1">
                  <c:v>-0.004069737471824764</c:v>
                </c:pt>
                <c:pt idx="2">
                  <c:v>-0.0059528349465298724</c:v>
                </c:pt>
                <c:pt idx="3">
                  <c:v>0.008388466180124801</c:v>
                </c:pt>
                <c:pt idx="4">
                  <c:v>0.014915971038173922</c:v>
                </c:pt>
                <c:pt idx="5">
                  <c:v>-0.021166196370350533</c:v>
                </c:pt>
                <c:pt idx="6">
                  <c:v>-0.010736909889873934</c:v>
                </c:pt>
                <c:pt idx="7">
                  <c:v>-0.0007780237388519476</c:v>
                </c:pt>
                <c:pt idx="8">
                  <c:v>-0.017585513890670923</c:v>
                </c:pt>
                <c:pt idx="9">
                  <c:v>-0.001476858258772110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399549647421336</c:v>
                </c:pt>
                <c:pt idx="1">
                  <c:v>0.11857309340865546</c:v>
                </c:pt>
                <c:pt idx="2">
                  <c:v>0.11086310993475156</c:v>
                </c:pt>
                <c:pt idx="3">
                  <c:v>0.10776858198194639</c:v>
                </c:pt>
                <c:pt idx="4">
                  <c:v>0.09933434728504553</c:v>
                </c:pt>
                <c:pt idx="5">
                  <c:v>0.051494261955083255</c:v>
                </c:pt>
                <c:pt idx="6">
                  <c:v>0.04630598955761418</c:v>
                </c:pt>
                <c:pt idx="7">
                  <c:v>0.0430468590541279</c:v>
                </c:pt>
                <c:pt idx="8">
                  <c:v>0.036284986272147275</c:v>
                </c:pt>
                <c:pt idx="9">
                  <c:v>0.02233327407641508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14105106255737</c:v>
                </c:pt>
                <c:pt idx="1">
                  <c:v>-0.002557440502006958</c:v>
                </c:pt>
                <c:pt idx="2">
                  <c:v>0.015738327502233973</c:v>
                </c:pt>
                <c:pt idx="3">
                  <c:v>0.02468456268646836</c:v>
                </c:pt>
                <c:pt idx="4">
                  <c:v>-0.01851500414589019</c:v>
                </c:pt>
                <c:pt idx="5">
                  <c:v>-0.009321849639633624</c:v>
                </c:pt>
                <c:pt idx="6">
                  <c:v>-0.004429628544286926</c:v>
                </c:pt>
                <c:pt idx="7">
                  <c:v>-0.004681795385223411</c:v>
                </c:pt>
                <c:pt idx="8">
                  <c:v>-0.021524141493991747</c:v>
                </c:pt>
                <c:pt idx="9">
                  <c:v>0.000465918459773152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14105106255737</c:v>
                </c:pt>
                <c:pt idx="1">
                  <c:v>0.011669352449396556</c:v>
                </c:pt>
                <c:pt idx="2">
                  <c:v>0.02468456268646836</c:v>
                </c:pt>
                <c:pt idx="3">
                  <c:v>-0.003987336815272344</c:v>
                </c:pt>
                <c:pt idx="4">
                  <c:v>-0.01851500414589019</c:v>
                </c:pt>
                <c:pt idx="5">
                  <c:v>-0.009321849639633624</c:v>
                </c:pt>
                <c:pt idx="6">
                  <c:v>-0.004429628544286926</c:v>
                </c:pt>
                <c:pt idx="7">
                  <c:v>0.001429896313265365</c:v>
                </c:pt>
                <c:pt idx="8">
                  <c:v>-0.004681795385223411</c:v>
                </c:pt>
                <c:pt idx="9">
                  <c:v>-0.0169892479813811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24677209870884</c:v>
                </c:pt>
                <c:pt idx="1">
                  <c:v>0.17328290931316373</c:v>
                </c:pt>
                <c:pt idx="2">
                  <c:v>0.14218045687218275</c:v>
                </c:pt>
                <c:pt idx="3">
                  <c:v>0.11579188631675452</c:v>
                </c:pt>
                <c:pt idx="4">
                  <c:v>0.08781419512567805</c:v>
                </c:pt>
                <c:pt idx="5">
                  <c:v>0.06085262434104974</c:v>
                </c:pt>
                <c:pt idx="6">
                  <c:v>0.053586981434792576</c:v>
                </c:pt>
                <c:pt idx="7">
                  <c:v>0.046031018412407365</c:v>
                </c:pt>
                <c:pt idx="8">
                  <c:v>0.01537932615173046</c:v>
                </c:pt>
                <c:pt idx="9">
                  <c:v>0.0026128810451524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057045419408883</c:v>
                </c:pt>
                <c:pt idx="1">
                  <c:v>0.013785147654356567</c:v>
                </c:pt>
                <c:pt idx="2">
                  <c:v>0.017079700982892604</c:v>
                </c:pt>
                <c:pt idx="3">
                  <c:v>-0.0016696296611284495</c:v>
                </c:pt>
                <c:pt idx="4">
                  <c:v>-0.0016311824773022204</c:v>
                </c:pt>
                <c:pt idx="5">
                  <c:v>-0.014849011036929552</c:v>
                </c:pt>
                <c:pt idx="6">
                  <c:v>-0.006247800587074484</c:v>
                </c:pt>
                <c:pt idx="7">
                  <c:v>-0.004985663699631528</c:v>
                </c:pt>
                <c:pt idx="8">
                  <c:v>-0.013681574869707707</c:v>
                </c:pt>
                <c:pt idx="9">
                  <c:v>0.00252029485126750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24677209870884</c:v>
                </c:pt>
                <c:pt idx="1">
                  <c:v>0.17328290931316373</c:v>
                </c:pt>
                <c:pt idx="2">
                  <c:v>0.11579188631675452</c:v>
                </c:pt>
                <c:pt idx="3">
                  <c:v>0.093712277484911</c:v>
                </c:pt>
                <c:pt idx="4">
                  <c:v>0.08781419512567805</c:v>
                </c:pt>
                <c:pt idx="5">
                  <c:v>0.06085262434104974</c:v>
                </c:pt>
                <c:pt idx="6">
                  <c:v>0.053586981434792576</c:v>
                </c:pt>
                <c:pt idx="7">
                  <c:v>0.048468179387271756</c:v>
                </c:pt>
                <c:pt idx="8">
                  <c:v>0.046031018412407365</c:v>
                </c:pt>
                <c:pt idx="9">
                  <c:v>0.0179922071968828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353419216372827</c:v>
                </c:pt>
                <c:pt idx="1">
                  <c:v>0.019012502757853295</c:v>
                </c:pt>
                <c:pt idx="2">
                  <c:v>-0.009678297015922044</c:v>
                </c:pt>
                <c:pt idx="3">
                  <c:v>-0.005249783204614639</c:v>
                </c:pt>
                <c:pt idx="4">
                  <c:v>-0.0005057325247419392</c:v>
                </c:pt>
                <c:pt idx="5">
                  <c:v>-0.016635420164904033</c:v>
                </c:pt>
                <c:pt idx="6">
                  <c:v>-0.004278980006169893</c:v>
                </c:pt>
                <c:pt idx="7">
                  <c:v>-0.004490364451156123</c:v>
                </c:pt>
                <c:pt idx="8">
                  <c:v>-0.013341264703173004</c:v>
                </c:pt>
                <c:pt idx="9">
                  <c:v>0.001831834442705138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353419216372827</c:v>
                </c:pt>
                <c:pt idx="1">
                  <c:v>0.019012502757853295</c:v>
                </c:pt>
                <c:pt idx="2">
                  <c:v>-0.005249783204614639</c:v>
                </c:pt>
                <c:pt idx="3">
                  <c:v>-0.009632520333639538</c:v>
                </c:pt>
                <c:pt idx="4">
                  <c:v>-0.0005057325247419392</c:v>
                </c:pt>
                <c:pt idx="5">
                  <c:v>-0.016635420164904033</c:v>
                </c:pt>
                <c:pt idx="6">
                  <c:v>-0.004278980006169893</c:v>
                </c:pt>
                <c:pt idx="7">
                  <c:v>-4.5776682282498704e-05</c:v>
                </c:pt>
                <c:pt idx="8">
                  <c:v>-0.004490364451156123</c:v>
                </c:pt>
                <c:pt idx="9">
                  <c:v>-0.0115094302604678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62720090693308</c:v>
                </c:pt>
                <c:pt idx="1">
                  <c:v>0.1689517128989974</c:v>
                </c:pt>
                <c:pt idx="2">
                  <c:v>0.16659581251992772</c:v>
                </c:pt>
                <c:pt idx="3">
                  <c:v>0.15347008183653948</c:v>
                </c:pt>
                <c:pt idx="4">
                  <c:v>0.08111028447939915</c:v>
                </c:pt>
                <c:pt idx="5">
                  <c:v>0.06275020370567187</c:v>
                </c:pt>
                <c:pt idx="6">
                  <c:v>0.050669571686682964</c:v>
                </c:pt>
                <c:pt idx="7">
                  <c:v>0.044469833847025894</c:v>
                </c:pt>
                <c:pt idx="8">
                  <c:v>0.02551634959436001</c:v>
                </c:pt>
                <c:pt idx="9">
                  <c:v>0.010194140362064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822368802970998</c:v>
                </c:pt>
                <c:pt idx="1">
                  <c:v>0.023119516148290206</c:v>
                </c:pt>
                <c:pt idx="2">
                  <c:v>0.020432432880588686</c:v>
                </c:pt>
                <c:pt idx="3">
                  <c:v>0.011860397691971142</c:v>
                </c:pt>
                <c:pt idx="4">
                  <c:v>-0.009613825499405329</c:v>
                </c:pt>
                <c:pt idx="5">
                  <c:v>0.005651590974211404</c:v>
                </c:pt>
                <c:pt idx="6">
                  <c:v>-0.0083649743843228</c:v>
                </c:pt>
                <c:pt idx="7">
                  <c:v>-0.017664817789910844</c:v>
                </c:pt>
                <c:pt idx="8">
                  <c:v>0.0018837288268406423</c:v>
                </c:pt>
                <c:pt idx="9">
                  <c:v>0.000919639181446921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62720090693308</c:v>
                </c:pt>
                <c:pt idx="1">
                  <c:v>0.1689517128989974</c:v>
                </c:pt>
                <c:pt idx="2">
                  <c:v>0.16659581251992772</c:v>
                </c:pt>
                <c:pt idx="3">
                  <c:v>0.1044832961349063</c:v>
                </c:pt>
                <c:pt idx="4">
                  <c:v>0.08111028447939915</c:v>
                </c:pt>
                <c:pt idx="5">
                  <c:v>0.06275020370567187</c:v>
                </c:pt>
                <c:pt idx="6">
                  <c:v>0.050669571686682964</c:v>
                </c:pt>
                <c:pt idx="7">
                  <c:v>0.04849966344280299</c:v>
                </c:pt>
                <c:pt idx="8">
                  <c:v>0.044469833847025894</c:v>
                </c:pt>
                <c:pt idx="9">
                  <c:v>0.03619761221525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855993577410497</c:v>
                </c:pt>
                <c:pt idx="1">
                  <c:v>0.048144114507730526</c:v>
                </c:pt>
                <c:pt idx="2">
                  <c:v>0.02389256632630521</c:v>
                </c:pt>
                <c:pt idx="3">
                  <c:v>-0.006909478634589489</c:v>
                </c:pt>
                <c:pt idx="4">
                  <c:v>-0.003554682484117083</c:v>
                </c:pt>
                <c:pt idx="5">
                  <c:v>-0.007452324303520885</c:v>
                </c:pt>
                <c:pt idx="6">
                  <c:v>0.004481335547642455</c:v>
                </c:pt>
                <c:pt idx="7">
                  <c:v>-0.013182421252083555</c:v>
                </c:pt>
                <c:pt idx="8">
                  <c:v>0.000846714432050328</c:v>
                </c:pt>
                <c:pt idx="9">
                  <c:v>0.002294111634687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146786453020959</c:v>
                </c:pt>
                <c:pt idx="1">
                  <c:v>0.048144114507730526</c:v>
                </c:pt>
                <c:pt idx="2">
                  <c:v>0.02389256632630521</c:v>
                </c:pt>
                <c:pt idx="3">
                  <c:v>0.0012712162727977067</c:v>
                </c:pt>
                <c:pt idx="4">
                  <c:v>-0.003554682484117083</c:v>
                </c:pt>
                <c:pt idx="5">
                  <c:v>-0.007452324303520885</c:v>
                </c:pt>
                <c:pt idx="6">
                  <c:v>0.004481335547642455</c:v>
                </c:pt>
                <c:pt idx="7">
                  <c:v>-0.00866781716621741</c:v>
                </c:pt>
                <c:pt idx="8">
                  <c:v>-0.013182421252083555</c:v>
                </c:pt>
                <c:pt idx="9">
                  <c:v>0.00362794832556802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18033824699292267</c:v>
                </c:pt>
                <c:pt idx="1">
                  <c:v>0.002976882978653561</c:v>
                </c:pt>
                <c:pt idx="2">
                  <c:v>-0.007170550078243854</c:v>
                </c:pt>
                <c:pt idx="3">
                  <c:v>0.0018868593226099295</c:v>
                </c:pt>
                <c:pt idx="4">
                  <c:v>0.0031948578103935046</c:v>
                </c:pt>
                <c:pt idx="5">
                  <c:v>-0.005057243624531298</c:v>
                </c:pt>
                <c:pt idx="6">
                  <c:v>-0.0021452951640036633</c:v>
                </c:pt>
                <c:pt idx="7">
                  <c:v>-0.0010734345827247138</c:v>
                </c:pt>
                <c:pt idx="8">
                  <c:v>-0.0006081900437962494</c:v>
                </c:pt>
                <c:pt idx="9">
                  <c:v>0.00619273091171354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4877742583821825</c:v>
                </c:pt>
                <c:pt idx="1">
                  <c:v>0.19015380889748446</c:v>
                </c:pt>
                <c:pt idx="2">
                  <c:v>0.11120624789185543</c:v>
                </c:pt>
                <c:pt idx="3">
                  <c:v>0.09744734046127368</c:v>
                </c:pt>
                <c:pt idx="4">
                  <c:v>0.07224274648576041</c:v>
                </c:pt>
                <c:pt idx="5">
                  <c:v>0.05018631507305906</c:v>
                </c:pt>
                <c:pt idx="6">
                  <c:v>0.040443111198929675</c:v>
                </c:pt>
                <c:pt idx="7">
                  <c:v>0.030489009705947513</c:v>
                </c:pt>
                <c:pt idx="8">
                  <c:v>0.027430661586495632</c:v>
                </c:pt>
                <c:pt idx="9">
                  <c:v>0.031623332860975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684074113115668</c:v>
                </c:pt>
                <c:pt idx="1">
                  <c:v>-0.01606834638234944</c:v>
                </c:pt>
                <c:pt idx="2">
                  <c:v>0.018318965387506422</c:v>
                </c:pt>
                <c:pt idx="3">
                  <c:v>0.0010686763754646639</c:v>
                </c:pt>
                <c:pt idx="4">
                  <c:v>0.0008772506182212342</c:v>
                </c:pt>
                <c:pt idx="5">
                  <c:v>-0.0038213772005379412</c:v>
                </c:pt>
                <c:pt idx="6">
                  <c:v>-0.011414138182533305</c:v>
                </c:pt>
                <c:pt idx="7">
                  <c:v>-0.003854761994444629</c:v>
                </c:pt>
                <c:pt idx="8">
                  <c:v>-0.001516767979342127</c:v>
                </c:pt>
                <c:pt idx="9">
                  <c:v>0.0097264252448995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604234983856683</c:v>
                </c:pt>
                <c:pt idx="1">
                  <c:v>0.13012782258520564</c:v>
                </c:pt>
                <c:pt idx="2">
                  <c:v>0.09744734046127368</c:v>
                </c:pt>
                <c:pt idx="3">
                  <c:v>0.08010982643192498</c:v>
                </c:pt>
                <c:pt idx="4">
                  <c:v>0.07224274648576041</c:v>
                </c:pt>
                <c:pt idx="5">
                  <c:v>0.06788508275236695</c:v>
                </c:pt>
                <c:pt idx="6">
                  <c:v>0.06002598631227883</c:v>
                </c:pt>
                <c:pt idx="7">
                  <c:v>0.05018631507305906</c:v>
                </c:pt>
                <c:pt idx="8">
                  <c:v>0.040443111198929675</c:v>
                </c:pt>
                <c:pt idx="9">
                  <c:v>0.145489418860633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882951331250333</c:v>
                </c:pt>
                <c:pt idx="1">
                  <c:v>0.003430421546716439</c:v>
                </c:pt>
                <c:pt idx="2">
                  <c:v>-0.00832145529355273</c:v>
                </c:pt>
                <c:pt idx="3">
                  <c:v>0.015511996773653725</c:v>
                </c:pt>
                <c:pt idx="4">
                  <c:v>-0.005484636479817603</c:v>
                </c:pt>
                <c:pt idx="5">
                  <c:v>-0.00415119311625034</c:v>
                </c:pt>
                <c:pt idx="6">
                  <c:v>-0.00896489912536149</c:v>
                </c:pt>
                <c:pt idx="7">
                  <c:v>-0.0036471045723671935</c:v>
                </c:pt>
                <c:pt idx="8">
                  <c:v>-0.003560318924868442</c:v>
                </c:pt>
                <c:pt idx="9">
                  <c:v>0.00667680342719873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9939473456809483</c:v>
                </c:pt>
                <c:pt idx="1">
                  <c:v>0.004224255064143895</c:v>
                </c:pt>
                <c:pt idx="2">
                  <c:v>0.015511996773653725</c:v>
                </c:pt>
                <c:pt idx="3">
                  <c:v>-0.002602472840831427</c:v>
                </c:pt>
                <c:pt idx="4">
                  <c:v>-0.005484636479817603</c:v>
                </c:pt>
                <c:pt idx="5">
                  <c:v>-0.012579203079496795</c:v>
                </c:pt>
                <c:pt idx="6">
                  <c:v>-0.000793833517427428</c:v>
                </c:pt>
                <c:pt idx="7">
                  <c:v>-0.00415119311625034</c:v>
                </c:pt>
                <c:pt idx="8">
                  <c:v>-0.00896489912536149</c:v>
                </c:pt>
                <c:pt idx="9">
                  <c:v>0.0049005128645779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21265404694328</c:v>
                </c:pt>
                <c:pt idx="1">
                  <c:v>0.159711420362448</c:v>
                </c:pt>
                <c:pt idx="2">
                  <c:v>0.1535200912773816</c:v>
                </c:pt>
                <c:pt idx="3">
                  <c:v>0.10250489219713646</c:v>
                </c:pt>
                <c:pt idx="4">
                  <c:v>0.09124138547895537</c:v>
                </c:pt>
                <c:pt idx="5">
                  <c:v>0.05797008178750084</c:v>
                </c:pt>
                <c:pt idx="6">
                  <c:v>0.04938119432876001</c:v>
                </c:pt>
                <c:pt idx="7">
                  <c:v>0.04509002297205612</c:v>
                </c:pt>
                <c:pt idx="8">
                  <c:v>0.02452425155383162</c:v>
                </c:pt>
                <c:pt idx="9">
                  <c:v>0.00393011957249723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2807419323216</c:v>
                </c:pt>
                <c:pt idx="1">
                  <c:v>0.002076637428154643</c:v>
                </c:pt>
                <c:pt idx="2">
                  <c:v>0.007057469701409719</c:v>
                </c:pt>
                <c:pt idx="3">
                  <c:v>-0.002493565674925091</c:v>
                </c:pt>
                <c:pt idx="4">
                  <c:v>0.0010013617322359725</c:v>
                </c:pt>
                <c:pt idx="5">
                  <c:v>-0.011360623310047856</c:v>
                </c:pt>
                <c:pt idx="6">
                  <c:v>-0.015231777916897088</c:v>
                </c:pt>
                <c:pt idx="7">
                  <c:v>-0.0024897097026154447</c:v>
                </c:pt>
                <c:pt idx="8">
                  <c:v>-0.00015502221345736061</c:v>
                </c:pt>
                <c:pt idx="9">
                  <c:v>0.00155543895337262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286136265961</c:v>
                </c:pt>
                <c:pt idx="1">
                  <c:v>0.1534426451242738</c:v>
                </c:pt>
                <c:pt idx="2">
                  <c:v>0.12253072212538423</c:v>
                </c:pt>
                <c:pt idx="3">
                  <c:v>0.10250489219713646</c:v>
                </c:pt>
                <c:pt idx="4">
                  <c:v>0.09124138547895537</c:v>
                </c:pt>
                <c:pt idx="5">
                  <c:v>0.05797008178750084</c:v>
                </c:pt>
                <c:pt idx="6">
                  <c:v>0.04938119432876001</c:v>
                </c:pt>
                <c:pt idx="7">
                  <c:v>0.04509002297205612</c:v>
                </c:pt>
                <c:pt idx="8">
                  <c:v>0.03718069823706376</c:v>
                </c:pt>
                <c:pt idx="9">
                  <c:v>0.0377969950892594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808457689065207</c:v>
                </c:pt>
                <c:pt idx="1">
                  <c:v>-0.022585286478993605</c:v>
                </c:pt>
                <c:pt idx="2">
                  <c:v>0.015627324203102227</c:v>
                </c:pt>
                <c:pt idx="3">
                  <c:v>-0.003803390551170044</c:v>
                </c:pt>
                <c:pt idx="4">
                  <c:v>0.0047987225071950135</c:v>
                </c:pt>
                <c:pt idx="5">
                  <c:v>-0.0040808844598232835</c:v>
                </c:pt>
                <c:pt idx="6">
                  <c:v>-0.0025417698071890857</c:v>
                </c:pt>
                <c:pt idx="7">
                  <c:v>-0.007751169368344461</c:v>
                </c:pt>
                <c:pt idx="8">
                  <c:v>0.0007016363812560357</c:v>
                </c:pt>
                <c:pt idx="9">
                  <c:v>0.001550240683315099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0533058504306636</c:v>
                </c:pt>
                <c:pt idx="1">
                  <c:v>0.017084840367815046</c:v>
                </c:pt>
                <c:pt idx="2">
                  <c:v>-0.010670100431139043</c:v>
                </c:pt>
                <c:pt idx="3">
                  <c:v>-0.003803390551170044</c:v>
                </c:pt>
                <c:pt idx="4">
                  <c:v>0.0047987225071950135</c:v>
                </c:pt>
                <c:pt idx="5">
                  <c:v>-0.0040808844598232835</c:v>
                </c:pt>
                <c:pt idx="6">
                  <c:v>-0.0024702909649263957</c:v>
                </c:pt>
                <c:pt idx="7">
                  <c:v>-0.007751169368344461</c:v>
                </c:pt>
                <c:pt idx="8">
                  <c:v>-0.011915186047854569</c:v>
                </c:pt>
                <c:pt idx="9">
                  <c:v>0.0083458792862037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055419774918104</c:v>
                </c:pt>
                <c:pt idx="1">
                  <c:v>0.3011426357048489</c:v>
                </c:pt>
                <c:pt idx="2">
                  <c:v>0.10262340868016356</c:v>
                </c:pt>
                <c:pt idx="3">
                  <c:v>0.07432106856094291</c:v>
                </c:pt>
                <c:pt idx="4">
                  <c:v>0.044169217804769796</c:v>
                </c:pt>
                <c:pt idx="5">
                  <c:v>0.02290872637369003</c:v>
                </c:pt>
                <c:pt idx="6">
                  <c:v>0.01352011069205084</c:v>
                </c:pt>
                <c:pt idx="7">
                  <c:v>0.050760634434352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3464252805597534</c:v>
                </c:pt>
                <c:pt idx="1">
                  <c:v>-0.008589002640136123</c:v>
                </c:pt>
                <c:pt idx="2">
                  <c:v>-0.007975568462339419</c:v>
                </c:pt>
                <c:pt idx="3">
                  <c:v>0.01032983210540879</c:v>
                </c:pt>
                <c:pt idx="4">
                  <c:v>0.0021401418234383504</c:v>
                </c:pt>
                <c:pt idx="5">
                  <c:v>-0.0009491361482115018</c:v>
                </c:pt>
                <c:pt idx="6">
                  <c:v>-0.0009570505262452202</c:v>
                </c:pt>
                <c:pt idx="7">
                  <c:v>0.0025365310424876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055419774918104</c:v>
                </c:pt>
                <c:pt idx="1">
                  <c:v>0.3011426357048489</c:v>
                </c:pt>
                <c:pt idx="2">
                  <c:v>0.10262340868016356</c:v>
                </c:pt>
                <c:pt idx="3">
                  <c:v>0.07432106856094291</c:v>
                </c:pt>
                <c:pt idx="4">
                  <c:v>0.044169217804769796</c:v>
                </c:pt>
                <c:pt idx="5">
                  <c:v>0.02290872637369003</c:v>
                </c:pt>
                <c:pt idx="6">
                  <c:v>0.01352011069205084</c:v>
                </c:pt>
                <c:pt idx="7">
                  <c:v>0.050760634434352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7101898367074699</c:v>
                </c:pt>
                <c:pt idx="1">
                  <c:v>-0.01760788408152192</c:v>
                </c:pt>
                <c:pt idx="2">
                  <c:v>-0.01635001623889165</c:v>
                </c:pt>
                <c:pt idx="3">
                  <c:v>0.021176418316869783</c:v>
                </c:pt>
                <c:pt idx="4">
                  <c:v>0.004387251952524242</c:v>
                </c:pt>
                <c:pt idx="5">
                  <c:v>-0.0019457661849336845</c:v>
                </c:pt>
                <c:pt idx="6">
                  <c:v>-0.0019619923947107546</c:v>
                </c:pt>
                <c:pt idx="7">
                  <c:v>0.0052000902635892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7101898367074699</c:v>
                </c:pt>
                <c:pt idx="1">
                  <c:v>-0.01760788408152192</c:v>
                </c:pt>
                <c:pt idx="2">
                  <c:v>-0.01635001623889165</c:v>
                </c:pt>
                <c:pt idx="3">
                  <c:v>0.021176418316869783</c:v>
                </c:pt>
                <c:pt idx="4">
                  <c:v>0.004387251952524242</c:v>
                </c:pt>
                <c:pt idx="5">
                  <c:v>-0.0019457661849336845</c:v>
                </c:pt>
                <c:pt idx="6">
                  <c:v>-0.0019619923947107546</c:v>
                </c:pt>
                <c:pt idx="7">
                  <c:v>0.0052000902635892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2976882978653561</c:v>
                </c:pt>
                <c:pt idx="1">
                  <c:v>0.0023437798855451414</c:v>
                </c:pt>
                <c:pt idx="2">
                  <c:v>0.003197306130380377</c:v>
                </c:pt>
                <c:pt idx="3">
                  <c:v>0.0006010823906999821</c:v>
                </c:pt>
                <c:pt idx="4">
                  <c:v>-0.005057243624531298</c:v>
                </c:pt>
                <c:pt idx="5">
                  <c:v>-0.0021452951640036633</c:v>
                </c:pt>
                <c:pt idx="6">
                  <c:v>-0.0010734345827247138</c:v>
                </c:pt>
                <c:pt idx="7">
                  <c:v>-0.0006081900437962494</c:v>
                </c:pt>
                <c:pt idx="8">
                  <c:v>-0.007469411311145691</c:v>
                </c:pt>
                <c:pt idx="9">
                  <c:v>0.00723452334092254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609834313201497</c:v>
                </c:pt>
                <c:pt idx="1">
                  <c:v>0.239016568679850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7953076683987814</c:v>
                </c:pt>
                <c:pt idx="1">
                  <c:v>-0.00795307668398781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6790388233908007</c:v>
                </c:pt>
                <c:pt idx="1">
                  <c:v>-0.067903882339080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671608258301704</c:v>
                </c:pt>
                <c:pt idx="1">
                  <c:v>0.232839174169829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7950882754511945</c:v>
                </c:pt>
                <c:pt idx="1">
                  <c:v>0.0079508827545119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955517379423454</c:v>
                </c:pt>
                <c:pt idx="1">
                  <c:v>0.009555173794234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65461106461172</c:v>
                </c:pt>
                <c:pt idx="1">
                  <c:v>0.11189988384407558</c:v>
                </c:pt>
                <c:pt idx="2">
                  <c:v>0.09033469643470118</c:v>
                </c:pt>
                <c:pt idx="3">
                  <c:v>0.07165919447335377</c:v>
                </c:pt>
                <c:pt idx="4">
                  <c:v>0.05481127555687882</c:v>
                </c:pt>
                <c:pt idx="5">
                  <c:v>0.05269738844395448</c:v>
                </c:pt>
                <c:pt idx="6">
                  <c:v>0.05162147082423394</c:v>
                </c:pt>
                <c:pt idx="7">
                  <c:v>0.037566451350660786</c:v>
                </c:pt>
                <c:pt idx="8">
                  <c:v>0.03609222943192465</c:v>
                </c:pt>
                <c:pt idx="9">
                  <c:v>0.18677129899409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907640211509648</c:v>
                </c:pt>
                <c:pt idx="1">
                  <c:v>-0.0013057785709579411</c:v>
                </c:pt>
                <c:pt idx="2">
                  <c:v>0.015307372086785676</c:v>
                </c:pt>
                <c:pt idx="3">
                  <c:v>-0.016549734735446797</c:v>
                </c:pt>
                <c:pt idx="4">
                  <c:v>-0.0062829066040649695</c:v>
                </c:pt>
                <c:pt idx="5">
                  <c:v>-0.0020288179570429332</c:v>
                </c:pt>
                <c:pt idx="6">
                  <c:v>-0.0038940006570107877</c:v>
                </c:pt>
                <c:pt idx="7">
                  <c:v>-0.001136717682220012</c:v>
                </c:pt>
                <c:pt idx="8">
                  <c:v>-0.003449573274630309</c:v>
                </c:pt>
                <c:pt idx="9">
                  <c:v>0.000269739476696071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95011260116904</c:v>
                </c:pt>
                <c:pt idx="1">
                  <c:v>0.09070646725103708</c:v>
                </c:pt>
                <c:pt idx="2">
                  <c:v>0.07930476424976793</c:v>
                </c:pt>
                <c:pt idx="3">
                  <c:v>0.0523080346247164</c:v>
                </c:pt>
                <c:pt idx="4">
                  <c:v>0.05162147082423394</c:v>
                </c:pt>
                <c:pt idx="5">
                  <c:v>0.03609222943192465</c:v>
                </c:pt>
                <c:pt idx="6">
                  <c:v>0.03326564248165422</c:v>
                </c:pt>
                <c:pt idx="7">
                  <c:v>0.03259511959430766</c:v>
                </c:pt>
                <c:pt idx="8">
                  <c:v>0.030596507665871308</c:v>
                </c:pt>
                <c:pt idx="9">
                  <c:v>0.344008637864796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849442204931096</c:v>
                </c:pt>
                <c:pt idx="1">
                  <c:v>0.2150557795068904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349633175365085</c:v>
                </c:pt>
                <c:pt idx="1">
                  <c:v>-0.03496331753650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5617327077243928</c:v>
                </c:pt>
                <c:pt idx="1">
                  <c:v>-0.0561732707724391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8232040533186287</c:v>
                </c:pt>
                <c:pt idx="1">
                  <c:v>-0.005215704888225828</c:v>
                </c:pt>
                <c:pt idx="2">
                  <c:v>0.00885886341082584</c:v>
                </c:pt>
                <c:pt idx="3">
                  <c:v>-0.020524844367386344</c:v>
                </c:pt>
                <c:pt idx="4">
                  <c:v>0.00034312713759662716</c:v>
                </c:pt>
                <c:pt idx="5">
                  <c:v>0.00784606261134655</c:v>
                </c:pt>
                <c:pt idx="6">
                  <c:v>7.113740739354141e-05</c:v>
                </c:pt>
                <c:pt idx="7">
                  <c:v>-0.0028323342011533914</c:v>
                </c:pt>
                <c:pt idx="8">
                  <c:v>-0.0022566599900396347</c:v>
                </c:pt>
                <c:pt idx="9">
                  <c:v>-0.01451242777933335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2091530136330195</c:v>
                </c:pt>
                <c:pt idx="1">
                  <c:v>0.008792678998312611</c:v>
                </c:pt>
                <c:pt idx="2">
                  <c:v>-0.003255496870502292</c:v>
                </c:pt>
                <c:pt idx="3">
                  <c:v>0.007758425223666612</c:v>
                </c:pt>
                <c:pt idx="4">
                  <c:v>7.113740739354141e-05</c:v>
                </c:pt>
                <c:pt idx="5">
                  <c:v>-0.0022566599900396347</c:v>
                </c:pt>
                <c:pt idx="6">
                  <c:v>-0.010565147022857956</c:v>
                </c:pt>
                <c:pt idx="7">
                  <c:v>-0.001960208017723522</c:v>
                </c:pt>
                <c:pt idx="8">
                  <c:v>0.0018936387550057103</c:v>
                </c:pt>
                <c:pt idx="9">
                  <c:v>-0.0225698986195852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048814504881451</c:v>
                </c:pt>
                <c:pt idx="1">
                  <c:v>0.295118549511854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691473126335359</c:v>
                </c:pt>
                <c:pt idx="1">
                  <c:v>0.069147312633535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29252788216477477</c:v>
                </c:pt>
                <c:pt idx="1">
                  <c:v>0.0292527882164775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6088610291151043</c:v>
                </c:pt>
                <c:pt idx="1">
                  <c:v>0.14444277272285044</c:v>
                </c:pt>
                <c:pt idx="2">
                  <c:v>0.09996684495571188</c:v>
                </c:pt>
                <c:pt idx="3">
                  <c:v>0.07999666484834314</c:v>
                </c:pt>
                <c:pt idx="4">
                  <c:v>0.07365740642319193</c:v>
                </c:pt>
                <c:pt idx="5">
                  <c:v>0.05580015186970248</c:v>
                </c:pt>
                <c:pt idx="6">
                  <c:v>0.050290434702613025</c:v>
                </c:pt>
                <c:pt idx="7">
                  <c:v>0.039974036079087116</c:v>
                </c:pt>
                <c:pt idx="8">
                  <c:v>0.024697394374901066</c:v>
                </c:pt>
                <c:pt idx="9">
                  <c:v>0.270288191112088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34743262207116987</c:v>
                </c:pt>
                <c:pt idx="1">
                  <c:v>-0.006363484111737344</c:v>
                </c:pt>
                <c:pt idx="2">
                  <c:v>0.0025989312324003616</c:v>
                </c:pt>
                <c:pt idx="3">
                  <c:v>0.0038024126719935075</c:v>
                </c:pt>
                <c:pt idx="4">
                  <c:v>-0.0046768328916575175</c:v>
                </c:pt>
                <c:pt idx="5">
                  <c:v>-0.000247884819898965</c:v>
                </c:pt>
                <c:pt idx="6">
                  <c:v>-0.0009196044803515685</c:v>
                </c:pt>
                <c:pt idx="7">
                  <c:v>0.0020066643702220666</c:v>
                </c:pt>
                <c:pt idx="8">
                  <c:v>-0.0006203356262418844</c:v>
                </c:pt>
                <c:pt idx="9">
                  <c:v>0.000945807434559618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6088610291151043</c:v>
                </c:pt>
                <c:pt idx="1">
                  <c:v>0.07984328958531389</c:v>
                </c:pt>
                <c:pt idx="2">
                  <c:v>0.07365740642319193</c:v>
                </c:pt>
                <c:pt idx="3">
                  <c:v>0.05580015186970248</c:v>
                </c:pt>
                <c:pt idx="4">
                  <c:v>0.05330247371705945</c:v>
                </c:pt>
                <c:pt idx="5">
                  <c:v>0.045081895068841756</c:v>
                </c:pt>
                <c:pt idx="6">
                  <c:v>0.037494407206382786</c:v>
                </c:pt>
                <c:pt idx="7">
                  <c:v>0.035849161017664</c:v>
                </c:pt>
                <c:pt idx="8">
                  <c:v>0.026958570258962342</c:v>
                </c:pt>
                <c:pt idx="9">
                  <c:v>0.431126541941370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72891593364201035</c:v>
                </c:pt>
                <c:pt idx="1">
                  <c:v>-0.013351106985644956</c:v>
                </c:pt>
                <c:pt idx="2">
                  <c:v>0.005452660464997969</c:v>
                </c:pt>
                <c:pt idx="3">
                  <c:v>0.007977590247950028</c:v>
                </c:pt>
                <c:pt idx="4">
                  <c:v>-0.00981236500052489</c:v>
                </c:pt>
                <c:pt idx="5">
                  <c:v>-0.0005201379263912384</c:v>
                </c:pt>
                <c:pt idx="6">
                  <c:v>-0.0019293879798116323</c:v>
                </c:pt>
                <c:pt idx="7">
                  <c:v>0.004210088920796495</c:v>
                </c:pt>
                <c:pt idx="8">
                  <c:v>-0.0013014686277352944</c:v>
                </c:pt>
                <c:pt idx="9">
                  <c:v>0.00198496754994343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72891593364201035</c:v>
                </c:pt>
                <c:pt idx="1">
                  <c:v>0.007980685776705201</c:v>
                </c:pt>
                <c:pt idx="2">
                  <c:v>-0.00981236500052489</c:v>
                </c:pt>
                <c:pt idx="3">
                  <c:v>-0.0005201379263912384</c:v>
                </c:pt>
                <c:pt idx="4">
                  <c:v>-0.015272636875359576</c:v>
                </c:pt>
                <c:pt idx="5">
                  <c:v>0.002691228479243621</c:v>
                </c:pt>
                <c:pt idx="6">
                  <c:v>0.0008587182723887865</c:v>
                </c:pt>
                <c:pt idx="7">
                  <c:v>-0.003102824566699705</c:v>
                </c:pt>
                <c:pt idx="8">
                  <c:v>-0.0005674132235327159</c:v>
                </c:pt>
                <c:pt idx="9">
                  <c:v>0.0104555857277504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990605344868767</c:v>
                </c:pt>
                <c:pt idx="1">
                  <c:v>0.3606890740691595</c:v>
                </c:pt>
                <c:pt idx="2">
                  <c:v>0.18290385074706086</c:v>
                </c:pt>
                <c:pt idx="3">
                  <c:v>0.0573465406969029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2261175878554055</c:v>
                </c:pt>
                <c:pt idx="1">
                  <c:v>0.034512660420376096</c:v>
                </c:pt>
                <c:pt idx="2">
                  <c:v>-0.008664665078667755</c:v>
                </c:pt>
                <c:pt idx="3">
                  <c:v>-0.251965583197113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06890740691595</c:v>
                </c:pt>
                <c:pt idx="1">
                  <c:v>0.18290385074706086</c:v>
                </c:pt>
                <c:pt idx="2">
                  <c:v>0.057346540696902946</c:v>
                </c:pt>
                <c:pt idx="3">
                  <c:v>0.39906053448687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3912191674064317</c:v>
                </c:pt>
                <c:pt idx="1">
                  <c:v>0.0283434348623241</c:v>
                </c:pt>
                <c:pt idx="2">
                  <c:v>0.004351537350317347</c:v>
                </c:pt>
                <c:pt idx="3">
                  <c:v>-0.42391413961907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83434348623241</c:v>
                </c:pt>
                <c:pt idx="1">
                  <c:v>0.004351537350317347</c:v>
                </c:pt>
                <c:pt idx="2">
                  <c:v>-0.4239141396190732</c:v>
                </c:pt>
                <c:pt idx="3">
                  <c:v>0.39121916740643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863319959518954</c:v>
                </c:pt>
                <c:pt idx="1">
                  <c:v>0.3590997590658536</c:v>
                </c:pt>
                <c:pt idx="2">
                  <c:v>0.2072752865266954</c:v>
                </c:pt>
                <c:pt idx="3">
                  <c:v>0.0472929584555556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43200170573132</c:v>
                </c:pt>
                <c:pt idx="1">
                  <c:v>0.19743218824125353</c:v>
                </c:pt>
                <c:pt idx="2">
                  <c:v>-0.004914262778918738</c:v>
                </c:pt>
                <c:pt idx="3">
                  <c:v>-0.2368379425196479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863319959518954</c:v>
                </c:pt>
                <c:pt idx="1">
                  <c:v>0.2072752865266954</c:v>
                </c:pt>
                <c:pt idx="2">
                  <c:v>0.04729295845555561</c:v>
                </c:pt>
                <c:pt idx="3">
                  <c:v>0.35909975906585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5280786023936673</c:v>
                </c:pt>
                <c:pt idx="1">
                  <c:v>0.350769106427104</c:v>
                </c:pt>
                <c:pt idx="2">
                  <c:v>0.014227431397738244</c:v>
                </c:pt>
                <c:pt idx="3">
                  <c:v>-0.41780439806420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5280786023936673</c:v>
                </c:pt>
                <c:pt idx="1">
                  <c:v>0.014227431397738244</c:v>
                </c:pt>
                <c:pt idx="2">
                  <c:v>-0.417804398064209</c:v>
                </c:pt>
                <c:pt idx="3">
                  <c:v>0.3507691064271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1140404659717966</c:v>
                </c:pt>
                <c:pt idx="1">
                  <c:v>0.28828939301042306</c:v>
                </c:pt>
                <c:pt idx="2">
                  <c:v>0.12733292458614348</c:v>
                </c:pt>
                <c:pt idx="3">
                  <c:v>0.12522378908645004</c:v>
                </c:pt>
                <c:pt idx="4">
                  <c:v>0.04774984671980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19823394168752162</c:v>
                </c:pt>
                <c:pt idx="1">
                  <c:v>-0.03259726221931353</c:v>
                </c:pt>
                <c:pt idx="2">
                  <c:v>0.018489375334090286</c:v>
                </c:pt>
                <c:pt idx="3">
                  <c:v>0.0017823227862509977</c:v>
                </c:pt>
                <c:pt idx="4">
                  <c:v>-0.185908377588549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28828939301042306</c:v>
                </c:pt>
                <c:pt idx="1">
                  <c:v>0.12733292458614348</c:v>
                </c:pt>
                <c:pt idx="2">
                  <c:v>0.12522378908645004</c:v>
                </c:pt>
                <c:pt idx="3">
                  <c:v>0.0477498467198038</c:v>
                </c:pt>
                <c:pt idx="4">
                  <c:v>0.411404046597179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4026083907427003</c:v>
                </c:pt>
                <c:pt idx="1">
                  <c:v>-0.045573882029322554</c:v>
                </c:pt>
                <c:pt idx="2">
                  <c:v>-0.05522855209298025</c:v>
                </c:pt>
                <c:pt idx="3">
                  <c:v>0.000845782355502131</c:v>
                </c:pt>
                <c:pt idx="4">
                  <c:v>-0.302651738975899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45573882029322554</c:v>
                </c:pt>
                <c:pt idx="1">
                  <c:v>-0.05522855209298025</c:v>
                </c:pt>
                <c:pt idx="2">
                  <c:v>0.000845782355502131</c:v>
                </c:pt>
                <c:pt idx="3">
                  <c:v>-0.30265173897589953</c:v>
                </c:pt>
                <c:pt idx="4">
                  <c:v>0.40260839074270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813459408605352</c:v>
                </c:pt>
                <c:pt idx="1">
                  <c:v>0.36477049049246596</c:v>
                </c:pt>
                <c:pt idx="2">
                  <c:v>0.2017609821077685</c:v>
                </c:pt>
                <c:pt idx="3">
                  <c:v>0.052122586539230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9124934863075865</c:v>
                </c:pt>
                <c:pt idx="1">
                  <c:v>0.027298726689610642</c:v>
                </c:pt>
                <c:pt idx="2">
                  <c:v>0.013739683192058066</c:v>
                </c:pt>
                <c:pt idx="3">
                  <c:v>-0.232287758512427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477049049246596</c:v>
                </c:pt>
                <c:pt idx="1">
                  <c:v>0.2017609821077685</c:v>
                </c:pt>
                <c:pt idx="2">
                  <c:v>0.05212258653923038</c:v>
                </c:pt>
                <c:pt idx="3">
                  <c:v>0.38134594086053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3744677540908983</c:v>
                </c:pt>
                <c:pt idx="1">
                  <c:v>0.034440965805056956</c:v>
                </c:pt>
                <c:pt idx="2">
                  <c:v>0.019363300772885117</c:v>
                </c:pt>
                <c:pt idx="3">
                  <c:v>-0.42827202066884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4440965805056956</c:v>
                </c:pt>
                <c:pt idx="1">
                  <c:v>0.019363300772885117</c:v>
                </c:pt>
                <c:pt idx="2">
                  <c:v>-0.4282720206688403</c:v>
                </c:pt>
                <c:pt idx="3">
                  <c:v>0.37446775409089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28698752228164</c:v>
                </c:pt>
                <c:pt idx="1">
                  <c:v>0.3183022594787301</c:v>
                </c:pt>
                <c:pt idx="2">
                  <c:v>0.1338102808691044</c:v>
                </c:pt>
                <c:pt idx="3">
                  <c:v>0.0550175844293491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3085006347265974</c:v>
                </c:pt>
                <c:pt idx="1">
                  <c:v>0.025533319457291814</c:v>
                </c:pt>
                <c:pt idx="2">
                  <c:v>-0.002450513302442864</c:v>
                </c:pt>
                <c:pt idx="3">
                  <c:v>-0.33158344088144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183022594787301</c:v>
                </c:pt>
                <c:pt idx="1">
                  <c:v>0.1338102808691044</c:v>
                </c:pt>
                <c:pt idx="2">
                  <c:v>0.055017584429349134</c:v>
                </c:pt>
                <c:pt idx="3">
                  <c:v>0.49286987522281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4816771109492155</c:v>
                </c:pt>
                <c:pt idx="1">
                  <c:v>0.03570192030405511</c:v>
                </c:pt>
                <c:pt idx="2">
                  <c:v>-0.022843195671313904</c:v>
                </c:pt>
                <c:pt idx="3">
                  <c:v>-0.49453583558195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570192030405511</c:v>
                </c:pt>
                <c:pt idx="1">
                  <c:v>-0.022843195671313904</c:v>
                </c:pt>
                <c:pt idx="2">
                  <c:v>-0.4945358355819567</c:v>
                </c:pt>
                <c:pt idx="3">
                  <c:v>0.48167711094921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233658344628566</c:v>
                </c:pt>
                <c:pt idx="1">
                  <c:v>0.36146211359363384</c:v>
                </c:pt>
                <c:pt idx="2">
                  <c:v>0.2225088540072581</c:v>
                </c:pt>
                <c:pt idx="3">
                  <c:v>0.053692448952822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9781378098819848</c:v>
                </c:pt>
                <c:pt idx="1">
                  <c:v>0.23149251754734473</c:v>
                </c:pt>
                <c:pt idx="2">
                  <c:v>-0.026273629161932655</c:v>
                </c:pt>
                <c:pt idx="3">
                  <c:v>-0.2150002664842319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233658344628566</c:v>
                </c:pt>
                <c:pt idx="1">
                  <c:v>0.2225088540072581</c:v>
                </c:pt>
                <c:pt idx="2">
                  <c:v>0.05369244895282235</c:v>
                </c:pt>
                <c:pt idx="3">
                  <c:v>0.3614621135936338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826487127897144</c:v>
                </c:pt>
                <c:pt idx="1">
                  <c:v>0.3500212491727665</c:v>
                </c:pt>
                <c:pt idx="2">
                  <c:v>0.032561169071062906</c:v>
                </c:pt>
                <c:pt idx="3">
                  <c:v>-0.40540890537172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826487127897144</c:v>
                </c:pt>
                <c:pt idx="1">
                  <c:v>0.032561169071062906</c:v>
                </c:pt>
                <c:pt idx="2">
                  <c:v>-0.4054089053717266</c:v>
                </c:pt>
                <c:pt idx="3">
                  <c:v>0.3500212491727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800917957544464</c:v>
                </c:pt>
                <c:pt idx="1">
                  <c:v>0.36982214572576017</c:v>
                </c:pt>
                <c:pt idx="2">
                  <c:v>0.08353413654618475</c:v>
                </c:pt>
                <c:pt idx="3">
                  <c:v>0.0665519219736087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32044198895027626</c:v>
                </c:pt>
                <c:pt idx="1">
                  <c:v>-0.129468506448354</c:v>
                </c:pt>
                <c:pt idx="2">
                  <c:v>-0.16647307046468837</c:v>
                </c:pt>
                <c:pt idx="3">
                  <c:v>-0.0245004120372339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982214572576017</c:v>
                </c:pt>
                <c:pt idx="1">
                  <c:v>0.08353413654618475</c:v>
                </c:pt>
                <c:pt idx="2">
                  <c:v>0.06655192197360872</c:v>
                </c:pt>
                <c:pt idx="3">
                  <c:v>0.48009179575444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45672263804387403</c:v>
                </c:pt>
                <c:pt idx="1">
                  <c:v>-0.09518660208728658</c:v>
                </c:pt>
                <c:pt idx="2">
                  <c:v>-0.35285676572824665</c:v>
                </c:pt>
                <c:pt idx="3">
                  <c:v>-0.00867927022834079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9518660208728658</c:v>
                </c:pt>
                <c:pt idx="1">
                  <c:v>-0.35285676572824665</c:v>
                </c:pt>
                <c:pt idx="2">
                  <c:v>-0.008679270228340794</c:v>
                </c:pt>
                <c:pt idx="3">
                  <c:v>0.456722638043874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90349771082758</c:v>
                </c:pt>
                <c:pt idx="1">
                  <c:v>0.2516417411269146</c:v>
                </c:pt>
                <c:pt idx="2">
                  <c:v>0.12696884646500256</c:v>
                </c:pt>
                <c:pt idx="3">
                  <c:v>0.3423544352998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754464288024967</c:v>
                </c:pt>
                <c:pt idx="1">
                  <c:v>-0.02744060696393763</c:v>
                </c:pt>
                <c:pt idx="2">
                  <c:v>0.07170355677771266</c:v>
                </c:pt>
                <c:pt idx="3">
                  <c:v>-0.067017414101800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90349771082758</c:v>
                </c:pt>
                <c:pt idx="1">
                  <c:v>0.2516417411269146</c:v>
                </c:pt>
                <c:pt idx="2">
                  <c:v>0.12696884646500256</c:v>
                </c:pt>
                <c:pt idx="3">
                  <c:v>0.3423544352998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595207012271437</c:v>
                </c:pt>
                <c:pt idx="1">
                  <c:v>-0.05548923201652112</c:v>
                </c:pt>
                <c:pt idx="2">
                  <c:v>0.12131741531923845</c:v>
                </c:pt>
                <c:pt idx="3">
                  <c:v>-0.1010754972130949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595207012271437</c:v>
                </c:pt>
                <c:pt idx="1">
                  <c:v>-0.05548923201652112</c:v>
                </c:pt>
                <c:pt idx="2">
                  <c:v>0.12129065242509908</c:v>
                </c:pt>
                <c:pt idx="3">
                  <c:v>-0.1017534905312923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2880546370139835</c:v>
                </c:pt>
                <c:pt idx="1">
                  <c:v>0.2444401218958698</c:v>
                </c:pt>
                <c:pt idx="2">
                  <c:v>0.20418638829453847</c:v>
                </c:pt>
                <c:pt idx="3">
                  <c:v>0.222568026108193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149140167027726</c:v>
                </c:pt>
                <c:pt idx="1">
                  <c:v>-0.02130801614291422</c:v>
                </c:pt>
                <c:pt idx="2">
                  <c:v>0.10201748934659091</c:v>
                </c:pt>
                <c:pt idx="3">
                  <c:v>-0.0392180715333994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2880546370139835</c:v>
                </c:pt>
                <c:pt idx="1">
                  <c:v>0.2444401218958698</c:v>
                </c:pt>
                <c:pt idx="2">
                  <c:v>0.20418638829453847</c:v>
                </c:pt>
                <c:pt idx="3">
                  <c:v>0.22256802610819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3588097046901</c:v>
                </c:pt>
                <c:pt idx="1">
                  <c:v>-0.03436516242348689</c:v>
                </c:pt>
                <c:pt idx="2">
                  <c:v>0.19705255716300488</c:v>
                </c:pt>
                <c:pt idx="3">
                  <c:v>-0.097328585034827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3588097046901</c:v>
                </c:pt>
                <c:pt idx="1">
                  <c:v>-0.03436516242348689</c:v>
                </c:pt>
                <c:pt idx="2">
                  <c:v>0.19705255716300488</c:v>
                </c:pt>
                <c:pt idx="3">
                  <c:v>-0.0973285850348278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3306561721950045</c:v>
                </c:pt>
                <c:pt idx="1">
                  <c:v>0.27877278933419003</c:v>
                </c:pt>
                <c:pt idx="2">
                  <c:v>0.2329130190346157</c:v>
                </c:pt>
                <c:pt idx="3">
                  <c:v>0.155248574411693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976945772619081</c:v>
                </c:pt>
                <c:pt idx="1">
                  <c:v>0.041402836156475525</c:v>
                </c:pt>
                <c:pt idx="2">
                  <c:v>0.12111824707215715</c:v>
                </c:pt>
                <c:pt idx="3">
                  <c:v>-0.0927516255024419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3306561721950045</c:v>
                </c:pt>
                <c:pt idx="1">
                  <c:v>0.27877278933419003</c:v>
                </c:pt>
                <c:pt idx="2">
                  <c:v>0.2329130190346157</c:v>
                </c:pt>
                <c:pt idx="3">
                  <c:v>0.1552485744116938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4768928717583107</c:v>
                </c:pt>
                <c:pt idx="1">
                  <c:v>0.009962260404465684</c:v>
                </c:pt>
                <c:pt idx="2">
                  <c:v>0.22658076177114414</c:v>
                </c:pt>
                <c:pt idx="3">
                  <c:v>-0.087736277835636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4768928717583107</c:v>
                </c:pt>
                <c:pt idx="1">
                  <c:v>0.009962260404465684</c:v>
                </c:pt>
                <c:pt idx="2">
                  <c:v>0.22658076177114414</c:v>
                </c:pt>
                <c:pt idx="3">
                  <c:v>-0.088853734999778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0095301788998496</c:v>
                </c:pt>
                <c:pt idx="1">
                  <c:v>0.1637964665886418</c:v>
                </c:pt>
                <c:pt idx="2">
                  <c:v>0.05921529287187204</c:v>
                </c:pt>
                <c:pt idx="3">
                  <c:v>0.47603522264950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5188861074370493</c:v>
                </c:pt>
                <c:pt idx="1">
                  <c:v>-0.04917145576385429</c:v>
                </c:pt>
                <c:pt idx="2">
                  <c:v>0.026681741096664782</c:v>
                </c:pt>
                <c:pt idx="3">
                  <c:v>0.0743783254108943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0095301788998496</c:v>
                </c:pt>
                <c:pt idx="1">
                  <c:v>0.1637964665886418</c:v>
                </c:pt>
                <c:pt idx="2">
                  <c:v>0.05921529287187204</c:v>
                </c:pt>
                <c:pt idx="3">
                  <c:v>0.47603522264950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925596852589803</c:v>
                </c:pt>
                <c:pt idx="1">
                  <c:v>-0.06864867447718892</c:v>
                </c:pt>
                <c:pt idx="2">
                  <c:v>0.057334415128925335</c:v>
                </c:pt>
                <c:pt idx="3">
                  <c:v>0.0605702278741616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925596852589803</c:v>
                </c:pt>
                <c:pt idx="1">
                  <c:v>-0.06864867447718892</c:v>
                </c:pt>
                <c:pt idx="2">
                  <c:v>0.057334415128925335</c:v>
                </c:pt>
                <c:pt idx="3">
                  <c:v>0.060570227874161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72043665132555</c:v>
                </c:pt>
                <c:pt idx="1">
                  <c:v>0.2543455935491233</c:v>
                </c:pt>
                <c:pt idx="2">
                  <c:v>0.13765166787113461</c:v>
                </c:pt>
                <c:pt idx="3">
                  <c:v>0.110798372066486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940642163031074</c:v>
                </c:pt>
                <c:pt idx="1">
                  <c:v>-0.006117396248487561</c:v>
                </c:pt>
                <c:pt idx="2">
                  <c:v>0.08623751387347392</c:v>
                </c:pt>
                <c:pt idx="3">
                  <c:v>-0.140263761371960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72043665132555</c:v>
                </c:pt>
                <c:pt idx="1">
                  <c:v>0.2543455935491233</c:v>
                </c:pt>
                <c:pt idx="2">
                  <c:v>0.13765166787113461</c:v>
                </c:pt>
                <c:pt idx="3">
                  <c:v>0.110798372066486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906571668408108</c:v>
                </c:pt>
                <c:pt idx="1">
                  <c:v>-0.06014647062940026</c:v>
                </c:pt>
                <c:pt idx="2">
                  <c:v>0.1258452413693831</c:v>
                </c:pt>
                <c:pt idx="3">
                  <c:v>-0.0802235541541594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906571668408108</c:v>
                </c:pt>
                <c:pt idx="1">
                  <c:v>-0.06014647062940026</c:v>
                </c:pt>
                <c:pt idx="2">
                  <c:v>0.1258452413693831</c:v>
                </c:pt>
                <c:pt idx="3">
                  <c:v>-0.084764487424063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717881512377376</c:v>
                </c:pt>
                <c:pt idx="1">
                  <c:v>0.1256607672776073</c:v>
                </c:pt>
                <c:pt idx="2">
                  <c:v>0.10583026707914087</c:v>
                </c:pt>
                <c:pt idx="3">
                  <c:v>0.07286987216240226</c:v>
                </c:pt>
                <c:pt idx="4">
                  <c:v>0.058701966393013984</c:v>
                </c:pt>
                <c:pt idx="5">
                  <c:v>0.04457580158395131</c:v>
                </c:pt>
                <c:pt idx="6">
                  <c:v>0.04304477466181947</c:v>
                </c:pt>
                <c:pt idx="7">
                  <c:v>0.0346875255958719</c:v>
                </c:pt>
                <c:pt idx="8">
                  <c:v>0.032796187553948225</c:v>
                </c:pt>
                <c:pt idx="9">
                  <c:v>0.174654022568470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9125487786262527</c:v>
                </c:pt>
                <c:pt idx="1">
                  <c:v>0.27490205134427437</c:v>
                </c:pt>
                <c:pt idx="2">
                  <c:v>0.165778833696686</c:v>
                </c:pt>
                <c:pt idx="3">
                  <c:v>0.268064237096414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9570551065492205</c:v>
                </c:pt>
                <c:pt idx="1">
                  <c:v>-0.04322800494538853</c:v>
                </c:pt>
                <c:pt idx="2">
                  <c:v>0.07914639127831119</c:v>
                </c:pt>
                <c:pt idx="3">
                  <c:v>-0.04548893739841486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9125487786262527</c:v>
                </c:pt>
                <c:pt idx="1">
                  <c:v>0.27490205134427437</c:v>
                </c:pt>
                <c:pt idx="2">
                  <c:v>0.165778833696686</c:v>
                </c:pt>
                <c:pt idx="3">
                  <c:v>0.2680642370964143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2178424926035436</c:v>
                </c:pt>
                <c:pt idx="1">
                  <c:v>-0.061334923617723636</c:v>
                </c:pt>
                <c:pt idx="2">
                  <c:v>0.16032466056508488</c:v>
                </c:pt>
                <c:pt idx="3">
                  <c:v>-0.1109555081917314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9750840535417877</c:v>
                </c:pt>
                <c:pt idx="1">
                  <c:v>0.002760929964931824</c:v>
                </c:pt>
                <c:pt idx="2">
                  <c:v>0.01443494981952019</c:v>
                </c:pt>
                <c:pt idx="3">
                  <c:v>-0.017319134856389723</c:v>
                </c:pt>
                <c:pt idx="4">
                  <c:v>-0.004841577553544932</c:v>
                </c:pt>
                <c:pt idx="5">
                  <c:v>-0.005856291806928461</c:v>
                </c:pt>
                <c:pt idx="6">
                  <c:v>-0.010879614183429594</c:v>
                </c:pt>
                <c:pt idx="7">
                  <c:v>-0.008505549533191423</c:v>
                </c:pt>
                <c:pt idx="8">
                  <c:v>-0.0026329387653684644</c:v>
                </c:pt>
                <c:pt idx="9">
                  <c:v>0.00315154046531968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2178424926035436</c:v>
                </c:pt>
                <c:pt idx="1">
                  <c:v>-0.061334923617723636</c:v>
                </c:pt>
                <c:pt idx="2">
                  <c:v>0.16032466056508488</c:v>
                </c:pt>
                <c:pt idx="3">
                  <c:v>-0.1111681618733966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334448441069514</c:v>
                </c:pt>
                <c:pt idx="1">
                  <c:v>0.2625930695560786</c:v>
                </c:pt>
                <c:pt idx="2">
                  <c:v>0.13751844121753976</c:v>
                </c:pt>
                <c:pt idx="3">
                  <c:v>0.32654400481568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80792750395913</c:v>
                </c:pt>
                <c:pt idx="1">
                  <c:v>-0.009837124773590111</c:v>
                </c:pt>
                <c:pt idx="2">
                  <c:v>0.07329316774470056</c:v>
                </c:pt>
                <c:pt idx="3">
                  <c:v>-0.086263970475069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334448441069514</c:v>
                </c:pt>
                <c:pt idx="1">
                  <c:v>0.2625930695560786</c:v>
                </c:pt>
                <c:pt idx="2">
                  <c:v>0.13751844121753976</c:v>
                </c:pt>
                <c:pt idx="3">
                  <c:v>0.32654400481568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373309970833102</c:v>
                </c:pt>
                <c:pt idx="1">
                  <c:v>-0.03176466877827144</c:v>
                </c:pt>
                <c:pt idx="2">
                  <c:v>0.1312994062094312</c:v>
                </c:pt>
                <c:pt idx="3">
                  <c:v>-0.133267837139490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373309970833102</c:v>
                </c:pt>
                <c:pt idx="1">
                  <c:v>-0.03176466877827144</c:v>
                </c:pt>
                <c:pt idx="2">
                  <c:v>0.1312994062094312</c:v>
                </c:pt>
                <c:pt idx="3">
                  <c:v>-0.133267837139490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4517820259462003</c:v>
                </c:pt>
                <c:pt idx="1">
                  <c:v>0.20506993787358024</c:v>
                </c:pt>
                <c:pt idx="2">
                  <c:v>0.11014352785544144</c:v>
                </c:pt>
                <c:pt idx="3">
                  <c:v>0.439608331676358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6840865057093054</c:v>
                </c:pt>
                <c:pt idx="1">
                  <c:v>-0.02240107459900395</c:v>
                </c:pt>
                <c:pt idx="2">
                  <c:v>0.058307318492423585</c:v>
                </c:pt>
                <c:pt idx="3">
                  <c:v>-0.0427471089505126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4517820259462003</c:v>
                </c:pt>
                <c:pt idx="1">
                  <c:v>0.20506993787358024</c:v>
                </c:pt>
                <c:pt idx="2">
                  <c:v>0.11014352785544144</c:v>
                </c:pt>
                <c:pt idx="3">
                  <c:v>0.439608331676358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8944799009907837</c:v>
                </c:pt>
                <c:pt idx="1">
                  <c:v>-0.03237089394310527</c:v>
                </c:pt>
                <c:pt idx="2">
                  <c:v>0.10539872198005504</c:v>
                </c:pt>
                <c:pt idx="3">
                  <c:v>-0.091972627046857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458233837585136</c:v>
                </c:pt>
                <c:pt idx="1">
                  <c:v>0.10631934512371076</c:v>
                </c:pt>
                <c:pt idx="2">
                  <c:v>0.08784542613582666</c:v>
                </c:pt>
                <c:pt idx="3">
                  <c:v>0.04457580158395131</c:v>
                </c:pt>
                <c:pt idx="4">
                  <c:v>0.04304477466181947</c:v>
                </c:pt>
                <c:pt idx="5">
                  <c:v>0.03871828474580543</c:v>
                </c:pt>
                <c:pt idx="6">
                  <c:v>0.03781534114178065</c:v>
                </c:pt>
                <c:pt idx="7">
                  <c:v>0.03304308927210066</c:v>
                </c:pt>
                <c:pt idx="8">
                  <c:v>0.032796187553948225</c:v>
                </c:pt>
                <c:pt idx="9">
                  <c:v>0.331259411405205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18944799009907837</c:v>
                </c:pt>
                <c:pt idx="1">
                  <c:v>-0.03237089394310527</c:v>
                </c:pt>
                <c:pt idx="2">
                  <c:v>0.10537601955959863</c:v>
                </c:pt>
                <c:pt idx="3">
                  <c:v>-0.091949924626401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714801229031074</c:v>
                </c:pt>
                <c:pt idx="1">
                  <c:v>-0.009077841780612744</c:v>
                </c:pt>
                <c:pt idx="2">
                  <c:v>0.009010102229306455</c:v>
                </c:pt>
                <c:pt idx="3">
                  <c:v>-0.016876931102783294</c:v>
                </c:pt>
                <c:pt idx="4">
                  <c:v>-0.002910091162414072</c:v>
                </c:pt>
                <c:pt idx="5">
                  <c:v>0.0018981136852470465</c:v>
                </c:pt>
                <c:pt idx="6">
                  <c:v>-0.008300736844153639</c:v>
                </c:pt>
                <c:pt idx="7">
                  <c:v>-0.008760943209336042</c:v>
                </c:pt>
                <c:pt idx="8">
                  <c:v>-0.003031100717400738</c:v>
                </c:pt>
                <c:pt idx="9">
                  <c:v>-0.00909858338816368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736547165881707</c:v>
                </c:pt>
                <c:pt idx="1">
                  <c:v>0.009422492721686201</c:v>
                </c:pt>
                <c:pt idx="2">
                  <c:v>-0.006501565155875744</c:v>
                </c:pt>
                <c:pt idx="3">
                  <c:v>0.002072080817530235</c:v>
                </c:pt>
                <c:pt idx="4">
                  <c:v>-0.008300736844153639</c:v>
                </c:pt>
                <c:pt idx="5">
                  <c:v>-0.008456276004937306</c:v>
                </c:pt>
                <c:pt idx="6">
                  <c:v>-0.0025762766247369936</c:v>
                </c:pt>
                <c:pt idx="7">
                  <c:v>0.000922010988311274</c:v>
                </c:pt>
                <c:pt idx="8">
                  <c:v>-0.003031100717400738</c:v>
                </c:pt>
                <c:pt idx="9">
                  <c:v>-0.0207421337069571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99865004783811</c:v>
                </c:pt>
                <c:pt idx="1">
                  <c:v>0.0300134995216188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4660525990257347</c:v>
                </c:pt>
                <c:pt idx="1">
                  <c:v>0.00466052599025735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699865004783811</c:v>
                </c:pt>
                <c:pt idx="1">
                  <c:v>0.0300134995216188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3050951600651617</c:v>
                </c:pt>
                <c:pt idx="1">
                  <c:v>0.0130509516006516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13050951600651617</c:v>
                </c:pt>
                <c:pt idx="1">
                  <c:v>0.0130509516006516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461094678961003</c:v>
                </c:pt>
                <c:pt idx="1">
                  <c:v>0.115939295887882</c:v>
                </c:pt>
                <c:pt idx="2">
                  <c:v>0.10608951772190847</c:v>
                </c:pt>
                <c:pt idx="3">
                  <c:v>0.07577468213715001</c:v>
                </c:pt>
                <c:pt idx="4">
                  <c:v>0.04928156213503257</c:v>
                </c:pt>
                <c:pt idx="5">
                  <c:v>0.04235193695347937</c:v>
                </c:pt>
                <c:pt idx="6">
                  <c:v>0.04215839048743933</c:v>
                </c:pt>
                <c:pt idx="7">
                  <c:v>0.03776554740565023</c:v>
                </c:pt>
                <c:pt idx="8">
                  <c:v>0.029949247815571723</c:v>
                </c:pt>
                <c:pt idx="9">
                  <c:v>0.15458035155978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3648886781092393</c:v>
                </c:pt>
                <c:pt idx="1">
                  <c:v>-0.0006233835755826006</c:v>
                </c:pt>
                <c:pt idx="2">
                  <c:v>0.024586291272962635</c:v>
                </c:pt>
                <c:pt idx="3">
                  <c:v>-0.019312629284454347</c:v>
                </c:pt>
                <c:pt idx="4">
                  <c:v>0.0018142613252438364</c:v>
                </c:pt>
                <c:pt idx="5">
                  <c:v>-0.0029959104390949384</c:v>
                </c:pt>
                <c:pt idx="6">
                  <c:v>-0.00724849363120602</c:v>
                </c:pt>
                <c:pt idx="7">
                  <c:v>-0.006710523325180587</c:v>
                </c:pt>
                <c:pt idx="8">
                  <c:v>0.0022468774053948024</c:v>
                </c:pt>
                <c:pt idx="9">
                  <c:v>-0.0154053765291751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488121634463097</c:v>
                </c:pt>
                <c:pt idx="1">
                  <c:v>0.25118783655369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6805375296162985</c:v>
                </c:pt>
                <c:pt idx="1">
                  <c:v>-0.0068053752961629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488121634463097</c:v>
                </c:pt>
                <c:pt idx="1">
                  <c:v>0.25118783655369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9574219305516118</c:v>
                </c:pt>
                <c:pt idx="1">
                  <c:v>-0.09574219305516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9574219305516118</c:v>
                </c:pt>
                <c:pt idx="1">
                  <c:v>-0.09574219305516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58088918885834</c:v>
                </c:pt>
                <c:pt idx="1">
                  <c:v>0.10645303768697086</c:v>
                </c:pt>
                <c:pt idx="2">
                  <c:v>0.08652354153639501</c:v>
                </c:pt>
                <c:pt idx="3">
                  <c:v>0.04235193695347937</c:v>
                </c:pt>
                <c:pt idx="4">
                  <c:v>0.04215839048743933</c:v>
                </c:pt>
                <c:pt idx="5">
                  <c:v>0.03911003364730871</c:v>
                </c:pt>
                <c:pt idx="6">
                  <c:v>0.029949247815571723</c:v>
                </c:pt>
                <c:pt idx="7">
                  <c:v>0.029512114023682146</c:v>
                </c:pt>
                <c:pt idx="8">
                  <c:v>0.029415754351486998</c:v>
                </c:pt>
                <c:pt idx="9">
                  <c:v>0.298717051609082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4419897052794607</c:v>
                </c:pt>
                <c:pt idx="1">
                  <c:v>0.55801029472053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0977456175220942</c:v>
                </c:pt>
                <c:pt idx="1">
                  <c:v>0.0097745617522093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4419897052794607</c:v>
                </c:pt>
                <c:pt idx="1">
                  <c:v>0.55801029472053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57433846524929666</c:v>
                </c:pt>
                <c:pt idx="1">
                  <c:v>-0.0574338465249296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9127605258981337</c:v>
                </c:pt>
                <c:pt idx="1">
                  <c:v>-0.005624189568951762</c:v>
                </c:pt>
                <c:pt idx="2">
                  <c:v>0.015557366074533785</c:v>
                </c:pt>
                <c:pt idx="3">
                  <c:v>-0.014799650262318303</c:v>
                </c:pt>
                <c:pt idx="4">
                  <c:v>0.004255231611706434</c:v>
                </c:pt>
                <c:pt idx="5">
                  <c:v>0.0018468783276417503</c:v>
                </c:pt>
                <c:pt idx="6">
                  <c:v>-0.0069482968922599045</c:v>
                </c:pt>
                <c:pt idx="7">
                  <c:v>0.001259368285987765</c:v>
                </c:pt>
                <c:pt idx="8">
                  <c:v>-0.0002352262787768851</c:v>
                </c:pt>
                <c:pt idx="9">
                  <c:v>-0.02443908655654417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057433846524929666</c:v>
                </c:pt>
                <c:pt idx="1">
                  <c:v>-0.0574338465249296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0632924245907023</c:v>
                </c:pt>
                <c:pt idx="1">
                  <c:v>0.014909269027846492</c:v>
                </c:pt>
                <c:pt idx="2">
                  <c:v>-0.001055596945177234</c:v>
                </c:pt>
                <c:pt idx="3">
                  <c:v>0.0018468783276417503</c:v>
                </c:pt>
                <c:pt idx="4">
                  <c:v>-0.0069482968922599045</c:v>
                </c:pt>
                <c:pt idx="5">
                  <c:v>-0.0020140365284840797</c:v>
                </c:pt>
                <c:pt idx="6">
                  <c:v>-0.0002352262787768851</c:v>
                </c:pt>
                <c:pt idx="7">
                  <c:v>7.824100505087264e-05</c:v>
                </c:pt>
                <c:pt idx="8">
                  <c:v>-0.004568592623774532</c:v>
                </c:pt>
                <c:pt idx="9">
                  <c:v>-0.0326455633379734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2</c:f>
              <c:numCache>
                <c:formatCode>General</c:formatCode>
                <c:ptCount val="1"/>
                <c:pt idx="0">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29019867402251703</c:v>
                </c:pt>
                <c:pt idx="1">
                  <c:v>0.20630309636494323</c:v>
                </c:pt>
                <c:pt idx="2">
                  <c:v>0.1912474427936147</c:v>
                </c:pt>
                <c:pt idx="3">
                  <c:v>0.13825672305625386</c:v>
                </c:pt>
                <c:pt idx="4">
                  <c:v>0.09217916708852943</c:v>
                </c:pt>
                <c:pt idx="5">
                  <c:v>0.04288585004089376</c:v>
                </c:pt>
                <c:pt idx="6">
                  <c:v>0.014557047693110819</c:v>
                </c:pt>
                <c:pt idx="7">
                  <c:v>0.0243719989401371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26472255975074604</c:v>
                </c:pt>
                <c:pt idx="1">
                  <c:v>0.002748555097251998</c:v>
                </c:pt>
                <c:pt idx="2">
                  <c:v>-0.010719449838430734</c:v>
                </c:pt>
                <c:pt idx="3">
                  <c:v>-0.01634171495095868</c:v>
                </c:pt>
                <c:pt idx="4">
                  <c:v>0.005538777181455845</c:v>
                </c:pt>
                <c:pt idx="5">
                  <c:v>-0.0014891600105457897</c:v>
                </c:pt>
                <c:pt idx="6">
                  <c:v>-0.0033122608930776024</c:v>
                </c:pt>
                <c:pt idx="7">
                  <c:v>-0.0028970025607696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29019867402251703</c:v>
                </c:pt>
                <c:pt idx="1">
                  <c:v>0.20630309636494323</c:v>
                </c:pt>
                <c:pt idx="2">
                  <c:v>0.1912474427936147</c:v>
                </c:pt>
                <c:pt idx="3">
                  <c:v>0.13825672305625386</c:v>
                </c:pt>
                <c:pt idx="4">
                  <c:v>0.09217916708852943</c:v>
                </c:pt>
                <c:pt idx="5">
                  <c:v>0.04288585004089376</c:v>
                </c:pt>
                <c:pt idx="6">
                  <c:v>0.014557047693110819</c:v>
                </c:pt>
                <c:pt idx="7">
                  <c:v>0.0243719989401371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5200925954595373</c:v>
                </c:pt>
                <c:pt idx="1">
                  <c:v>0.00540011920750047</c:v>
                </c:pt>
                <c:pt idx="2">
                  <c:v>-0.02106069924646306</c:v>
                </c:pt>
                <c:pt idx="3">
                  <c:v>-0.03210599454300053</c:v>
                </c:pt>
                <c:pt idx="4">
                  <c:v>0.010882033717644388</c:v>
                </c:pt>
                <c:pt idx="5">
                  <c:v>-0.0029257871618606213</c:v>
                </c:pt>
                <c:pt idx="6">
                  <c:v>-0.006507464022012997</c:v>
                </c:pt>
                <c:pt idx="7">
                  <c:v>-0.00569146749776142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5200925954595373</c:v>
                </c:pt>
                <c:pt idx="1">
                  <c:v>0.00540011920750047</c:v>
                </c:pt>
                <c:pt idx="2">
                  <c:v>-0.02106069924646306</c:v>
                </c:pt>
                <c:pt idx="3">
                  <c:v>-0.03210599454300053</c:v>
                </c:pt>
                <c:pt idx="4">
                  <c:v>0.010882033717644388</c:v>
                </c:pt>
                <c:pt idx="5">
                  <c:v>-0.0029257871618606213</c:v>
                </c:pt>
                <c:pt idx="6">
                  <c:v>-0.006507464022012997</c:v>
                </c:pt>
                <c:pt idx="7">
                  <c:v>-0.00569146749776142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121278140885984</c:v>
                </c:pt>
                <c:pt idx="1">
                  <c:v>0.08787218591140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8241141416292662</c:v>
                </c:pt>
                <c:pt idx="1">
                  <c:v>-0.82411414162926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121278140885984</c:v>
                </c:pt>
                <c:pt idx="1">
                  <c:v>0.08787218591140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6164692876849249</c:v>
                </c:pt>
                <c:pt idx="1">
                  <c:v>-0.616469287684924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6164692876849249</c:v>
                </c:pt>
                <c:pt idx="1">
                  <c:v>-0.616469287684924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706199460916442</c:v>
                </c:pt>
                <c:pt idx="1">
                  <c:v>0.129380053908355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7498598233910673</c:v>
                </c:pt>
                <c:pt idx="1">
                  <c:v>-0.74985982339106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706199460916442</c:v>
                </c:pt>
                <c:pt idx="1">
                  <c:v>0.129380053908355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4752115408170023</c:v>
                </c:pt>
                <c:pt idx="1">
                  <c:v>-0.475211540817002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4752115408170023</c:v>
                </c:pt>
                <c:pt idx="1">
                  <c:v>-0.475211540817002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144907245362268</c:v>
                </c:pt>
                <c:pt idx="1">
                  <c:v>0.185509275463773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7502933547774975</c:v>
                </c:pt>
                <c:pt idx="1">
                  <c:v>-0.750293354777497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144907245362268</c:v>
                </c:pt>
                <c:pt idx="1">
                  <c:v>0.185509275463773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4272133708466594</c:v>
                </c:pt>
                <c:pt idx="1">
                  <c:v>-0.427213370846659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4272133708466594</c:v>
                </c:pt>
                <c:pt idx="1">
                  <c:v>-0.427213370846659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78227245687091</c:v>
                </c:pt>
                <c:pt idx="1">
                  <c:v>0.14217727543129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7011998076182805</c:v>
                </c:pt>
                <c:pt idx="1">
                  <c:v>-0.70119980761828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78227245687091</c:v>
                </c:pt>
                <c:pt idx="1">
                  <c:v>0.142177275431290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3955963183554825</c:v>
                </c:pt>
                <c:pt idx="1">
                  <c:v>-0.39559631835548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3955963183554825</c:v>
                </c:pt>
                <c:pt idx="1">
                  <c:v>-0.39559631835548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518031453362256</c:v>
                </c:pt>
                <c:pt idx="1">
                  <c:v>0.04819685466377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8596141886687222</c:v>
                </c:pt>
                <c:pt idx="1">
                  <c:v>-0.85961418866872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518031453362256</c:v>
                </c:pt>
                <c:pt idx="1">
                  <c:v>0.04819685466377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515057421755577</c:v>
                </c:pt>
                <c:pt idx="1">
                  <c:v>-0.5150574217555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3</c:f>
              <c:numCache>
                <c:formatCode>General</c:formatCode>
                <c:ptCount val="2"/>
                <c:pt idx="0">
                  <c:v>0.515057421755577</c:v>
                </c:pt>
                <c:pt idx="1">
                  <c:v>-0.5150574217555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385236830060073</c:v>
                </c:pt>
                <c:pt idx="1">
                  <c:v>0.10361588661084292</c:v>
                </c:pt>
                <c:pt idx="2">
                  <c:v>0.08364717943626779</c:v>
                </c:pt>
                <c:pt idx="3">
                  <c:v>0.06635423303496553</c:v>
                </c:pt>
                <c:pt idx="4">
                  <c:v>0.05075357290818052</c:v>
                </c:pt>
                <c:pt idx="5">
                  <c:v>0.04879617778071018</c:v>
                </c:pt>
                <c:pt idx="6">
                  <c:v>0.0477999108118998</c:v>
                </c:pt>
                <c:pt idx="7">
                  <c:v>0.03478539056345855</c:v>
                </c:pt>
                <c:pt idx="8">
                  <c:v>0.033420305936705655</c:v>
                </c:pt>
                <c:pt idx="9">
                  <c:v>0.246974974616368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23214810880791</c:v>
                </c:pt>
                <c:pt idx="1">
                  <c:v>0.12336754213057001</c:v>
                </c:pt>
                <c:pt idx="2">
                  <c:v>0.0663926948145018</c:v>
                </c:pt>
                <c:pt idx="3">
                  <c:v>0.04594921530481222</c:v>
                </c:pt>
                <c:pt idx="4">
                  <c:v>0.03677003088785984</c:v>
                </c:pt>
                <c:pt idx="5">
                  <c:v>0.03385622531182947</c:v>
                </c:pt>
                <c:pt idx="6">
                  <c:v>0.032283814695520774</c:v>
                </c:pt>
                <c:pt idx="7">
                  <c:v>0.029711021209499606</c:v>
                </c:pt>
                <c:pt idx="8">
                  <c:v>0.025648235606896382</c:v>
                </c:pt>
                <c:pt idx="9">
                  <c:v>0.4736997389504307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48100023709682</c:v>
                </c:pt>
                <c:pt idx="1">
                  <c:v>0.1835174439231391</c:v>
                </c:pt>
                <c:pt idx="2">
                  <c:v>0.09657697945564646</c:v>
                </c:pt>
                <c:pt idx="3">
                  <c:v>0.024247563700302687</c:v>
                </c:pt>
                <c:pt idx="4">
                  <c:v>0.000848010549943494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70229961342649</c:v>
                </c:pt>
                <c:pt idx="1">
                  <c:v>0.21124841324451135</c:v>
                </c:pt>
                <c:pt idx="2">
                  <c:v>0.013420040378651172</c:v>
                </c:pt>
                <c:pt idx="3">
                  <c:v>0.0051015850341885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97369876657552</c:v>
                </c:pt>
                <c:pt idx="1">
                  <c:v>0.002630123342448031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855247188283841</c:v>
                </c:pt>
                <c:pt idx="1">
                  <c:v>0.214475281171615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560011666561044</c:v>
                </c:pt>
                <c:pt idx="1">
                  <c:v>0.27627718298607606</c:v>
                </c:pt>
                <c:pt idx="2">
                  <c:v>0.1615777274659242</c:v>
                </c:pt>
                <c:pt idx="3">
                  <c:v>0.02806812507327053</c:v>
                </c:pt>
                <c:pt idx="4">
                  <c:v>0.023548886287435802</c:v>
                </c:pt>
                <c:pt idx="5">
                  <c:v>0.013962228255080058</c:v>
                </c:pt>
                <c:pt idx="6">
                  <c:v>0.013051885308191574</c:v>
                </c:pt>
                <c:pt idx="7">
                  <c:v>0.012455131282642865</c:v>
                </c:pt>
                <c:pt idx="8">
                  <c:v>0.012252318741591162</c:v>
                </c:pt>
                <c:pt idx="9">
                  <c:v>0.143206397934177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731270943473702</c:v>
                </c:pt>
                <c:pt idx="1">
                  <c:v>0.32170788757799956</c:v>
                </c:pt>
                <c:pt idx="2">
                  <c:v>0.205165018074630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237324441411506</c:v>
                </c:pt>
                <c:pt idx="1">
                  <c:v>0.22511556322194498</c:v>
                </c:pt>
                <c:pt idx="2">
                  <c:v>0.17550054082124267</c:v>
                </c:pt>
                <c:pt idx="3">
                  <c:v>0.10322978627447366</c:v>
                </c:pt>
                <c:pt idx="4">
                  <c:v>0.06176652211810579</c:v>
                </c:pt>
                <c:pt idx="5">
                  <c:v>0.018865989836713993</c:v>
                </c:pt>
                <c:pt idx="6">
                  <c:v>0.0531483533134038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855247188283841</c:v>
                </c:pt>
                <c:pt idx="1">
                  <c:v>0.214475281171615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560011666561044</c:v>
                </c:pt>
                <c:pt idx="1">
                  <c:v>0.27627718298607606</c:v>
                </c:pt>
                <c:pt idx="2">
                  <c:v>0.1615777274659242</c:v>
                </c:pt>
                <c:pt idx="3">
                  <c:v>0.02806812507327053</c:v>
                </c:pt>
                <c:pt idx="4">
                  <c:v>0.023548886287435802</c:v>
                </c:pt>
                <c:pt idx="5">
                  <c:v>0.013962228255080058</c:v>
                </c:pt>
                <c:pt idx="6">
                  <c:v>0.013051885308191574</c:v>
                </c:pt>
                <c:pt idx="7">
                  <c:v>0.012455131282642865</c:v>
                </c:pt>
                <c:pt idx="8">
                  <c:v>0.012252318741591162</c:v>
                </c:pt>
                <c:pt idx="9">
                  <c:v>0.143206397934177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82935824932382</c:v>
                </c:pt>
                <c:pt idx="1">
                  <c:v>0.12791301259459606</c:v>
                </c:pt>
                <c:pt idx="2">
                  <c:v>0.053793404912165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29019867402251703</c:v>
                </c:pt>
                <c:pt idx="1">
                  <c:v>0.20630309636494323</c:v>
                </c:pt>
                <c:pt idx="2">
                  <c:v>0.1912474427936147</c:v>
                </c:pt>
                <c:pt idx="3">
                  <c:v>0.13825672305625386</c:v>
                </c:pt>
                <c:pt idx="4">
                  <c:v>0.09217916708852943</c:v>
                </c:pt>
                <c:pt idx="5">
                  <c:v>0.04288585004089376</c:v>
                </c:pt>
                <c:pt idx="6">
                  <c:v>0.014557047693110819</c:v>
                </c:pt>
                <c:pt idx="7">
                  <c:v>0.0243719989401371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461094678961003</c:v>
                </c:pt>
                <c:pt idx="1">
                  <c:v>0.115939295887882</c:v>
                </c:pt>
                <c:pt idx="2">
                  <c:v>0.10608951772190847</c:v>
                </c:pt>
                <c:pt idx="3">
                  <c:v>0.07577468213715001</c:v>
                </c:pt>
                <c:pt idx="4">
                  <c:v>0.04928156213503257</c:v>
                </c:pt>
                <c:pt idx="5">
                  <c:v>0.04235193695347937</c:v>
                </c:pt>
                <c:pt idx="6">
                  <c:v>0.04215839048743933</c:v>
                </c:pt>
                <c:pt idx="7">
                  <c:v>0.03776554740565023</c:v>
                </c:pt>
                <c:pt idx="8">
                  <c:v>0.029949247815571723</c:v>
                </c:pt>
                <c:pt idx="9">
                  <c:v>0.1545803515597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36056308864414</c:v>
                </c:pt>
                <c:pt idx="1">
                  <c:v>0.11370328529276529</c:v>
                </c:pt>
                <c:pt idx="2">
                  <c:v>0.09664345331802694</c:v>
                </c:pt>
                <c:pt idx="3">
                  <c:v>0.07824456536633344</c:v>
                </c:pt>
                <c:pt idx="4">
                  <c:v>0.0580346403656483</c:v>
                </c:pt>
                <c:pt idx="5">
                  <c:v>0.05137437843137852</c:v>
                </c:pt>
                <c:pt idx="6">
                  <c:v>0.050732636425367614</c:v>
                </c:pt>
                <c:pt idx="7">
                  <c:v>0.0381010526700426</c:v>
                </c:pt>
                <c:pt idx="8">
                  <c:v>0.03748290971763352</c:v>
                </c:pt>
                <c:pt idx="9">
                  <c:v>0.172077447526362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764213759768713</c:v>
                </c:pt>
                <c:pt idx="1">
                  <c:v>0.10926051407146406</c:v>
                </c:pt>
                <c:pt idx="2">
                  <c:v>0.07576455707638795</c:v>
                </c:pt>
                <c:pt idx="3">
                  <c:v>0.07491710710575056</c:v>
                </c:pt>
                <c:pt idx="4">
                  <c:v>0.04955323666260107</c:v>
                </c:pt>
                <c:pt idx="5">
                  <c:v>0.04460947734562046</c:v>
                </c:pt>
                <c:pt idx="6">
                  <c:v>0.03567059673849212</c:v>
                </c:pt>
                <c:pt idx="7">
                  <c:v>0.03097348330848805</c:v>
                </c:pt>
                <c:pt idx="8">
                  <c:v>0.028095947960428243</c:v>
                </c:pt>
                <c:pt idx="9">
                  <c:v>0.174733703753896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051482547982505</c:v>
                </c:pt>
                <c:pt idx="1">
                  <c:v>0.32990758924806324</c:v>
                </c:pt>
                <c:pt idx="2">
                  <c:v>0.07421776165977903</c:v>
                </c:pt>
                <c:pt idx="3">
                  <c:v>0.07312738707695274</c:v>
                </c:pt>
                <c:pt idx="4">
                  <c:v>0.042232436535379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046841342576274</c:v>
                </c:pt>
                <c:pt idx="1">
                  <c:v>0.37021109936161045</c:v>
                </c:pt>
                <c:pt idx="2">
                  <c:v>0.0912387890181334</c:v>
                </c:pt>
                <c:pt idx="3">
                  <c:v>0.06765362472094937</c:v>
                </c:pt>
                <c:pt idx="4">
                  <c:v>0.06588336662358517</c:v>
                </c:pt>
                <c:pt idx="5">
                  <c:v>0.00032898601809423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9918972450633214</c:v>
                </c:pt>
                <c:pt idx="1">
                  <c:v>0.2894184022567673</c:v>
                </c:pt>
                <c:pt idx="2">
                  <c:v>0.09135105936018247</c:v>
                </c:pt>
                <c:pt idx="3">
                  <c:v>0.07594081987875878</c:v>
                </c:pt>
                <c:pt idx="4">
                  <c:v>0.0440999939979593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78471382560963</c:v>
                </c:pt>
                <c:pt idx="1">
                  <c:v>0.14150066097485767</c:v>
                </c:pt>
                <c:pt idx="2">
                  <c:v>0.10955597469716262</c:v>
                </c:pt>
                <c:pt idx="3">
                  <c:v>0.0873055863318765</c:v>
                </c:pt>
                <c:pt idx="4">
                  <c:v>0.08370743180869764</c:v>
                </c:pt>
                <c:pt idx="5">
                  <c:v>0.07369845344528889</c:v>
                </c:pt>
                <c:pt idx="6">
                  <c:v>0.07041789758440196</c:v>
                </c:pt>
                <c:pt idx="7">
                  <c:v>0.04344584334847237</c:v>
                </c:pt>
                <c:pt idx="8">
                  <c:v>0.026422944144463133</c:v>
                </c:pt>
                <c:pt idx="9">
                  <c:v>0.204160493839169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34462100561164</c:v>
                </c:pt>
                <c:pt idx="1">
                  <c:v>0.13653719112726476</c:v>
                </c:pt>
                <c:pt idx="2">
                  <c:v>0.1296532135165881</c:v>
                </c:pt>
                <c:pt idx="3">
                  <c:v>0.08825156746727338</c:v>
                </c:pt>
                <c:pt idx="4">
                  <c:v>0.07362028299074425</c:v>
                </c:pt>
                <c:pt idx="5">
                  <c:v>0.06642030779357368</c:v>
                </c:pt>
                <c:pt idx="6">
                  <c:v>0.06574657709029422</c:v>
                </c:pt>
                <c:pt idx="7">
                  <c:v>0.03349932149952183</c:v>
                </c:pt>
                <c:pt idx="8">
                  <c:v>0.031918141123329684</c:v>
                </c:pt>
                <c:pt idx="9">
                  <c:v>0.230907187335293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85910852342416</c:v>
                </c:pt>
                <c:pt idx="1">
                  <c:v>0.1485907663790593</c:v>
                </c:pt>
                <c:pt idx="2">
                  <c:v>0.10911436910250769</c:v>
                </c:pt>
                <c:pt idx="3">
                  <c:v>0.10055417030693</c:v>
                </c:pt>
                <c:pt idx="4">
                  <c:v>0.08576779265060061</c:v>
                </c:pt>
                <c:pt idx="5">
                  <c:v>0.06467871088975476</c:v>
                </c:pt>
                <c:pt idx="6">
                  <c:v>0.04808336149887444</c:v>
                </c:pt>
                <c:pt idx="7">
                  <c:v>0.04016512447043469</c:v>
                </c:pt>
                <c:pt idx="8">
                  <c:v>0.03271879311187778</c:v>
                </c:pt>
                <c:pt idx="9">
                  <c:v>0.210467803066536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50922700424436</c:v>
                </c:pt>
                <c:pt idx="1">
                  <c:v>0.08036268352055131</c:v>
                </c:pt>
                <c:pt idx="2">
                  <c:v>0.07287132025902462</c:v>
                </c:pt>
                <c:pt idx="3">
                  <c:v>0.059719246955011074</c:v>
                </c:pt>
                <c:pt idx="4">
                  <c:v>0.04242341418808528</c:v>
                </c:pt>
                <c:pt idx="5">
                  <c:v>0.0292735043505508</c:v>
                </c:pt>
                <c:pt idx="6">
                  <c:v>0.027693092087590104</c:v>
                </c:pt>
                <c:pt idx="7">
                  <c:v>0.022465435918663755</c:v>
                </c:pt>
                <c:pt idx="8">
                  <c:v>0.013921546215069481</c:v>
                </c:pt>
                <c:pt idx="9">
                  <c:v>0.036177486463009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61043657263611</c:v>
                </c:pt>
                <c:pt idx="1">
                  <c:v>0.06911451264721688</c:v>
                </c:pt>
                <c:pt idx="2">
                  <c:v>0.06580640239736946</c:v>
                </c:pt>
                <c:pt idx="3">
                  <c:v>0.05388331496443113</c:v>
                </c:pt>
                <c:pt idx="4">
                  <c:v>0.03378986127683606</c:v>
                </c:pt>
                <c:pt idx="5">
                  <c:v>0.026246276881598002</c:v>
                </c:pt>
                <c:pt idx="6">
                  <c:v>0.022029589113465163</c:v>
                </c:pt>
                <c:pt idx="7">
                  <c:v>0.019792871651470575</c:v>
                </c:pt>
                <c:pt idx="8">
                  <c:v>0.012280028600836164</c:v>
                </c:pt>
                <c:pt idx="9">
                  <c:v>0.080952776740415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568247023999142</c:v>
                </c:pt>
                <c:pt idx="1">
                  <c:v>0.04844426780417606</c:v>
                </c:pt>
                <c:pt idx="2">
                  <c:v>0.046184013988291174</c:v>
                </c:pt>
                <c:pt idx="3">
                  <c:v>0.04528901415515555</c:v>
                </c:pt>
                <c:pt idx="4">
                  <c:v>0.03259923121031282</c:v>
                </c:pt>
                <c:pt idx="5">
                  <c:v>0.0325213611683338</c:v>
                </c:pt>
                <c:pt idx="6">
                  <c:v>0.028635949463354054</c:v>
                </c:pt>
                <c:pt idx="7">
                  <c:v>0.025762848304101728</c:v>
                </c:pt>
                <c:pt idx="8">
                  <c:v>0.021837995928509234</c:v>
                </c:pt>
                <c:pt idx="9">
                  <c:v>0.061900615577851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59861334257624</c:v>
                </c:pt>
                <c:pt idx="1">
                  <c:v>0.15909857332798333</c:v>
                </c:pt>
                <c:pt idx="2">
                  <c:v>0.14261642452778642</c:v>
                </c:pt>
                <c:pt idx="3">
                  <c:v>0.09954361287068</c:v>
                </c:pt>
                <c:pt idx="4">
                  <c:v>0.08254210225080705</c:v>
                </c:pt>
                <c:pt idx="5">
                  <c:v>0.057108275073005935</c:v>
                </c:pt>
                <c:pt idx="6">
                  <c:v>0.05317139105626935</c:v>
                </c:pt>
                <c:pt idx="7">
                  <c:v>0.04764220220450051</c:v>
                </c:pt>
                <c:pt idx="8">
                  <c:v>0.02307765756228892</c:v>
                </c:pt>
                <c:pt idx="9">
                  <c:v>0.0192136277009160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866011508126396</c:v>
                </c:pt>
                <c:pt idx="1">
                  <c:v>0.17358368388600431</c:v>
                </c:pt>
                <c:pt idx="2">
                  <c:v>0.1495830268229334</c:v>
                </c:pt>
                <c:pt idx="3">
                  <c:v>0.11394925854241508</c:v>
                </c:pt>
                <c:pt idx="4">
                  <c:v>0.0814198752056298</c:v>
                </c:pt>
                <c:pt idx="5">
                  <c:v>0.050304605869287304</c:v>
                </c:pt>
                <c:pt idx="6">
                  <c:v>0.048441736836717444</c:v>
                </c:pt>
                <c:pt idx="7">
                  <c:v>0.045164753803704785</c:v>
                </c:pt>
                <c:pt idx="8">
                  <c:v>0.016090903247462807</c:v>
                </c:pt>
                <c:pt idx="9">
                  <c:v>0.00280204070458111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49340290159719</c:v>
                </c:pt>
                <c:pt idx="1">
                  <c:v>0.15095437397946734</c:v>
                </c:pt>
                <c:pt idx="2">
                  <c:v>0.14252526958744935</c:v>
                </c:pt>
                <c:pt idx="3">
                  <c:v>0.10606240707027104</c:v>
                </c:pt>
                <c:pt idx="4">
                  <c:v>0.08892892817744077</c:v>
                </c:pt>
                <c:pt idx="5">
                  <c:v>0.07031900051925952</c:v>
                </c:pt>
                <c:pt idx="6">
                  <c:v>0.04146568820655268</c:v>
                </c:pt>
                <c:pt idx="7">
                  <c:v>0.036817377051231524</c:v>
                </c:pt>
                <c:pt idx="8">
                  <c:v>0.026976470661836928</c:v>
                </c:pt>
                <c:pt idx="9">
                  <c:v>0.0210164557305189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80174604650929</c:v>
                </c:pt>
                <c:pt idx="1">
                  <c:v>0.23667401517798564</c:v>
                </c:pt>
                <c:pt idx="2">
                  <c:v>0.09745282331145538</c:v>
                </c:pt>
                <c:pt idx="3">
                  <c:v>0.08625158051647382</c:v>
                </c:pt>
                <c:pt idx="4">
                  <c:v>0.0671471269164155</c:v>
                </c:pt>
                <c:pt idx="5">
                  <c:v>0.04903811589867601</c:v>
                </c:pt>
                <c:pt idx="6">
                  <c:v>0.03788966172548409</c:v>
                </c:pt>
                <c:pt idx="7">
                  <c:v>0.035737896951582776</c:v>
                </c:pt>
                <c:pt idx="8">
                  <c:v>0.028038299401980327</c:v>
                </c:pt>
                <c:pt idx="9">
                  <c:v>0.00375301963485356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802909703213526</c:v>
                </c:pt>
                <c:pt idx="1">
                  <c:v>0.16046073690247167</c:v>
                </c:pt>
                <c:pt idx="2">
                  <c:v>0.1443910732225146</c:v>
                </c:pt>
                <c:pt idx="3">
                  <c:v>0.07924609646678896</c:v>
                </c:pt>
                <c:pt idx="4">
                  <c:v>0.07643156666002351</c:v>
                </c:pt>
                <c:pt idx="5">
                  <c:v>0.0559001411332143</c:v>
                </c:pt>
                <c:pt idx="6">
                  <c:v>0.03392077830697084</c:v>
                </c:pt>
                <c:pt idx="7">
                  <c:v>0.032127125641098646</c:v>
                </c:pt>
                <c:pt idx="8">
                  <c:v>0.02369167070001261</c:v>
                </c:pt>
                <c:pt idx="9">
                  <c:v>0.01353984064555226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25300282463504</c:v>
                </c:pt>
                <c:pt idx="1">
                  <c:v>0.13120561759193264</c:v>
                </c:pt>
                <c:pt idx="2">
                  <c:v>0.11479105620231779</c:v>
                </c:pt>
                <c:pt idx="3">
                  <c:v>0.11246799186927484</c:v>
                </c:pt>
                <c:pt idx="4">
                  <c:v>0.10288535149547266</c:v>
                </c:pt>
                <c:pt idx="5">
                  <c:v>0.050368258493703966</c:v>
                </c:pt>
                <c:pt idx="6">
                  <c:v>0.040357963094955256</c:v>
                </c:pt>
                <c:pt idx="7">
                  <c:v>0.03893772603679945</c:v>
                </c:pt>
                <c:pt idx="8">
                  <c:v>0.020765027322404372</c:v>
                </c:pt>
                <c:pt idx="9">
                  <c:v>0.025690979646788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065384362896344</c:v>
                </c:pt>
                <c:pt idx="1">
                  <c:v>0.193461563710365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706209940107177</c:v>
                </c:pt>
                <c:pt idx="1">
                  <c:v>0.229379005989282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609834313201497</c:v>
                </c:pt>
                <c:pt idx="1">
                  <c:v>0.239016568679850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9658740384990826</c:v>
                </c:pt>
                <c:pt idx="1">
                  <c:v>0.31970637616649095</c:v>
                </c:pt>
                <c:pt idx="2">
                  <c:v>0.10876186013822185</c:v>
                </c:pt>
                <c:pt idx="3">
                  <c:v>0.174944359845378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5403153205143</c:v>
                </c:pt>
                <c:pt idx="1">
                  <c:v>0.19168532582350362</c:v>
                </c:pt>
                <c:pt idx="2">
                  <c:v>0.10895408693243462</c:v>
                </c:pt>
                <c:pt idx="3">
                  <c:v>0.345329055192631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15062937905282</c:v>
                </c:pt>
                <c:pt idx="1">
                  <c:v>0.14016984200277047</c:v>
                </c:pt>
                <c:pt idx="2">
                  <c:v>0.06526670815683283</c:v>
                </c:pt>
                <c:pt idx="3">
                  <c:v>0.523057156049868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03869303525365</c:v>
                </c:pt>
                <c:pt idx="1">
                  <c:v>0.149613069647463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121278140885984</c:v>
                </c:pt>
                <c:pt idx="1">
                  <c:v>0.087872185911401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454953118630248</c:v>
                </c:pt>
                <c:pt idx="1">
                  <c:v>0.154504688136975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540069686411149</c:v>
                </c:pt>
                <c:pt idx="1">
                  <c:v>0.24599303135888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21120381406436234</c:v>
                </c:pt>
                <c:pt idx="1">
                  <c:v>0.024314660309892728</c:v>
                </c:pt>
                <c:pt idx="2">
                  <c:v>0.764481525625744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852664576802508</c:v>
                </c:pt>
                <c:pt idx="1">
                  <c:v>0.214733542319749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150066097485767</c:v>
                </c:pt>
                <c:pt idx="1">
                  <c:v>0.112671651620045</c:v>
                </c:pt>
                <c:pt idx="2">
                  <c:v>0.0873055863318765</c:v>
                </c:pt>
                <c:pt idx="3">
                  <c:v>0.08370743180869764</c:v>
                </c:pt>
                <c:pt idx="4">
                  <c:v>0.07369845344528889</c:v>
                </c:pt>
                <c:pt idx="5">
                  <c:v>0.07041789758440196</c:v>
                </c:pt>
                <c:pt idx="6">
                  <c:v>0.04344584334847237</c:v>
                </c:pt>
                <c:pt idx="7">
                  <c:v>0.023307267221580757</c:v>
                </c:pt>
                <c:pt idx="8">
                  <c:v>0.021259169263064103</c:v>
                </c:pt>
                <c:pt idx="9">
                  <c:v>0.342686038401715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743390880667386</c:v>
                </c:pt>
                <c:pt idx="1">
                  <c:v>0.1296532135165881</c:v>
                </c:pt>
                <c:pt idx="2">
                  <c:v>0.08825156746727338</c:v>
                </c:pt>
                <c:pt idx="3">
                  <c:v>0.07362028299074425</c:v>
                </c:pt>
                <c:pt idx="4">
                  <c:v>0.06642030779357368</c:v>
                </c:pt>
                <c:pt idx="5">
                  <c:v>0.06574657709029422</c:v>
                </c:pt>
                <c:pt idx="6">
                  <c:v>0.03349932149952183</c:v>
                </c:pt>
                <c:pt idx="7">
                  <c:v>0.031021423443920563</c:v>
                </c:pt>
                <c:pt idx="8">
                  <c:v>0.0206137746329062</c:v>
                </c:pt>
                <c:pt idx="9">
                  <c:v>0.353739622758503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85910852342416</c:v>
                </c:pt>
                <c:pt idx="1">
                  <c:v>0.12057402435628453</c:v>
                </c:pt>
                <c:pt idx="2">
                  <c:v>0.10911436910250769</c:v>
                </c:pt>
                <c:pt idx="3">
                  <c:v>0.08576779265060061</c:v>
                </c:pt>
                <c:pt idx="4">
                  <c:v>0.06467871088975476</c:v>
                </c:pt>
                <c:pt idx="5">
                  <c:v>0.04808336149887444</c:v>
                </c:pt>
                <c:pt idx="6">
                  <c:v>0.04016512447043469</c:v>
                </c:pt>
                <c:pt idx="7">
                  <c:v>0.019569205391628562</c:v>
                </c:pt>
                <c:pt idx="8">
                  <c:v>0.014971313662094284</c:v>
                </c:pt>
                <c:pt idx="9">
                  <c:v>0.337216989454396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075725384742029</c:v>
                </c:pt>
                <c:pt idx="1">
                  <c:v>0.07236730352611594</c:v>
                </c:pt>
                <c:pt idx="2">
                  <c:v>0.05712919335491913</c:v>
                </c:pt>
                <c:pt idx="3">
                  <c:v>0.03613922578588247</c:v>
                </c:pt>
                <c:pt idx="4">
                  <c:v>0.020969061226836425</c:v>
                </c:pt>
                <c:pt idx="5">
                  <c:v>0.020297444983653854</c:v>
                </c:pt>
                <c:pt idx="6">
                  <c:v>0.01666235473358787</c:v>
                </c:pt>
                <c:pt idx="7">
                  <c:v>0.016644061684162662</c:v>
                </c:pt>
                <c:pt idx="8">
                  <c:v>0.01577906177562791</c:v>
                </c:pt>
                <c:pt idx="9">
                  <c:v>0.036439754455010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214626053743321</c:v>
                </c:pt>
                <c:pt idx="1">
                  <c:v>0.08343139335249522</c:v>
                </c:pt>
                <c:pt idx="2">
                  <c:v>0.06778680144292906</c:v>
                </c:pt>
                <c:pt idx="3">
                  <c:v>0.06637859526611238</c:v>
                </c:pt>
                <c:pt idx="4">
                  <c:v>0.03229228958891954</c:v>
                </c:pt>
                <c:pt idx="5">
                  <c:v>0.02443462772558627</c:v>
                </c:pt>
                <c:pt idx="6">
                  <c:v>0.023945935171074545</c:v>
                </c:pt>
                <c:pt idx="7">
                  <c:v>0.02335435997350772</c:v>
                </c:pt>
                <c:pt idx="8">
                  <c:v>0.02184970131882688</c:v>
                </c:pt>
                <c:pt idx="9">
                  <c:v>0.0350636907862162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9156438931991</c:v>
                </c:pt>
                <c:pt idx="1">
                  <c:v>0.06474480396481486</c:v>
                </c:pt>
                <c:pt idx="2">
                  <c:v>0.04382054542152106</c:v>
                </c:pt>
                <c:pt idx="3">
                  <c:v>0.031241080463945612</c:v>
                </c:pt>
                <c:pt idx="4">
                  <c:v>0.030929707568956123</c:v>
                </c:pt>
                <c:pt idx="5">
                  <c:v>0.028127351514050703</c:v>
                </c:pt>
                <c:pt idx="6">
                  <c:v>0.01902488388385791</c:v>
                </c:pt>
                <c:pt idx="7">
                  <c:v>0.018947040660110537</c:v>
                </c:pt>
                <c:pt idx="8">
                  <c:v>0.014364669555515193</c:v>
                </c:pt>
                <c:pt idx="9">
                  <c:v>0.0596434780352370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56801411186849</c:v>
                </c:pt>
                <c:pt idx="1">
                  <c:v>0.10885945537007538</c:v>
                </c:pt>
                <c:pt idx="2">
                  <c:v>0.0926576085097</c:v>
                </c:pt>
                <c:pt idx="3">
                  <c:v>0.08075737242483111</c:v>
                </c:pt>
                <c:pt idx="4">
                  <c:v>0.05499712972502385</c:v>
                </c:pt>
                <c:pt idx="5">
                  <c:v>0.04988480883208321</c:v>
                </c:pt>
                <c:pt idx="6">
                  <c:v>0.04936302705661855</c:v>
                </c:pt>
                <c:pt idx="7">
                  <c:v>0.04501389517223551</c:v>
                </c:pt>
                <c:pt idx="8">
                  <c:v>0.04299044635627146</c:v>
                </c:pt>
                <c:pt idx="9">
                  <c:v>0.179796115434476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718385160517477</c:v>
                </c:pt>
                <c:pt idx="1">
                  <c:v>0.012405624263168727</c:v>
                </c:pt>
                <c:pt idx="2">
                  <c:v>0.0019243437949462427</c:v>
                </c:pt>
                <c:pt idx="3">
                  <c:v>-0.03661308689969904</c:v>
                </c:pt>
                <c:pt idx="4">
                  <c:v>-0.006588719553714706</c:v>
                </c:pt>
                <c:pt idx="5">
                  <c:v>0.0004621822475321252</c:v>
                </c:pt>
                <c:pt idx="6">
                  <c:v>0.0009327167553005999</c:v>
                </c:pt>
                <c:pt idx="7">
                  <c:v>-0.0005340816243299407</c:v>
                </c:pt>
                <c:pt idx="8">
                  <c:v>1.9447315937601295e-05</c:v>
                </c:pt>
                <c:pt idx="9">
                  <c:v>0.0108077220956836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725414982761376</c:v>
                </c:pt>
                <c:pt idx="1">
                  <c:v>0.1024727721076786</c:v>
                </c:pt>
                <c:pt idx="2">
                  <c:v>0.07973148845811356</c:v>
                </c:pt>
                <c:pt idx="3">
                  <c:v>0.043770121241180904</c:v>
                </c:pt>
                <c:pt idx="4">
                  <c:v>0.00148411991688928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21863337564173</c:v>
                </c:pt>
                <c:pt idx="1">
                  <c:v>0.16865895012029478</c:v>
                </c:pt>
                <c:pt idx="2">
                  <c:v>0.07929982760907041</c:v>
                </c:pt>
                <c:pt idx="3">
                  <c:v>0.029401178320419802</c:v>
                </c:pt>
                <c:pt idx="4">
                  <c:v>0.0007767063860420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6081154849276</c:v>
                </c:pt>
                <c:pt idx="1">
                  <c:v>0.37332443743555527</c:v>
                </c:pt>
                <c:pt idx="2">
                  <c:v>0.10147388851822649</c:v>
                </c:pt>
                <c:pt idx="3">
                  <c:v>0.02259355856129071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09821100627239</c:v>
                </c:pt>
                <c:pt idx="1">
                  <c:v>0.19922914736938513</c:v>
                </c:pt>
                <c:pt idx="2">
                  <c:v>0.016417914675564898</c:v>
                </c:pt>
                <c:pt idx="3">
                  <c:v>0.00337082789232612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964899959834818</c:v>
                </c:pt>
                <c:pt idx="1">
                  <c:v>0.1820396697315667</c:v>
                </c:pt>
                <c:pt idx="2">
                  <c:v>0.01256665135419197</c:v>
                </c:pt>
                <c:pt idx="3">
                  <c:v>0.0089036829307595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60108106981446</c:v>
                </c:pt>
                <c:pt idx="1">
                  <c:v>0.21991016559960816</c:v>
                </c:pt>
                <c:pt idx="2">
                  <c:v>0.013426525812626145</c:v>
                </c:pt>
                <c:pt idx="3">
                  <c:v>0.00655520160631967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68255899270456</c:v>
                </c:pt>
                <c:pt idx="1">
                  <c:v>0.11008359913473564</c:v>
                </c:pt>
                <c:pt idx="2">
                  <c:v>0.06938652149284712</c:v>
                </c:pt>
                <c:pt idx="3">
                  <c:v>0.05499712972502385</c:v>
                </c:pt>
                <c:pt idx="4">
                  <c:v>0.04936302705661855</c:v>
                </c:pt>
                <c:pt idx="5">
                  <c:v>0.04501389517223551</c:v>
                </c:pt>
                <c:pt idx="6">
                  <c:v>0.04299044635627146</c:v>
                </c:pt>
                <c:pt idx="7">
                  <c:v>0.042784204743747174</c:v>
                </c:pt>
                <c:pt idx="8">
                  <c:v>0.03722898711607696</c:v>
                </c:pt>
                <c:pt idx="9">
                  <c:v>0.30132659927539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9486669188882486</c:v>
                </c:pt>
                <c:pt idx="1">
                  <c:v>0.006661159039225692</c:v>
                </c:pt>
                <c:pt idx="2">
                  <c:v>-0.007189842920600431</c:v>
                </c:pt>
                <c:pt idx="3">
                  <c:v>-0.027362161776726318</c:v>
                </c:pt>
                <c:pt idx="4">
                  <c:v>-0.0015988098775093773</c:v>
                </c:pt>
                <c:pt idx="5">
                  <c:v>0.0023089863095266117</c:v>
                </c:pt>
                <c:pt idx="6">
                  <c:v>-0.0015226371600256389</c:v>
                </c:pt>
                <c:pt idx="7">
                  <c:v>0.0019783887572109443</c:v>
                </c:pt>
                <c:pt idx="8">
                  <c:v>0.001845197424741811</c:v>
                </c:pt>
                <c:pt idx="9">
                  <c:v>-0.0046069489847257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5091986650028</c:v>
                </c:pt>
                <c:pt idx="1">
                  <c:v>0.13736099068405083</c:v>
                </c:pt>
                <c:pt idx="2">
                  <c:v>0.10637534571228459</c:v>
                </c:pt>
                <c:pt idx="3">
                  <c:v>0.09954361287068</c:v>
                </c:pt>
                <c:pt idx="4">
                  <c:v>0.08254210225080705</c:v>
                </c:pt>
                <c:pt idx="5">
                  <c:v>0.057108275073005935</c:v>
                </c:pt>
                <c:pt idx="6">
                  <c:v>0.05314986596491189</c:v>
                </c:pt>
                <c:pt idx="7">
                  <c:v>0.04764220220450051</c:v>
                </c:pt>
                <c:pt idx="8">
                  <c:v>0.03624107881550182</c:v>
                </c:pt>
                <c:pt idx="9">
                  <c:v>0.1149445397742293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25537137157155</c:v>
                </c:pt>
                <c:pt idx="1">
                  <c:v>0.14916522041371166</c:v>
                </c:pt>
                <c:pt idx="2">
                  <c:v>0.13021037921585712</c:v>
                </c:pt>
                <c:pt idx="3">
                  <c:v>0.11394925854241508</c:v>
                </c:pt>
                <c:pt idx="4">
                  <c:v>0.0814198752056298</c:v>
                </c:pt>
                <c:pt idx="5">
                  <c:v>0.050304605869287304</c:v>
                </c:pt>
                <c:pt idx="6">
                  <c:v>0.048395313902359474</c:v>
                </c:pt>
                <c:pt idx="7">
                  <c:v>0.045164753803704785</c:v>
                </c:pt>
                <c:pt idx="8">
                  <c:v>0.04330783642938595</c:v>
                </c:pt>
                <c:pt idx="9">
                  <c:v>0.025529042901933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341916755816644</c:v>
                </c:pt>
                <c:pt idx="1">
                  <c:v>0.14807655011480014</c:v>
                </c:pt>
                <c:pt idx="2">
                  <c:v>0.14252526958744935</c:v>
                </c:pt>
                <c:pt idx="3">
                  <c:v>0.08892892817744077</c:v>
                </c:pt>
                <c:pt idx="4">
                  <c:v>0.07031900051925952</c:v>
                </c:pt>
                <c:pt idx="5">
                  <c:v>0.06824196242563015</c:v>
                </c:pt>
                <c:pt idx="6">
                  <c:v>0.04146568820655268</c:v>
                </c:pt>
                <c:pt idx="7">
                  <c:v>0.037820444644640884</c:v>
                </c:pt>
                <c:pt idx="8">
                  <c:v>0.036817377051231524</c:v>
                </c:pt>
                <c:pt idx="9">
                  <c:v>0.0723856117148284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907081970674663</c:v>
                </c:pt>
                <c:pt idx="1">
                  <c:v>0.1263659055888068</c:v>
                </c:pt>
                <c:pt idx="2">
                  <c:v>0.11030810958917883</c:v>
                </c:pt>
                <c:pt idx="3">
                  <c:v>0.09745282331145538</c:v>
                </c:pt>
                <c:pt idx="4">
                  <c:v>0.0671471269164155</c:v>
                </c:pt>
                <c:pt idx="5">
                  <c:v>0.06221516139492676</c:v>
                </c:pt>
                <c:pt idx="6">
                  <c:v>0.05579003199995978</c:v>
                </c:pt>
                <c:pt idx="7">
                  <c:v>0.04903811589867601</c:v>
                </c:pt>
                <c:pt idx="8">
                  <c:v>0.03788966172548409</c:v>
                </c:pt>
                <c:pt idx="9">
                  <c:v>0.114722243868350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48801994574302</c:v>
                </c:pt>
                <c:pt idx="1">
                  <c:v>0.16017196289050584</c:v>
                </c:pt>
                <c:pt idx="2">
                  <c:v>0.11241443544680661</c:v>
                </c:pt>
                <c:pt idx="3">
                  <c:v>0.07924609646678896</c:v>
                </c:pt>
                <c:pt idx="4">
                  <c:v>0.07643156666002351</c:v>
                </c:pt>
                <c:pt idx="5">
                  <c:v>0.0559001411332143</c:v>
                </c:pt>
                <c:pt idx="6">
                  <c:v>0.03392077830697084</c:v>
                </c:pt>
                <c:pt idx="7">
                  <c:v>0.032127125641098646</c:v>
                </c:pt>
                <c:pt idx="8">
                  <c:v>0.03197663777570801</c:v>
                </c:pt>
                <c:pt idx="9">
                  <c:v>0.052931056221453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102344920414187</c:v>
                </c:pt>
                <c:pt idx="1">
                  <c:v>0.007159961670824097</c:v>
                </c:pt>
                <c:pt idx="2">
                  <c:v>-0.0007185815299679266</c:v>
                </c:pt>
                <c:pt idx="3">
                  <c:v>-0.0015988098775093773</c:v>
                </c:pt>
                <c:pt idx="4">
                  <c:v>-0.0015226371600256389</c:v>
                </c:pt>
                <c:pt idx="5">
                  <c:v>0.0019783887572109443</c:v>
                </c:pt>
                <c:pt idx="6">
                  <c:v>0.001845197424741811</c:v>
                </c:pt>
                <c:pt idx="7">
                  <c:v>-0.017012313114521338</c:v>
                </c:pt>
                <c:pt idx="8">
                  <c:v>0.00556444268157829</c:v>
                </c:pt>
                <c:pt idx="9">
                  <c:v>-0.0167190980564727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07515641086561</c:v>
                </c:pt>
                <c:pt idx="1">
                  <c:v>0.13120561759193264</c:v>
                </c:pt>
                <c:pt idx="2">
                  <c:v>0.11479105620231779</c:v>
                </c:pt>
                <c:pt idx="3">
                  <c:v>0.10288535149547266</c:v>
                </c:pt>
                <c:pt idx="4">
                  <c:v>0.06675114173332278</c:v>
                </c:pt>
                <c:pt idx="5">
                  <c:v>0.050368258493703966</c:v>
                </c:pt>
                <c:pt idx="6">
                  <c:v>0.04571685013595206</c:v>
                </c:pt>
                <c:pt idx="7">
                  <c:v>0.040357963094955256</c:v>
                </c:pt>
                <c:pt idx="8">
                  <c:v>0.03893772603679945</c:v>
                </c:pt>
                <c:pt idx="9">
                  <c:v>0.078234471106887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329727808247004</c:v>
                </c:pt>
                <c:pt idx="1">
                  <c:v>0.36702721917529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R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2495488190829913</c:v>
                </c:pt>
                <c:pt idx="1">
                  <c:v>0.1407684461067664</c:v>
                </c:pt>
                <c:pt idx="2">
                  <c:v>0.06826563439960244</c:v>
                </c:pt>
                <c:pt idx="3">
                  <c:v>0.46601103758533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996374184191443</c:v>
                </c:pt>
                <c:pt idx="1">
                  <c:v>0.1307831762146483</c:v>
                </c:pt>
                <c:pt idx="2">
                  <c:v>0.09695431472081219</c:v>
                </c:pt>
                <c:pt idx="3">
                  <c:v>0.372625090645395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3306561721950045</c:v>
                </c:pt>
                <c:pt idx="1">
                  <c:v>0.27877278933419003</c:v>
                </c:pt>
                <c:pt idx="2">
                  <c:v>0.2329130190346157</c:v>
                </c:pt>
                <c:pt idx="3">
                  <c:v>0.1552485744116938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03869303525365</c:v>
                </c:pt>
                <c:pt idx="1">
                  <c:v>0.149613069647463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121278140885984</c:v>
                </c:pt>
                <c:pt idx="1">
                  <c:v>0.087872185911401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454953118630248</c:v>
                </c:pt>
                <c:pt idx="1">
                  <c:v>0.154504688136975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5771166673412</c:v>
                </c:pt>
                <c:pt idx="1">
                  <c:v>0.11213377725467473</c:v>
                </c:pt>
                <c:pt idx="2">
                  <c:v>0.0864615818071973</c:v>
                </c:pt>
                <c:pt idx="3">
                  <c:v>0.06965248361116416</c:v>
                </c:pt>
                <c:pt idx="4">
                  <c:v>0.05567781573265975</c:v>
                </c:pt>
                <c:pt idx="5">
                  <c:v>0.05466462152259734</c:v>
                </c:pt>
                <c:pt idx="6">
                  <c:v>0.053993996421989834</c:v>
                </c:pt>
                <c:pt idx="7">
                  <c:v>0.03844685277764603</c:v>
                </c:pt>
                <c:pt idx="8">
                  <c:v>0.03827539653776515</c:v>
                </c:pt>
                <c:pt idx="9">
                  <c:v>0.184922307660893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7026620918692066</c:v>
                </c:pt>
                <c:pt idx="1">
                  <c:v>0.115851960319853</c:v>
                </c:pt>
                <c:pt idx="2">
                  <c:v>0.10004019696512913</c:v>
                </c:pt>
                <c:pt idx="3">
                  <c:v>0.07304729683385094</c:v>
                </c:pt>
                <c:pt idx="4">
                  <c:v>0.05498354636129734</c:v>
                </c:pt>
                <c:pt idx="5">
                  <c:v>0.04612553895038068</c:v>
                </c:pt>
                <c:pt idx="6">
                  <c:v>0.03389417670394457</c:v>
                </c:pt>
                <c:pt idx="7">
                  <c:v>0.028835899080095644</c:v>
                </c:pt>
                <c:pt idx="8">
                  <c:v>0.028819788391690714</c:v>
                </c:pt>
                <c:pt idx="9">
                  <c:v>0.148135387206837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45491857881459</c:v>
                </c:pt>
                <c:pt idx="1">
                  <c:v>0.12216687654092835</c:v>
                </c:pt>
                <c:pt idx="2">
                  <c:v>0.07944707802021955</c:v>
                </c:pt>
                <c:pt idx="3">
                  <c:v>0.07297979906509254</c:v>
                </c:pt>
                <c:pt idx="4">
                  <c:v>0.06071827138102995</c:v>
                </c:pt>
                <c:pt idx="5">
                  <c:v>0.051119639789867874</c:v>
                </c:pt>
                <c:pt idx="6">
                  <c:v>0.04610300027075929</c:v>
                </c:pt>
                <c:pt idx="7">
                  <c:v>0.03617974405368197</c:v>
                </c:pt>
                <c:pt idx="8">
                  <c:v>0.03523051070358735</c:v>
                </c:pt>
                <c:pt idx="9">
                  <c:v>0.191505894386687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15628694326166</c:v>
                </c:pt>
                <c:pt idx="1">
                  <c:v>0.12387123083830971</c:v>
                </c:pt>
                <c:pt idx="2">
                  <c:v>0.11702432263004571</c:v>
                </c:pt>
                <c:pt idx="3">
                  <c:v>0.0841232638700595</c:v>
                </c:pt>
                <c:pt idx="4">
                  <c:v>0.06096275360023947</c:v>
                </c:pt>
                <c:pt idx="5">
                  <c:v>0.051932600306717196</c:v>
                </c:pt>
                <c:pt idx="6">
                  <c:v>0.04097949940456952</c:v>
                </c:pt>
                <c:pt idx="7">
                  <c:v>0.03865959814407899</c:v>
                </c:pt>
                <c:pt idx="8">
                  <c:v>0.037907989180301555</c:v>
                </c:pt>
                <c:pt idx="9">
                  <c:v>0.1929758725930617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94826981066323</c:v>
                </c:pt>
                <c:pt idx="1">
                  <c:v>0.09413848372237422</c:v>
                </c:pt>
                <c:pt idx="2">
                  <c:v>0.09043042305431237</c:v>
                </c:pt>
                <c:pt idx="3">
                  <c:v>0.0626885434765126</c:v>
                </c:pt>
                <c:pt idx="4">
                  <c:v>0.062158018992901194</c:v>
                </c:pt>
                <c:pt idx="5">
                  <c:v>0.044656945163966975</c:v>
                </c:pt>
                <c:pt idx="6">
                  <c:v>0.0413310366797521</c:v>
                </c:pt>
                <c:pt idx="7">
                  <c:v>0.04114525959853448</c:v>
                </c:pt>
                <c:pt idx="8">
                  <c:v>0.03096991221721206</c:v>
                </c:pt>
                <c:pt idx="9">
                  <c:v>0.302998678987801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64658700678443</c:v>
                </c:pt>
                <c:pt idx="1">
                  <c:v>0.10058078718922932</c:v>
                </c:pt>
                <c:pt idx="2">
                  <c:v>0.09695118891537928</c:v>
                </c:pt>
                <c:pt idx="3">
                  <c:v>0.07982028277671345</c:v>
                </c:pt>
                <c:pt idx="4">
                  <c:v>0.055484218774325446</c:v>
                </c:pt>
                <c:pt idx="5">
                  <c:v>0.047687208657511825</c:v>
                </c:pt>
                <c:pt idx="6">
                  <c:v>0.04336218398627932</c:v>
                </c:pt>
                <c:pt idx="7">
                  <c:v>0.04192115241353489</c:v>
                </c:pt>
                <c:pt idx="8">
                  <c:v>0.04002722520364221</c:v>
                </c:pt>
                <c:pt idx="9">
                  <c:v>0.197699882015539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0656087162482235</c:v>
                </c:pt>
                <c:pt idx="1">
                  <c:v>0.3732828043581241</c:v>
                </c:pt>
                <c:pt idx="2">
                  <c:v>0.09426811937470393</c:v>
                </c:pt>
                <c:pt idx="3">
                  <c:v>0.0657271435338702</c:v>
                </c:pt>
                <c:pt idx="4">
                  <c:v>0.06016106110847939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7696969696969695</c:v>
                </c:pt>
                <c:pt idx="1">
                  <c:v>0.3646060606060606</c:v>
                </c:pt>
                <c:pt idx="2">
                  <c:v>0.16824242424242425</c:v>
                </c:pt>
                <c:pt idx="3">
                  <c:v>0.049212121212121214</c:v>
                </c:pt>
                <c:pt idx="4">
                  <c:v>0.0409696969696969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712294396431559</c:v>
                </c:pt>
                <c:pt idx="1">
                  <c:v>0.2277669361583496</c:v>
                </c:pt>
                <c:pt idx="2">
                  <c:v>0.14106495678840256</c:v>
                </c:pt>
                <c:pt idx="3">
                  <c:v>0.049344856425982714</c:v>
                </c:pt>
                <c:pt idx="4">
                  <c:v>0.0105938109841092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041931242546858</c:v>
                </c:pt>
                <c:pt idx="1">
                  <c:v>0.08314902204600817</c:v>
                </c:pt>
                <c:pt idx="2">
                  <c:v>0.05924800994771335</c:v>
                </c:pt>
                <c:pt idx="3">
                  <c:v>0.051756647946755274</c:v>
                </c:pt>
                <c:pt idx="4">
                  <c:v>0.0377116182361155</c:v>
                </c:pt>
                <c:pt idx="5">
                  <c:v>0.037191809444212284</c:v>
                </c:pt>
                <c:pt idx="6">
                  <c:v>0.026968903203449083</c:v>
                </c:pt>
                <c:pt idx="7">
                  <c:v>0.024298512939161986</c:v>
                </c:pt>
                <c:pt idx="8">
                  <c:v>0.010977138605485512</c:v>
                </c:pt>
                <c:pt idx="9">
                  <c:v>0.448279025205630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04552477531390769</c:v>
                </c:pt>
                <c:pt idx="1">
                  <c:v>0.04418645137423019</c:v>
                </c:pt>
                <c:pt idx="2">
                  <c:v>0.035122842904706984</c:v>
                </c:pt>
                <c:pt idx="3">
                  <c:v>0.03506843949252497</c:v>
                </c:pt>
                <c:pt idx="4">
                  <c:v>0.031020825626183274</c:v>
                </c:pt>
                <c:pt idx="5">
                  <c:v>0.022980001305681893</c:v>
                </c:pt>
                <c:pt idx="6">
                  <c:v>0.017452614627989468</c:v>
                </c:pt>
                <c:pt idx="7">
                  <c:v>0.01151176201771375</c:v>
                </c:pt>
                <c:pt idx="8">
                  <c:v>0.75713228733706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83667720214374</c:v>
                </c:pt>
                <c:pt idx="1">
                  <c:v>0.07192180843754295</c:v>
                </c:pt>
                <c:pt idx="2">
                  <c:v>0.04783908203930191</c:v>
                </c:pt>
                <c:pt idx="3">
                  <c:v>0.03803078191562457</c:v>
                </c:pt>
                <c:pt idx="4">
                  <c:v>0.022021437405524254</c:v>
                </c:pt>
                <c:pt idx="5">
                  <c:v>0.018122165727635014</c:v>
                </c:pt>
                <c:pt idx="6">
                  <c:v>0.013879345884292979</c:v>
                </c:pt>
                <c:pt idx="7">
                  <c:v>0.01353579771884018</c:v>
                </c:pt>
                <c:pt idx="8">
                  <c:v>0.013123539920296825</c:v>
                </c:pt>
                <c:pt idx="9">
                  <c:v>0.633159268929503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59121917161674</c:v>
                </c:pt>
                <c:pt idx="1">
                  <c:v>0.13304842223536792</c:v>
                </c:pt>
                <c:pt idx="2">
                  <c:v>0.10637980942892324</c:v>
                </c:pt>
                <c:pt idx="3">
                  <c:v>0.0861139643473438</c:v>
                </c:pt>
                <c:pt idx="4">
                  <c:v>0.07384804873082572</c:v>
                </c:pt>
                <c:pt idx="5">
                  <c:v>0.0673052787962331</c:v>
                </c:pt>
                <c:pt idx="6">
                  <c:v>0.04127978069144629</c:v>
                </c:pt>
                <c:pt idx="7">
                  <c:v>0.03935580936500095</c:v>
                </c:pt>
                <c:pt idx="8">
                  <c:v>0.03930476796898226</c:v>
                </c:pt>
                <c:pt idx="9">
                  <c:v>0.15745192671970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31817052121367</c:v>
                </c:pt>
                <c:pt idx="1">
                  <c:v>0.13919868661026238</c:v>
                </c:pt>
                <c:pt idx="2">
                  <c:v>0.12624538521072912</c:v>
                </c:pt>
                <c:pt idx="3">
                  <c:v>0.09307853090182885</c:v>
                </c:pt>
                <c:pt idx="4">
                  <c:v>0.06332833741486757</c:v>
                </c:pt>
                <c:pt idx="5">
                  <c:v>0.06282345069302178</c:v>
                </c:pt>
                <c:pt idx="6">
                  <c:v>0.03984328472556376</c:v>
                </c:pt>
                <c:pt idx="7">
                  <c:v>0.03449138772245502</c:v>
                </c:pt>
                <c:pt idx="8">
                  <c:v>0.03441660779172665</c:v>
                </c:pt>
                <c:pt idx="9">
                  <c:v>0.114256158408331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398846041700434</c:v>
                </c:pt>
                <c:pt idx="1">
                  <c:v>0.14929176803863906</c:v>
                </c:pt>
                <c:pt idx="2">
                  <c:v>0.09233486119533796</c:v>
                </c:pt>
                <c:pt idx="3">
                  <c:v>0.09058665753701761</c:v>
                </c:pt>
                <c:pt idx="4">
                  <c:v>0.08203226665120607</c:v>
                </c:pt>
                <c:pt idx="5">
                  <c:v>0.05146684485845729</c:v>
                </c:pt>
                <c:pt idx="6">
                  <c:v>0.050240859383232396</c:v>
                </c:pt>
                <c:pt idx="7">
                  <c:v>0.04992050349619572</c:v>
                </c:pt>
                <c:pt idx="8">
                  <c:v>0.037223492031517605</c:v>
                </c:pt>
                <c:pt idx="9">
                  <c:v>0.152914286391391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581114343253525</c:v>
                </c:pt>
                <c:pt idx="1">
                  <c:v>0.24282837323786083</c:v>
                </c:pt>
                <c:pt idx="2">
                  <c:v>0.061848288207652716</c:v>
                </c:pt>
                <c:pt idx="3">
                  <c:v>0.0372119042291340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251367142827438</c:v>
                </c:pt>
                <c:pt idx="1">
                  <c:v>0.19645270621504168</c:v>
                </c:pt>
                <c:pt idx="2">
                  <c:v>0.062254382134614185</c:v>
                </c:pt>
                <c:pt idx="3">
                  <c:v>0.0161561973676002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699223004865297</c:v>
                </c:pt>
                <c:pt idx="1">
                  <c:v>0.17059400188802556</c:v>
                </c:pt>
                <c:pt idx="2">
                  <c:v>0.11117565899353714</c:v>
                </c:pt>
                <c:pt idx="3">
                  <c:v>0.0483080386319076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079217057652144</c:v>
                </c:pt>
                <c:pt idx="1">
                  <c:v>0.32961775705473795</c:v>
                </c:pt>
                <c:pt idx="2">
                  <c:v>0.04305697216960513</c:v>
                </c:pt>
                <c:pt idx="3">
                  <c:v>0.019403565010442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435237837349942</c:v>
                </c:pt>
                <c:pt idx="1">
                  <c:v>0.15245058218250745</c:v>
                </c:pt>
                <c:pt idx="2">
                  <c:v>0.08141529018864518</c:v>
                </c:pt>
                <c:pt idx="3">
                  <c:v>0.0226103438938532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39686011091151</c:v>
                </c:pt>
                <c:pt idx="1">
                  <c:v>0.1894868390221042</c:v>
                </c:pt>
                <c:pt idx="2">
                  <c:v>0.05280012497070999</c:v>
                </c:pt>
                <c:pt idx="3">
                  <c:v>0.0237444348980707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6028081827414441</c:v>
                </c:pt>
                <c:pt idx="1">
                  <c:v>0.211726016797511</c:v>
                </c:pt>
                <c:pt idx="2">
                  <c:v>0.0580013863588735</c:v>
                </c:pt>
                <c:pt idx="3">
                  <c:v>0.031031870133638548</c:v>
                </c:pt>
                <c:pt idx="4">
                  <c:v>0.02663098673286799</c:v>
                </c:pt>
                <c:pt idx="5">
                  <c:v>0.022407428304289653</c:v>
                </c:pt>
                <c:pt idx="6">
                  <c:v>0.01587864523721245</c:v>
                </c:pt>
                <c:pt idx="7">
                  <c:v>0.011896893588896233</c:v>
                </c:pt>
                <c:pt idx="8">
                  <c:v>0.019618590105266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298376045948861</c:v>
                </c:pt>
                <c:pt idx="1">
                  <c:v>0.2168139012799207</c:v>
                </c:pt>
                <c:pt idx="2">
                  <c:v>0.08542523105629901</c:v>
                </c:pt>
                <c:pt idx="3">
                  <c:v>0.07071634741537654</c:v>
                </c:pt>
                <c:pt idx="4">
                  <c:v>0.03947636957345695</c:v>
                </c:pt>
                <c:pt idx="5">
                  <c:v>0.035001020437913644</c:v>
                </c:pt>
                <c:pt idx="6">
                  <c:v>0.03481151053966588</c:v>
                </c:pt>
                <c:pt idx="7">
                  <c:v>0.029199102014635995</c:v>
                </c:pt>
                <c:pt idx="8">
                  <c:v>0.014927548908131432</c:v>
                </c:pt>
                <c:pt idx="9">
                  <c:v>0.0437913641797136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6397585337998296</c:v>
                </c:pt>
                <c:pt idx="1">
                  <c:v>0.21737396443268134</c:v>
                </c:pt>
                <c:pt idx="2">
                  <c:v>0.06788970868154379</c:v>
                </c:pt>
                <c:pt idx="3">
                  <c:v>0.01560828816416801</c:v>
                </c:pt>
                <c:pt idx="4">
                  <c:v>0.015318238674473832</c:v>
                </c:pt>
                <c:pt idx="5">
                  <c:v>0.01285281801207331</c:v>
                </c:pt>
                <c:pt idx="6">
                  <c:v>0.0311984482352301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24677209870884</c:v>
                </c:pt>
                <c:pt idx="1">
                  <c:v>0.17328290931316373</c:v>
                </c:pt>
                <c:pt idx="2">
                  <c:v>0.14218045687218275</c:v>
                </c:pt>
                <c:pt idx="3">
                  <c:v>0.11579188631675452</c:v>
                </c:pt>
                <c:pt idx="4">
                  <c:v>0.08781419512567805</c:v>
                </c:pt>
                <c:pt idx="5">
                  <c:v>0.06085262434104974</c:v>
                </c:pt>
                <c:pt idx="6">
                  <c:v>0.053586981434792576</c:v>
                </c:pt>
                <c:pt idx="7">
                  <c:v>0.046031018412407365</c:v>
                </c:pt>
                <c:pt idx="8">
                  <c:v>0.01537932615173046</c:v>
                </c:pt>
                <c:pt idx="9">
                  <c:v>0.0026128810451524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62720090693308</c:v>
                </c:pt>
                <c:pt idx="1">
                  <c:v>0.1689517128989974</c:v>
                </c:pt>
                <c:pt idx="2">
                  <c:v>0.16659581251992772</c:v>
                </c:pt>
                <c:pt idx="3">
                  <c:v>0.15347008183653948</c:v>
                </c:pt>
                <c:pt idx="4">
                  <c:v>0.08111028447939915</c:v>
                </c:pt>
                <c:pt idx="5">
                  <c:v>0.06275020370567187</c:v>
                </c:pt>
                <c:pt idx="6">
                  <c:v>0.050669571686682964</c:v>
                </c:pt>
                <c:pt idx="7">
                  <c:v>0.044469833847025894</c:v>
                </c:pt>
                <c:pt idx="8">
                  <c:v>0.02551634959436001</c:v>
                </c:pt>
                <c:pt idx="9">
                  <c:v>0.0101941403620646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811464915541236</c:v>
                </c:pt>
                <c:pt idx="1">
                  <c:v>0.20374385660595548</c:v>
                </c:pt>
                <c:pt idx="2">
                  <c:v>0.11488663114855656</c:v>
                </c:pt>
                <c:pt idx="3">
                  <c:v>0.10382852186841779</c:v>
                </c:pt>
                <c:pt idx="4">
                  <c:v>0.0864721430636435</c:v>
                </c:pt>
                <c:pt idx="5">
                  <c:v>0.07950274645851402</c:v>
                </c:pt>
                <c:pt idx="6">
                  <c:v>0.05106760830958576</c:v>
                </c:pt>
                <c:pt idx="7">
                  <c:v>0.03897699582868707</c:v>
                </c:pt>
                <c:pt idx="8">
                  <c:v>0.021651592119935573</c:v>
                </c:pt>
                <c:pt idx="9">
                  <c:v>0.00175525544129186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849442204931096</c:v>
                </c:pt>
                <c:pt idx="1">
                  <c:v>0.2150557795068904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035767070647355</c:v>
                </c:pt>
                <c:pt idx="1">
                  <c:v>0.196423292935264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740814299900695</c:v>
                </c:pt>
                <c:pt idx="1">
                  <c:v>0.2259185700099304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667316439246263</c:v>
                </c:pt>
                <c:pt idx="1">
                  <c:v>0.23326835607537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048814504881451</c:v>
                </c:pt>
                <c:pt idx="1">
                  <c:v>0.295118549511854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19272198791747408</c:v>
                </c:pt>
                <c:pt idx="1">
                  <c:v>0.03653254302975037</c:v>
                </c:pt>
                <c:pt idx="2">
                  <c:v>0.77074546905277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562960363739514</c:v>
                </c:pt>
                <c:pt idx="1">
                  <c:v>0.1175807307544746</c:v>
                </c:pt>
                <c:pt idx="2">
                  <c:v>0.07749081180716223</c:v>
                </c:pt>
                <c:pt idx="3">
                  <c:v>0.06330410483515667</c:v>
                </c:pt>
                <c:pt idx="4">
                  <c:v>0.060776191595462395</c:v>
                </c:pt>
                <c:pt idx="5">
                  <c:v>0.054270934577386215</c:v>
                </c:pt>
                <c:pt idx="6">
                  <c:v>0.04419130206573904</c:v>
                </c:pt>
                <c:pt idx="7">
                  <c:v>0.033768699715065895</c:v>
                </c:pt>
                <c:pt idx="8">
                  <c:v>0.03153561926347972</c:v>
                </c:pt>
                <c:pt idx="9">
                  <c:v>0.181452001748678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5166134115277572</c:v>
                </c:pt>
                <c:pt idx="1">
                  <c:v>-0.006655037775903358</c:v>
                </c:pt>
                <c:pt idx="2">
                  <c:v>0.013316286818810835</c:v>
                </c:pt>
                <c:pt idx="3">
                  <c:v>-0.012548235944047775</c:v>
                </c:pt>
                <c:pt idx="4">
                  <c:v>-0.0007631554851905073</c:v>
                </c:pt>
                <c:pt idx="5">
                  <c:v>-0.006317493736869656</c:v>
                </c:pt>
                <c:pt idx="6">
                  <c:v>-0.004000656935132289</c:v>
                </c:pt>
                <c:pt idx="7">
                  <c:v>-0.004047858480396668</c:v>
                </c:pt>
                <c:pt idx="8">
                  <c:v>-0.004195069207381934</c:v>
                </c:pt>
                <c:pt idx="9">
                  <c:v>0.0001406472946693529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385043754972156</c:v>
                </c:pt>
                <c:pt idx="1">
                  <c:v>0.16149562450278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951798010711554</c:v>
                </c:pt>
                <c:pt idx="1">
                  <c:v>0.1048201989288446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78227245687091</c:v>
                </c:pt>
                <c:pt idx="1">
                  <c:v>0.142177275431290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102781273697856</c:v>
                </c:pt>
                <c:pt idx="1">
                  <c:v>0.07782782435369892</c:v>
                </c:pt>
                <c:pt idx="2">
                  <c:v>0.07549304440890281</c:v>
                </c:pt>
                <c:pt idx="3">
                  <c:v>0.05955037228556898</c:v>
                </c:pt>
                <c:pt idx="4">
                  <c:v>0.04419130206573904</c:v>
                </c:pt>
                <c:pt idx="5">
                  <c:v>0.04208768634557179</c:v>
                </c:pt>
                <c:pt idx="6">
                  <c:v>0.033768699715065895</c:v>
                </c:pt>
                <c:pt idx="7">
                  <c:v>0.03115483125516908</c:v>
                </c:pt>
                <c:pt idx="8">
                  <c:v>0.029070789496038054</c:v>
                </c:pt>
                <c:pt idx="9">
                  <c:v>0.34582763733726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375690614778315</c:v>
                </c:pt>
                <c:pt idx="1">
                  <c:v>-0.010793082799227152</c:v>
                </c:pt>
                <c:pt idx="2">
                  <c:v>0.006011561430991991</c:v>
                </c:pt>
                <c:pt idx="3">
                  <c:v>-0.015499122385196532</c:v>
                </c:pt>
                <c:pt idx="4">
                  <c:v>0.010366795878270274</c:v>
                </c:pt>
                <c:pt idx="5">
                  <c:v>0.000699059805770258</c:v>
                </c:pt>
                <c:pt idx="6">
                  <c:v>0.00020432397200769586</c:v>
                </c:pt>
                <c:pt idx="7">
                  <c:v>-0.0018213544733636025</c:v>
                </c:pt>
                <c:pt idx="8">
                  <c:v>-0.005806122923742878</c:v>
                </c:pt>
                <c:pt idx="9">
                  <c:v>-0.0170118766083207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425031073011272</c:v>
                </c:pt>
                <c:pt idx="1">
                  <c:v>0.11747604720928567</c:v>
                </c:pt>
                <c:pt idx="2">
                  <c:v>0.09211927698037574</c:v>
                </c:pt>
                <c:pt idx="3">
                  <c:v>0.051932600306717196</c:v>
                </c:pt>
                <c:pt idx="4">
                  <c:v>0.049370839307521945</c:v>
                </c:pt>
                <c:pt idx="5">
                  <c:v>0.03977020071104594</c:v>
                </c:pt>
                <c:pt idx="6">
                  <c:v>0.03865959814407899</c:v>
                </c:pt>
                <c:pt idx="7">
                  <c:v>0.037907989180301555</c:v>
                </c:pt>
                <c:pt idx="8">
                  <c:v>0.03175195385793397</c:v>
                </c:pt>
                <c:pt idx="9">
                  <c:v>0.32676118357262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8714796645788564</c:v>
                </c:pt>
                <c:pt idx="1">
                  <c:v>0.0947818459633695</c:v>
                </c:pt>
                <c:pt idx="2">
                  <c:v>0.0634621990395699</c:v>
                </c:pt>
                <c:pt idx="3">
                  <c:v>0.044656945163966975</c:v>
                </c:pt>
                <c:pt idx="4">
                  <c:v>0.0413310366797521</c:v>
                </c:pt>
                <c:pt idx="5">
                  <c:v>0.03134520685779263</c:v>
                </c:pt>
                <c:pt idx="6">
                  <c:v>0.03096991221721206</c:v>
                </c:pt>
                <c:pt idx="7">
                  <c:v>0.030812812135108565</c:v>
                </c:pt>
                <c:pt idx="8">
                  <c:v>0.030213712218832935</c:v>
                </c:pt>
                <c:pt idx="9">
                  <c:v>0.445278363266509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15713034001912</c:v>
                </c:pt>
                <c:pt idx="1">
                  <c:v>0.10120094541964254</c:v>
                </c:pt>
                <c:pt idx="2">
                  <c:v>0.06521954502001362</c:v>
                </c:pt>
                <c:pt idx="3">
                  <c:v>0.047687208657511825</c:v>
                </c:pt>
                <c:pt idx="4">
                  <c:v>0.04336218398627932</c:v>
                </c:pt>
                <c:pt idx="5">
                  <c:v>0.04002722520364221</c:v>
                </c:pt>
                <c:pt idx="6">
                  <c:v>0.039425079867888284</c:v>
                </c:pt>
                <c:pt idx="7">
                  <c:v>0.03682543317795067</c:v>
                </c:pt>
                <c:pt idx="8">
                  <c:v>0.03600005661195464</c:v>
                </c:pt>
                <c:pt idx="9">
                  <c:v>0.33868101865492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650358519404611</c:v>
                </c:pt>
                <c:pt idx="1">
                  <c:v>0.006004764991038122</c:v>
                </c:pt>
                <c:pt idx="2">
                  <c:v>-0.006595343433184783</c:v>
                </c:pt>
                <c:pt idx="3">
                  <c:v>0.009690037641064658</c:v>
                </c:pt>
                <c:pt idx="4">
                  <c:v>0.00020432397200769586</c:v>
                </c:pt>
                <c:pt idx="5">
                  <c:v>-0.004197739366042355</c:v>
                </c:pt>
                <c:pt idx="6">
                  <c:v>-0.0018213544733636025</c:v>
                </c:pt>
                <c:pt idx="7">
                  <c:v>0.000511915965382255</c:v>
                </c:pt>
                <c:pt idx="8">
                  <c:v>-0.006565340732794068</c:v>
                </c:pt>
                <c:pt idx="9">
                  <c:v>-0.023734849758154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0656087162482235</c:v>
                </c:pt>
                <c:pt idx="1">
                  <c:v>0.3732828043581241</c:v>
                </c:pt>
                <c:pt idx="2">
                  <c:v>0.220156324017053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37696969696969695</c:v>
                </c:pt>
                <c:pt idx="1">
                  <c:v>0.3646060606060606</c:v>
                </c:pt>
                <c:pt idx="2">
                  <c:v>0.258424242424242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712294396431559</c:v>
                </c:pt>
                <c:pt idx="1">
                  <c:v>0.2277669361583496</c:v>
                </c:pt>
                <c:pt idx="2">
                  <c:v>0.201003624198494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680310664843242</c:v>
                </c:pt>
                <c:pt idx="1">
                  <c:v>0.1289017763768932</c:v>
                </c:pt>
                <c:pt idx="2">
                  <c:v>0.08699383497027183</c:v>
                </c:pt>
                <c:pt idx="3">
                  <c:v>0.0867305596793892</c:v>
                </c:pt>
                <c:pt idx="4">
                  <c:v>0.0821265330300792</c:v>
                </c:pt>
                <c:pt idx="5">
                  <c:v>0.076767783880239</c:v>
                </c:pt>
                <c:pt idx="6">
                  <c:v>0.044896481618265455</c:v>
                </c:pt>
                <c:pt idx="7">
                  <c:v>0.022863630712525323</c:v>
                </c:pt>
                <c:pt idx="8">
                  <c:v>0.022405824234490525</c:v>
                </c:pt>
                <c:pt idx="9">
                  <c:v>0.291510468849413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573836620887913</c:v>
                </c:pt>
                <c:pt idx="1">
                  <c:v>0.11352803960635847</c:v>
                </c:pt>
                <c:pt idx="2">
                  <c:v>0.09244463154495362</c:v>
                </c:pt>
                <c:pt idx="3">
                  <c:v>0.06395088996087228</c:v>
                </c:pt>
                <c:pt idx="4">
                  <c:v>0.047890361664643485</c:v>
                </c:pt>
                <c:pt idx="5">
                  <c:v>0.03480838376877453</c:v>
                </c:pt>
                <c:pt idx="6">
                  <c:v>0.024765507636680287</c:v>
                </c:pt>
                <c:pt idx="7">
                  <c:v>0.023793802423784576</c:v>
                </c:pt>
                <c:pt idx="8">
                  <c:v>0.015394463298665275</c:v>
                </c:pt>
                <c:pt idx="9">
                  <c:v>0.357685553886388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71393742381146</c:v>
                </c:pt>
                <c:pt idx="1">
                  <c:v>0.11234604086037263</c:v>
                </c:pt>
                <c:pt idx="2">
                  <c:v>0.07589877498817621</c:v>
                </c:pt>
                <c:pt idx="3">
                  <c:v>0.04661906062442963</c:v>
                </c:pt>
                <c:pt idx="4">
                  <c:v>0.035661233271827394</c:v>
                </c:pt>
                <c:pt idx="5">
                  <c:v>0.027507810366304515</c:v>
                </c:pt>
                <c:pt idx="6">
                  <c:v>0.025732575722250718</c:v>
                </c:pt>
                <c:pt idx="7">
                  <c:v>0.02404726853671372</c:v>
                </c:pt>
                <c:pt idx="8">
                  <c:v>0.020426855669759728</c:v>
                </c:pt>
                <c:pt idx="9">
                  <c:v>0.494621005722050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031986079268597</c:v>
                </c:pt>
                <c:pt idx="1">
                  <c:v>0.10637980942892324</c:v>
                </c:pt>
                <c:pt idx="2">
                  <c:v>0.10239448207379333</c:v>
                </c:pt>
                <c:pt idx="3">
                  <c:v>0.0673052787962331</c:v>
                </c:pt>
                <c:pt idx="4">
                  <c:v>0.04792373795498824</c:v>
                </c:pt>
                <c:pt idx="5">
                  <c:v>0.042379788213336225</c:v>
                </c:pt>
                <c:pt idx="6">
                  <c:v>0.03935580936500095</c:v>
                </c:pt>
                <c:pt idx="7">
                  <c:v>0.03930476796898226</c:v>
                </c:pt>
                <c:pt idx="8">
                  <c:v>0.036319948410305045</c:v>
                </c:pt>
                <c:pt idx="9">
                  <c:v>0.30831651699575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685588270010292</c:v>
                </c:pt>
                <c:pt idx="1">
                  <c:v>0.12624538521072912</c:v>
                </c:pt>
                <c:pt idx="2">
                  <c:v>0.10188276804023062</c:v>
                </c:pt>
                <c:pt idx="3">
                  <c:v>0.06332833741486757</c:v>
                </c:pt>
                <c:pt idx="4">
                  <c:v>0.05321007515383038</c:v>
                </c:pt>
                <c:pt idx="5">
                  <c:v>0.03984328472556376</c:v>
                </c:pt>
                <c:pt idx="6">
                  <c:v>0.03731591857003177</c:v>
                </c:pt>
                <c:pt idx="7">
                  <c:v>0.03449138772245502</c:v>
                </c:pt>
                <c:pt idx="8">
                  <c:v>0.03441660779172665</c:v>
                </c:pt>
                <c:pt idx="9">
                  <c:v>0.26241035267046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027618740099965</c:v>
                </c:pt>
                <c:pt idx="1">
                  <c:v>0.1171986253050681</c:v>
                </c:pt>
                <c:pt idx="2">
                  <c:v>0.09233486119533796</c:v>
                </c:pt>
                <c:pt idx="3">
                  <c:v>0.053274718503662936</c:v>
                </c:pt>
                <c:pt idx="4">
                  <c:v>0.05146684485845729</c:v>
                </c:pt>
                <c:pt idx="5">
                  <c:v>0.050240859383232396</c:v>
                </c:pt>
                <c:pt idx="6">
                  <c:v>0.04992050349619572</c:v>
                </c:pt>
                <c:pt idx="7">
                  <c:v>0.04470551591897916</c:v>
                </c:pt>
                <c:pt idx="8">
                  <c:v>0.03732675073222692</c:v>
                </c:pt>
                <c:pt idx="9">
                  <c:v>0.293255133205839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816417592975429</c:v>
                </c:pt>
                <c:pt idx="1">
                  <c:v>0.15608471931111786</c:v>
                </c:pt>
                <c:pt idx="2">
                  <c:v>0.10221023524378789</c:v>
                </c:pt>
                <c:pt idx="3">
                  <c:v>0.052765542509028075</c:v>
                </c:pt>
                <c:pt idx="4">
                  <c:v>0.051451064368799544</c:v>
                </c:pt>
                <c:pt idx="5">
                  <c:v>0.046894605142716476</c:v>
                </c:pt>
                <c:pt idx="6">
                  <c:v>0.041717951230471034</c:v>
                </c:pt>
                <c:pt idx="7">
                  <c:v>0.03635966033884856</c:v>
                </c:pt>
                <c:pt idx="8">
                  <c:v>0.032271633322737844</c:v>
                </c:pt>
                <c:pt idx="9">
                  <c:v>0.29860282923494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684543583998403</c:v>
                </c:pt>
                <c:pt idx="1">
                  <c:v>0.1351306383002324</c:v>
                </c:pt>
                <c:pt idx="2">
                  <c:v>0.087918106340852</c:v>
                </c:pt>
                <c:pt idx="3">
                  <c:v>0.06342515820239925</c:v>
                </c:pt>
                <c:pt idx="4">
                  <c:v>0.0624157686612278</c:v>
                </c:pt>
                <c:pt idx="5">
                  <c:v>0.053670961193963626</c:v>
                </c:pt>
                <c:pt idx="6">
                  <c:v>0.05008679640834798</c:v>
                </c:pt>
                <c:pt idx="7">
                  <c:v>0.04034507811676751</c:v>
                </c:pt>
                <c:pt idx="8">
                  <c:v>0.031460231715906756</c:v>
                </c:pt>
                <c:pt idx="9">
                  <c:v>0.258701825220318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9447655415424353</c:v>
                </c:pt>
                <c:pt idx="1">
                  <c:v>0.14273784658556418</c:v>
                </c:pt>
                <c:pt idx="2">
                  <c:v>0.0949931440233422</c:v>
                </c:pt>
                <c:pt idx="3">
                  <c:v>0.07537189687335576</c:v>
                </c:pt>
                <c:pt idx="4">
                  <c:v>0.049673942505460866</c:v>
                </c:pt>
                <c:pt idx="5">
                  <c:v>0.04861565075973788</c:v>
                </c:pt>
                <c:pt idx="6">
                  <c:v>0.04447416253447919</c:v>
                </c:pt>
                <c:pt idx="7">
                  <c:v>0.03793108946252332</c:v>
                </c:pt>
                <c:pt idx="8">
                  <c:v>0.03314784993383185</c:v>
                </c:pt>
                <c:pt idx="9">
                  <c:v>0.27857786316746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079217057652144</c:v>
                </c:pt>
                <c:pt idx="1">
                  <c:v>0.32961775705473795</c:v>
                </c:pt>
                <c:pt idx="2">
                  <c:v>0.04305697216960513</c:v>
                </c:pt>
                <c:pt idx="3">
                  <c:v>0.019403565010442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435237837349942</c:v>
                </c:pt>
                <c:pt idx="1">
                  <c:v>0.15245058218250745</c:v>
                </c:pt>
                <c:pt idx="2">
                  <c:v>0.08141529018864518</c:v>
                </c:pt>
                <c:pt idx="3">
                  <c:v>0.0226103438938532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39686011091151</c:v>
                </c:pt>
                <c:pt idx="1">
                  <c:v>0.1894868390221042</c:v>
                </c:pt>
                <c:pt idx="2">
                  <c:v>0.05280012497070999</c:v>
                </c:pt>
                <c:pt idx="3">
                  <c:v>0.0237444348980707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038930891622201</c:v>
                </c:pt>
                <c:pt idx="1">
                  <c:v>0.211726016797511</c:v>
                </c:pt>
                <c:pt idx="2">
                  <c:v>0.09609401447616592</c:v>
                </c:pt>
                <c:pt idx="3">
                  <c:v>0.0580013863588735</c:v>
                </c:pt>
                <c:pt idx="4">
                  <c:v>0.031031870133638548</c:v>
                </c:pt>
                <c:pt idx="5">
                  <c:v>0.02663098673286799</c:v>
                </c:pt>
                <c:pt idx="6">
                  <c:v>0.022407428304289653</c:v>
                </c:pt>
                <c:pt idx="7">
                  <c:v>0.01587864523721245</c:v>
                </c:pt>
                <c:pt idx="8">
                  <c:v>0.011896893588896233</c:v>
                </c:pt>
                <c:pt idx="9">
                  <c:v>0.0224396692083246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758972564797806</c:v>
                </c:pt>
                <c:pt idx="1">
                  <c:v>0.21410245196652963</c:v>
                </c:pt>
                <c:pt idx="2">
                  <c:v>0.09597947462025132</c:v>
                </c:pt>
                <c:pt idx="3">
                  <c:v>0.08542523105629901</c:v>
                </c:pt>
                <c:pt idx="4">
                  <c:v>0.07071634741537654</c:v>
                </c:pt>
                <c:pt idx="5">
                  <c:v>0.03947636957345695</c:v>
                </c:pt>
                <c:pt idx="6">
                  <c:v>0.035001020437913644</c:v>
                </c:pt>
                <c:pt idx="7">
                  <c:v>0.03481151053966588</c:v>
                </c:pt>
                <c:pt idx="8">
                  <c:v>0.029199102014635995</c:v>
                </c:pt>
                <c:pt idx="9">
                  <c:v>0.067698766727892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816634338233961</c:v>
                </c:pt>
                <c:pt idx="1">
                  <c:v>0.21626815075322225</c:v>
                </c:pt>
                <c:pt idx="2">
                  <c:v>0.15809509997643348</c:v>
                </c:pt>
                <c:pt idx="3">
                  <c:v>0.06788970868154379</c:v>
                </c:pt>
                <c:pt idx="4">
                  <c:v>0.01560828816416801</c:v>
                </c:pt>
                <c:pt idx="5">
                  <c:v>0.015318238674473832</c:v>
                </c:pt>
                <c:pt idx="6">
                  <c:v>0.01285281801207331</c:v>
                </c:pt>
                <c:pt idx="7">
                  <c:v>0.0323042619146891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8276901414648096</c:v>
                </c:pt>
                <c:pt idx="1">
                  <c:v>0.1982927419532264</c:v>
                </c:pt>
                <c:pt idx="2">
                  <c:v>0.1829582205794997</c:v>
                </c:pt>
                <c:pt idx="3">
                  <c:v>0.10936571843442677</c:v>
                </c:pt>
                <c:pt idx="4">
                  <c:v>0.05491386707148043</c:v>
                </c:pt>
                <c:pt idx="5">
                  <c:v>0.026092887158163377</c:v>
                </c:pt>
                <c:pt idx="6">
                  <c:v>0.013904472752073571</c:v>
                </c:pt>
                <c:pt idx="7">
                  <c:v>0.0317030779046487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622064883701634</c:v>
                </c:pt>
                <c:pt idx="1">
                  <c:v>0.1704510883093177</c:v>
                </c:pt>
                <c:pt idx="2">
                  <c:v>0.14030478192327903</c:v>
                </c:pt>
                <c:pt idx="3">
                  <c:v>0.09350886412036397</c:v>
                </c:pt>
                <c:pt idx="4">
                  <c:v>0.03061647813701358</c:v>
                </c:pt>
                <c:pt idx="5">
                  <c:v>0.026882761291036315</c:v>
                </c:pt>
                <c:pt idx="6">
                  <c:v>0.02439361672705147</c:v>
                </c:pt>
                <c:pt idx="7">
                  <c:v>0.01360732361645048</c:v>
                </c:pt>
                <c:pt idx="8">
                  <c:v>0.03802859750532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180427159706726</c:v>
                </c:pt>
                <c:pt idx="1">
                  <c:v>0.2161300605674211</c:v>
                </c:pt>
                <c:pt idx="2">
                  <c:v>0.09926681542875358</c:v>
                </c:pt>
                <c:pt idx="3">
                  <c:v>0.09582403570290086</c:v>
                </c:pt>
                <c:pt idx="4">
                  <c:v>0.05176920624800765</c:v>
                </c:pt>
                <c:pt idx="5">
                  <c:v>0.035129104239719475</c:v>
                </c:pt>
                <c:pt idx="6">
                  <c:v>0.03136754861332483</c:v>
                </c:pt>
                <c:pt idx="7">
                  <c:v>0.01389862926362767</c:v>
                </c:pt>
                <c:pt idx="8">
                  <c:v>0.012368504941026459</c:v>
                </c:pt>
                <c:pt idx="9">
                  <c:v>0.0262033790245457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477049049246596</c:v>
                </c:pt>
                <c:pt idx="1">
                  <c:v>0.2017609821077685</c:v>
                </c:pt>
                <c:pt idx="2">
                  <c:v>0.05212258653923038</c:v>
                </c:pt>
                <c:pt idx="3">
                  <c:v>0.38134594086053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020676266973438</c:v>
                </c:pt>
                <c:pt idx="1">
                  <c:v>0.16465519012305102</c:v>
                </c:pt>
                <c:pt idx="2">
                  <c:v>0.042379670905318516</c:v>
                </c:pt>
                <c:pt idx="3">
                  <c:v>0.390897512274286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183322251944397</c:v>
                </c:pt>
                <c:pt idx="1">
                  <c:v>0.1761786216813817</c:v>
                </c:pt>
                <c:pt idx="2">
                  <c:v>0.06385199387688835</c:v>
                </c:pt>
                <c:pt idx="3">
                  <c:v>0.05973126343296275</c:v>
                </c:pt>
                <c:pt idx="4">
                  <c:v>0.38190589581432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0095301788998496</c:v>
                </c:pt>
                <c:pt idx="1">
                  <c:v>0.1637964665886418</c:v>
                </c:pt>
                <c:pt idx="2">
                  <c:v>0.05921529287187204</c:v>
                </c:pt>
                <c:pt idx="3">
                  <c:v>0.47603522264950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9499797761898344</c:v>
                </c:pt>
                <c:pt idx="1">
                  <c:v>0.24484292840771202</c:v>
                </c:pt>
                <c:pt idx="2">
                  <c:v>0.1899689901577457</c:v>
                </c:pt>
                <c:pt idx="3">
                  <c:v>0.270190103815558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47469458987784</c:v>
                </c:pt>
                <c:pt idx="1">
                  <c:v>0.32026791189094855</c:v>
                </c:pt>
                <c:pt idx="2">
                  <c:v>0.16423753596528465</c:v>
                </c:pt>
                <c:pt idx="3">
                  <c:v>0.150747606244988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638332989478028</c:v>
                </c:pt>
                <c:pt idx="1">
                  <c:v>0.136166701052197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810713037758731</c:v>
                </c:pt>
                <c:pt idx="1">
                  <c:v>0.11878481428953157</c:v>
                </c:pt>
                <c:pt idx="2">
                  <c:v>0.000143881934595383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706199460916442</c:v>
                </c:pt>
                <c:pt idx="1">
                  <c:v>0.12938005390835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144907245362268</c:v>
                </c:pt>
                <c:pt idx="1">
                  <c:v>0.185509275463773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562960363739514</c:v>
                </c:pt>
                <c:pt idx="1">
                  <c:v>0.1175807307544746</c:v>
                </c:pt>
                <c:pt idx="2">
                  <c:v>0.07749081180716223</c:v>
                </c:pt>
                <c:pt idx="3">
                  <c:v>0.06330410483515667</c:v>
                </c:pt>
                <c:pt idx="4">
                  <c:v>0.060776191595462395</c:v>
                </c:pt>
                <c:pt idx="5">
                  <c:v>0.054270934577386215</c:v>
                </c:pt>
                <c:pt idx="6">
                  <c:v>0.04419130206573904</c:v>
                </c:pt>
                <c:pt idx="7">
                  <c:v>0.033768699715065895</c:v>
                </c:pt>
                <c:pt idx="8">
                  <c:v>0.03153561926347972</c:v>
                </c:pt>
                <c:pt idx="9">
                  <c:v>0.181452001748678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361196727871</c:v>
                </c:pt>
                <c:pt idx="1">
                  <c:v>0.11577332017243759</c:v>
                </c:pt>
                <c:pt idx="2">
                  <c:v>0.09432758931320114</c:v>
                </c:pt>
                <c:pt idx="3">
                  <c:v>0.07373756180033299</c:v>
                </c:pt>
                <c:pt idx="4">
                  <c:v>0.05858570732516605</c:v>
                </c:pt>
                <c:pt idx="5">
                  <c:v>0.053119010842585905</c:v>
                </c:pt>
                <c:pt idx="6">
                  <c:v>0.05177060955381644</c:v>
                </c:pt>
                <c:pt idx="7">
                  <c:v>0.03845907437187419</c:v>
                </c:pt>
                <c:pt idx="8">
                  <c:v>0.03615469200083386</c:v>
                </c:pt>
                <c:pt idx="9">
                  <c:v>0.185936314946964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96782333337096</c:v>
                </c:pt>
                <c:pt idx="1">
                  <c:v>0.10819654877086744</c:v>
                </c:pt>
                <c:pt idx="2">
                  <c:v>0.09431328442621872</c:v>
                </c:pt>
                <c:pt idx="3">
                  <c:v>0.07362314931326322</c:v>
                </c:pt>
                <c:pt idx="4">
                  <c:v>0.05692869522132251</c:v>
                </c:pt>
                <c:pt idx="5">
                  <c:v>0.05273940925977994</c:v>
                </c:pt>
                <c:pt idx="6">
                  <c:v>0.04909391378102684</c:v>
                </c:pt>
                <c:pt idx="7">
                  <c:v>0.03800185322991345</c:v>
                </c:pt>
                <c:pt idx="8">
                  <c:v>0.0374543243672846</c:v>
                </c:pt>
                <c:pt idx="9">
                  <c:v>0.18997058829661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468879453837077</c:v>
                </c:pt>
                <c:pt idx="1">
                  <c:v>0.10977554971688398</c:v>
                </c:pt>
                <c:pt idx="2">
                  <c:v>0.09170095084924011</c:v>
                </c:pt>
                <c:pt idx="3">
                  <c:v>0.07545311288205957</c:v>
                </c:pt>
                <c:pt idx="4">
                  <c:v>0.05659720969939795</c:v>
                </c:pt>
                <c:pt idx="5">
                  <c:v>0.0527832358554194</c:v>
                </c:pt>
                <c:pt idx="6">
                  <c:v>0.04602419354185923</c:v>
                </c:pt>
                <c:pt idx="7">
                  <c:v>0.04429663589447112</c:v>
                </c:pt>
                <c:pt idx="8">
                  <c:v>0.03861434910749001</c:v>
                </c:pt>
                <c:pt idx="9">
                  <c:v>0.190065967914807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77094211483366</c:v>
                </c:pt>
                <c:pt idx="1">
                  <c:v>0.1053182983623552</c:v>
                </c:pt>
                <c:pt idx="2">
                  <c:v>0.10371466493853944</c:v>
                </c:pt>
                <c:pt idx="3">
                  <c:v>0.07848644966392117</c:v>
                </c:pt>
                <c:pt idx="4">
                  <c:v>0.05830657062952711</c:v>
                </c:pt>
                <c:pt idx="5">
                  <c:v>0.05663560757319746</c:v>
                </c:pt>
                <c:pt idx="6">
                  <c:v>0.04473440192721172</c:v>
                </c:pt>
                <c:pt idx="7">
                  <c:v>0.039995781996551336</c:v>
                </c:pt>
                <c:pt idx="8">
                  <c:v>0.035710745957870466</c:v>
                </c:pt>
                <c:pt idx="9">
                  <c:v>0.189388057802489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8882693213676138</c:v>
                </c:pt>
                <c:pt idx="1">
                  <c:v>0.1757313814382033</c:v>
                </c:pt>
                <c:pt idx="2">
                  <c:v>0.10272742719008966</c:v>
                </c:pt>
                <c:pt idx="3">
                  <c:v>0.09356295518261366</c:v>
                </c:pt>
                <c:pt idx="4">
                  <c:v>0.0757949042716692</c:v>
                </c:pt>
                <c:pt idx="5">
                  <c:v>0.06267714954317621</c:v>
                </c:pt>
                <c:pt idx="6">
                  <c:v>0.062053505919787456</c:v>
                </c:pt>
                <c:pt idx="7">
                  <c:v>0.03629586580270464</c:v>
                </c:pt>
                <c:pt idx="8">
                  <c:v>0.03198538781751763</c:v>
                </c:pt>
                <c:pt idx="9">
                  <c:v>0.170344490697476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4534335349733</c:v>
                </c:pt>
                <c:pt idx="1">
                  <c:v>0.1239369411353069</c:v>
                </c:pt>
                <c:pt idx="2">
                  <c:v>0.11867198139543302</c:v>
                </c:pt>
                <c:pt idx="3">
                  <c:v>0.10622670847264891</c:v>
                </c:pt>
                <c:pt idx="4">
                  <c:v>0.07653118934399898</c:v>
                </c:pt>
                <c:pt idx="5">
                  <c:v>0.06564685406967362</c:v>
                </c:pt>
                <c:pt idx="6">
                  <c:v>0.05962932632344136</c:v>
                </c:pt>
                <c:pt idx="7">
                  <c:v>0.03482022070301012</c:v>
                </c:pt>
                <c:pt idx="8">
                  <c:v>0.026199622057029272</c:v>
                </c:pt>
                <c:pt idx="9">
                  <c:v>0.233802821149724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14326309432317</c:v>
                </c:pt>
                <c:pt idx="1">
                  <c:v>0.15523983838957495</c:v>
                </c:pt>
                <c:pt idx="2">
                  <c:v>0.10700877704695735</c:v>
                </c:pt>
                <c:pt idx="3">
                  <c:v>0.08876947468381129</c:v>
                </c:pt>
                <c:pt idx="4">
                  <c:v>0.07820121465029163</c:v>
                </c:pt>
                <c:pt idx="5">
                  <c:v>0.07655918359368168</c:v>
                </c:pt>
                <c:pt idx="6">
                  <c:v>0.07226068374749349</c:v>
                </c:pt>
                <c:pt idx="7">
                  <c:v>0.04357658233252775</c:v>
                </c:pt>
                <c:pt idx="8">
                  <c:v>0.0277139038671066</c:v>
                </c:pt>
                <c:pt idx="9">
                  <c:v>0.191527078594232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4877742583821825</c:v>
                </c:pt>
                <c:pt idx="1">
                  <c:v>0.19015380889748446</c:v>
                </c:pt>
                <c:pt idx="2">
                  <c:v>0.11120624789185543</c:v>
                </c:pt>
                <c:pt idx="3">
                  <c:v>0.09744734046127368</c:v>
                </c:pt>
                <c:pt idx="4">
                  <c:v>0.07224274648576041</c:v>
                </c:pt>
                <c:pt idx="5">
                  <c:v>0.05018631507305906</c:v>
                </c:pt>
                <c:pt idx="6">
                  <c:v>0.040443111198929675</c:v>
                </c:pt>
                <c:pt idx="7">
                  <c:v>0.030489009705947513</c:v>
                </c:pt>
                <c:pt idx="8">
                  <c:v>0.027430661586495632</c:v>
                </c:pt>
                <c:pt idx="9">
                  <c:v>0.0316233328609758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110205300511955</c:v>
                </c:pt>
                <c:pt idx="1">
                  <c:v>0.15395839629203778</c:v>
                </c:pt>
                <c:pt idx="2">
                  <c:v>0.14710968136487915</c:v>
                </c:pt>
                <c:pt idx="3">
                  <c:v>0.107941469415928</c:v>
                </c:pt>
                <c:pt idx="4">
                  <c:v>0.10336910281834454</c:v>
                </c:pt>
                <c:pt idx="5">
                  <c:v>0.0601488835521763</c:v>
                </c:pt>
                <c:pt idx="6">
                  <c:v>0.054934561691185546</c:v>
                </c:pt>
                <c:pt idx="7">
                  <c:v>0.04935902823351435</c:v>
                </c:pt>
                <c:pt idx="8">
                  <c:v>0.020320834577605956</c:v>
                </c:pt>
                <c:pt idx="9">
                  <c:v>0.00175598904920882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21265404694328</c:v>
                </c:pt>
                <c:pt idx="1">
                  <c:v>0.159711420362448</c:v>
                </c:pt>
                <c:pt idx="2">
                  <c:v>0.1535200912773816</c:v>
                </c:pt>
                <c:pt idx="3">
                  <c:v>0.10250489219713646</c:v>
                </c:pt>
                <c:pt idx="4">
                  <c:v>0.09124138547895537</c:v>
                </c:pt>
                <c:pt idx="5">
                  <c:v>0.05797008178750084</c:v>
                </c:pt>
                <c:pt idx="6">
                  <c:v>0.04938119432876001</c:v>
                </c:pt>
                <c:pt idx="7">
                  <c:v>0.04509002297205612</c:v>
                </c:pt>
                <c:pt idx="8">
                  <c:v>0.02452425155383162</c:v>
                </c:pt>
                <c:pt idx="9">
                  <c:v>0.003930119572497235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862588031107106</c:v>
                </c:pt>
                <c:pt idx="1">
                  <c:v>0.313741196889289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998870524128536</c:v>
                </c:pt>
                <c:pt idx="1">
                  <c:v>0.30011294758714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518031453362256</c:v>
                </c:pt>
                <c:pt idx="1">
                  <c:v>0.04819685466377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474835886214442</c:v>
                </c:pt>
                <c:pt idx="1">
                  <c:v>0.05251641137855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01346977132713</c:v>
                </c:pt>
                <c:pt idx="1">
                  <c:v>0.1024329121854443</c:v>
                </c:pt>
                <c:pt idx="2">
                  <c:v>0.167432390101284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092544786806036</c:v>
                </c:pt>
                <c:pt idx="1">
                  <c:v>0.2727879360564231</c:v>
                </c:pt>
                <c:pt idx="2">
                  <c:v>0.2179575852629733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597352894275235</c:v>
                </c:pt>
                <c:pt idx="1">
                  <c:v>0.334815021527667</c:v>
                </c:pt>
                <c:pt idx="2">
                  <c:v>0.205449689044809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711341120429726</c:v>
                </c:pt>
                <c:pt idx="1">
                  <c:v>0.30381711303113995</c:v>
                </c:pt>
                <c:pt idx="2">
                  <c:v>0.225048774925887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12886345100402</c:v>
                </c:pt>
                <c:pt idx="1">
                  <c:v>0.05280371772616517</c:v>
                </c:pt>
                <c:pt idx="2">
                  <c:v>0.042069310771537985</c:v>
                </c:pt>
                <c:pt idx="3">
                  <c:v>0.02747840585080984</c:v>
                </c:pt>
                <c:pt idx="4">
                  <c:v>0.0245602971060192</c:v>
                </c:pt>
                <c:pt idx="5">
                  <c:v>0.024147087995480706</c:v>
                </c:pt>
                <c:pt idx="6">
                  <c:v>0.022209989691444044</c:v>
                </c:pt>
                <c:pt idx="7">
                  <c:v>0.01710736285177857</c:v>
                </c:pt>
                <c:pt idx="8">
                  <c:v>0.01654786904738685</c:v>
                </c:pt>
                <c:pt idx="9">
                  <c:v>0.091787324449337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395108934721333</c:v>
                </c:pt>
                <c:pt idx="1">
                  <c:v>0.07373672697831526</c:v>
                </c:pt>
                <c:pt idx="2">
                  <c:v>0.060635301402929706</c:v>
                </c:pt>
                <c:pt idx="3">
                  <c:v>0.045261292026016475</c:v>
                </c:pt>
                <c:pt idx="4">
                  <c:v>0.03701465856632828</c:v>
                </c:pt>
                <c:pt idx="5">
                  <c:v>0.032798153876368634</c:v>
                </c:pt>
                <c:pt idx="6">
                  <c:v>0.02052640175233446</c:v>
                </c:pt>
                <c:pt idx="7">
                  <c:v>0.02031497530519057</c:v>
                </c:pt>
                <c:pt idx="8">
                  <c:v>0.016032337224181174</c:v>
                </c:pt>
                <c:pt idx="9">
                  <c:v>0.054169259396202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432815474419881</c:v>
                </c:pt>
                <c:pt idx="1">
                  <c:v>0.0688501282325593</c:v>
                </c:pt>
                <c:pt idx="2">
                  <c:v>0.06287773229865923</c:v>
                </c:pt>
                <c:pt idx="3">
                  <c:v>0.04199290154650264</c:v>
                </c:pt>
                <c:pt idx="4">
                  <c:v>0.03624548518758832</c:v>
                </c:pt>
                <c:pt idx="5">
                  <c:v>0.022137874209744748</c:v>
                </c:pt>
                <c:pt idx="6">
                  <c:v>0.0221326556113559</c:v>
                </c:pt>
                <c:pt idx="7">
                  <c:v>0.02116083662249993</c:v>
                </c:pt>
                <c:pt idx="8">
                  <c:v>0.017443455036846203</c:v>
                </c:pt>
                <c:pt idx="9">
                  <c:v>0.06387738381225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31270943473702</c:v>
                </c:pt>
                <c:pt idx="1">
                  <c:v>0.32170788757799956</c:v>
                </c:pt>
                <c:pt idx="2">
                  <c:v>0.08034521443917318</c:v>
                </c:pt>
                <c:pt idx="3">
                  <c:v>0.07730515695231671</c:v>
                </c:pt>
                <c:pt idx="4">
                  <c:v>0.045439547144355066</c:v>
                </c:pt>
                <c:pt idx="5">
                  <c:v>0.00207509953878529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575890502598887</c:v>
                </c:pt>
                <c:pt idx="1">
                  <c:v>0.1105503829705079</c:v>
                </c:pt>
                <c:pt idx="2">
                  <c:v>0.10583646180087175</c:v>
                </c:pt>
                <c:pt idx="3">
                  <c:v>0.0560229516146097</c:v>
                </c:pt>
                <c:pt idx="4">
                  <c:v>0.05366473306605356</c:v>
                </c:pt>
                <c:pt idx="5">
                  <c:v>0.04421279078990456</c:v>
                </c:pt>
                <c:pt idx="6">
                  <c:v>0.041963154374529174</c:v>
                </c:pt>
                <c:pt idx="7">
                  <c:v>0.04051927683769633</c:v>
                </c:pt>
                <c:pt idx="8">
                  <c:v>0.03861776533467728</c:v>
                </c:pt>
                <c:pt idx="9">
                  <c:v>0.30285357818516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810099114692499</c:v>
                </c:pt>
                <c:pt idx="1">
                  <c:v>0.12182972793721734</c:v>
                </c:pt>
                <c:pt idx="2">
                  <c:v>0.10102869912254958</c:v>
                </c:pt>
                <c:pt idx="3">
                  <c:v>0.053153835754776065</c:v>
                </c:pt>
                <c:pt idx="4">
                  <c:v>0.053088552703642676</c:v>
                </c:pt>
                <c:pt idx="5">
                  <c:v>0.04626011887292567</c:v>
                </c:pt>
                <c:pt idx="6">
                  <c:v>0.044343945776937635</c:v>
                </c:pt>
                <c:pt idx="7">
                  <c:v>0.04373300040903009</c:v>
                </c:pt>
                <c:pt idx="8">
                  <c:v>0.04078963027839466</c:v>
                </c:pt>
                <c:pt idx="9">
                  <c:v>0.287671497997601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3135010270859537</c:v>
                </c:pt>
                <c:pt idx="1">
                  <c:v>-0.3706196986083134</c:v>
                </c:pt>
                <c:pt idx="2">
                  <c:v>0.00121215824429987</c:v>
                </c:pt>
                <c:pt idx="3">
                  <c:v>0.05464230044658653</c:v>
                </c:pt>
                <c:pt idx="4">
                  <c:v>0.0</c:v>
                </c:pt>
                <c:pt idx="5">
                  <c:v>0.0012642128314733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731270943473702</c:v>
                </c:pt>
                <c:pt idx="1">
                  <c:v>0.32170788757799956</c:v>
                </c:pt>
                <c:pt idx="2">
                  <c:v>0.2051650180746302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502250914619663</c:v>
                </c:pt>
                <c:pt idx="1">
                  <c:v>0.13277278234427708</c:v>
                </c:pt>
                <c:pt idx="2">
                  <c:v>0.11827992112890198</c:v>
                </c:pt>
                <c:pt idx="3">
                  <c:v>0.09888879650306456</c:v>
                </c:pt>
                <c:pt idx="4">
                  <c:v>0.0813744239083955</c:v>
                </c:pt>
                <c:pt idx="5">
                  <c:v>0.05624465482016439</c:v>
                </c:pt>
                <c:pt idx="6">
                  <c:v>0.054041252910153464</c:v>
                </c:pt>
                <c:pt idx="7">
                  <c:v>0.049845286739202736</c:v>
                </c:pt>
                <c:pt idx="8">
                  <c:v>0.04408288592198413</c:v>
                </c:pt>
                <c:pt idx="9">
                  <c:v>0.029447486577659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451524895254796</c:v>
                </c:pt>
                <c:pt idx="1">
                  <c:v>0.13769947163785978</c:v>
                </c:pt>
                <c:pt idx="2">
                  <c:v>0.11805012053948886</c:v>
                </c:pt>
                <c:pt idx="3">
                  <c:v>0.1083205250304099</c:v>
                </c:pt>
                <c:pt idx="4">
                  <c:v>0.08389674150487345</c:v>
                </c:pt>
                <c:pt idx="5">
                  <c:v>0.058063258872303576</c:v>
                </c:pt>
                <c:pt idx="6">
                  <c:v>0.05175654480705824</c:v>
                </c:pt>
                <c:pt idx="7">
                  <c:v>0.04938190116076228</c:v>
                </c:pt>
                <c:pt idx="8">
                  <c:v>0.04707797820545461</c:v>
                </c:pt>
                <c:pt idx="9">
                  <c:v>0.0212382092892413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001614205004035</c:v>
                </c:pt>
                <c:pt idx="1">
                  <c:v>0.199838579499596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773362927868298</c:v>
                </c:pt>
                <c:pt idx="1">
                  <c:v>0.0226637072131702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13633715035178745</c:v>
                </c:pt>
                <c:pt idx="1">
                  <c:v>-0.3124914295512388</c:v>
                </c:pt>
                <c:pt idx="2">
                  <c:v>0.06931054128185374</c:v>
                </c:pt>
                <c:pt idx="3">
                  <c:v>0.059362896717706656</c:v>
                </c:pt>
                <c:pt idx="4">
                  <c:v>0.045439547144355066</c:v>
                </c:pt>
                <c:pt idx="5">
                  <c:v>0.002041294055535913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3633715035178745</c:v>
                </c:pt>
                <c:pt idx="1">
                  <c:v>-0.3124914295512388</c:v>
                </c:pt>
                <c:pt idx="2">
                  <c:v>0.1761542791994513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146843354912028</c:v>
                </c:pt>
                <c:pt idx="1">
                  <c:v>0.28531566450879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318711227717431</c:v>
                </c:pt>
                <c:pt idx="1">
                  <c:v>0.0681288772282568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7082113182775</c:v>
                </c:pt>
                <c:pt idx="1">
                  <c:v>0.1363823349577914</c:v>
                </c:pt>
                <c:pt idx="2">
                  <c:v>0.12276692587305656</c:v>
                </c:pt>
                <c:pt idx="3">
                  <c:v>0.07283605158738307</c:v>
                </c:pt>
                <c:pt idx="4">
                  <c:v>0.06861983642662345</c:v>
                </c:pt>
                <c:pt idx="5">
                  <c:v>0.049626693389484604</c:v>
                </c:pt>
                <c:pt idx="6">
                  <c:v>0.04888690613911947</c:v>
                </c:pt>
                <c:pt idx="7">
                  <c:v>0.04138677190925305</c:v>
                </c:pt>
                <c:pt idx="8">
                  <c:v>0.009997926747839794</c:v>
                </c:pt>
                <c:pt idx="9">
                  <c:v>0.30241443978667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237324441411506</c:v>
                </c:pt>
                <c:pt idx="1">
                  <c:v>0.22511556322194498</c:v>
                </c:pt>
                <c:pt idx="2">
                  <c:v>0.17550054082124267</c:v>
                </c:pt>
                <c:pt idx="3">
                  <c:v>0.10322978627447366</c:v>
                </c:pt>
                <c:pt idx="4">
                  <c:v>0.06176652211810579</c:v>
                </c:pt>
                <c:pt idx="5">
                  <c:v>0.018865989836713993</c:v>
                </c:pt>
                <c:pt idx="6">
                  <c:v>0.0531483533134038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520499210043527</c:v>
                </c:pt>
                <c:pt idx="1">
                  <c:v>0.21870244967249325</c:v>
                </c:pt>
                <c:pt idx="2">
                  <c:v>0.17050086474301804</c:v>
                </c:pt>
                <c:pt idx="3">
                  <c:v>0.10028896631698749</c:v>
                </c:pt>
                <c:pt idx="4">
                  <c:v>0.06000691156862282</c:v>
                </c:pt>
                <c:pt idx="5">
                  <c:v>0.018328533726110197</c:v>
                </c:pt>
                <c:pt idx="6">
                  <c:v>0.014158774896568698</c:v>
                </c:pt>
                <c:pt idx="7">
                  <c:v>0.065963578071846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162805062102076</c:v>
                </c:pt>
                <c:pt idx="1">
                  <c:v>0.111564674509553</c:v>
                </c:pt>
                <c:pt idx="2">
                  <c:v>0.059212321022901956</c:v>
                </c:pt>
                <c:pt idx="3">
                  <c:v>0.05678670826660738</c:v>
                </c:pt>
                <c:pt idx="4">
                  <c:v>0.045664097106385124</c:v>
                </c:pt>
                <c:pt idx="5">
                  <c:v>0.04372984505319784</c:v>
                </c:pt>
                <c:pt idx="6">
                  <c:v>0.03472831350819322</c:v>
                </c:pt>
                <c:pt idx="7">
                  <c:v>0.02973298661823769</c:v>
                </c:pt>
                <c:pt idx="8">
                  <c:v>0.027689288232168936</c:v>
                </c:pt>
                <c:pt idx="9">
                  <c:v>0.359263715061734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6088610291151043</c:v>
                </c:pt>
                <c:pt idx="1">
                  <c:v>0.14444277272285044</c:v>
                </c:pt>
                <c:pt idx="2">
                  <c:v>0.09996684495571188</c:v>
                </c:pt>
                <c:pt idx="3">
                  <c:v>0.07999666484834314</c:v>
                </c:pt>
                <c:pt idx="4">
                  <c:v>0.07365740642319193</c:v>
                </c:pt>
                <c:pt idx="5">
                  <c:v>0.05580015186970248</c:v>
                </c:pt>
                <c:pt idx="6">
                  <c:v>0.050290434702613025</c:v>
                </c:pt>
                <c:pt idx="7">
                  <c:v>0.039974036079087116</c:v>
                </c:pt>
                <c:pt idx="8">
                  <c:v>0.024697394374901066</c:v>
                </c:pt>
                <c:pt idx="9">
                  <c:v>0.270288191112088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237324441411506</c:v>
                </c:pt>
                <c:pt idx="1">
                  <c:v>0.22511556322194498</c:v>
                </c:pt>
                <c:pt idx="2">
                  <c:v>0.17550054082124267</c:v>
                </c:pt>
                <c:pt idx="3">
                  <c:v>0.10322978627447366</c:v>
                </c:pt>
                <c:pt idx="4">
                  <c:v>0.06176652211810579</c:v>
                </c:pt>
                <c:pt idx="5">
                  <c:v>0.018865989836713993</c:v>
                </c:pt>
                <c:pt idx="6">
                  <c:v>0.0531483533134038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339244599866385</c:v>
                </c:pt>
                <c:pt idx="1">
                  <c:v>0.11241450334282752</c:v>
                </c:pt>
                <c:pt idx="2">
                  <c:v>0.05966336287742787</c:v>
                </c:pt>
                <c:pt idx="3">
                  <c:v>0.057219273343714995</c:v>
                </c:pt>
                <c:pt idx="4">
                  <c:v>0.046011937195885234</c:v>
                </c:pt>
                <c:pt idx="5">
                  <c:v>0.04404939394572839</c:v>
                </c:pt>
                <c:pt idx="6">
                  <c:v>0.03414152743324971</c:v>
                </c:pt>
                <c:pt idx="7">
                  <c:v>0.029959473626232143</c:v>
                </c:pt>
                <c:pt idx="8">
                  <c:v>0.027900207643855392</c:v>
                </c:pt>
                <c:pt idx="9">
                  <c:v>0.3552478745924149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29586750070653</c:v>
                </c:pt>
                <c:pt idx="1">
                  <c:v>0.11456897469914591</c:v>
                </c:pt>
                <c:pt idx="2">
                  <c:v>0.09255527679979443</c:v>
                </c:pt>
                <c:pt idx="3">
                  <c:v>0.07672444362321122</c:v>
                </c:pt>
                <c:pt idx="4">
                  <c:v>0.0580619925657063</c:v>
                </c:pt>
                <c:pt idx="5">
                  <c:v>0.05759231443846753</c:v>
                </c:pt>
                <c:pt idx="6">
                  <c:v>0.05328288286824849</c:v>
                </c:pt>
                <c:pt idx="7">
                  <c:v>0.04072022973691638</c:v>
                </c:pt>
                <c:pt idx="8">
                  <c:v>0.038771002747295856</c:v>
                </c:pt>
                <c:pt idx="9">
                  <c:v>0.194764207514148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051482547982505</c:v>
                </c:pt>
                <c:pt idx="1">
                  <c:v>0.32990758924806324</c:v>
                </c:pt>
                <c:pt idx="2">
                  <c:v>0.07421776165977903</c:v>
                </c:pt>
                <c:pt idx="3">
                  <c:v>0.07312738707695274</c:v>
                </c:pt>
                <c:pt idx="4">
                  <c:v>0.042232436535379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004175353210803534</c:v>
                </c:pt>
                <c:pt idx="1">
                  <c:v>-0.010513205143468735</c:v>
                </c:pt>
                <c:pt idx="2">
                  <c:v>0.0007404589580498055</c:v>
                </c:pt>
                <c:pt idx="3">
                  <c:v>-0.009504211853739508</c:v>
                </c:pt>
                <c:pt idx="4">
                  <c:v>0.003888513352297042</c:v>
                </c:pt>
                <c:pt idx="5">
                  <c:v>0.0024696331592602445</c:v>
                </c:pt>
                <c:pt idx="6">
                  <c:v>0.0133363468486814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78471382560963</c:v>
                </c:pt>
                <c:pt idx="1">
                  <c:v>0.14150066097485767</c:v>
                </c:pt>
                <c:pt idx="2">
                  <c:v>0.10955597469716262</c:v>
                </c:pt>
                <c:pt idx="3">
                  <c:v>0.0873055863318765</c:v>
                </c:pt>
                <c:pt idx="4">
                  <c:v>0.08370743180869764</c:v>
                </c:pt>
                <c:pt idx="5">
                  <c:v>0.07369845344528889</c:v>
                </c:pt>
                <c:pt idx="6">
                  <c:v>0.07041789758440196</c:v>
                </c:pt>
                <c:pt idx="7">
                  <c:v>0.04344584334847237</c:v>
                </c:pt>
                <c:pt idx="8">
                  <c:v>0.026422944144463133</c:v>
                </c:pt>
                <c:pt idx="9">
                  <c:v>0.204160493839169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237324441411506</c:v>
                </c:pt>
                <c:pt idx="1">
                  <c:v>0.22511556322194498</c:v>
                </c:pt>
                <c:pt idx="2">
                  <c:v>0.17550054082124267</c:v>
                </c:pt>
                <c:pt idx="3">
                  <c:v>0.10322978627447366</c:v>
                </c:pt>
                <c:pt idx="4">
                  <c:v>0.06176652211810579</c:v>
                </c:pt>
                <c:pt idx="5">
                  <c:v>0.018865989836713993</c:v>
                </c:pt>
                <c:pt idx="6">
                  <c:v>0.0531483533134038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008188049120350094</c:v>
                </c:pt>
                <c:pt idx="1">
                  <c:v>-0.020605793960472824</c:v>
                </c:pt>
                <c:pt idx="2">
                  <c:v>0.001451315371030354</c:v>
                </c:pt>
                <c:pt idx="3">
                  <c:v>-0.018628482862696347</c:v>
                </c:pt>
                <c:pt idx="4">
                  <c:v>0.007621411516088437</c:v>
                </c:pt>
                <c:pt idx="5">
                  <c:v>0.004840491791969687</c:v>
                </c:pt>
                <c:pt idx="6">
                  <c:v>0.0261398630561156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7026620918692066</c:v>
                </c:pt>
                <c:pt idx="1">
                  <c:v>0.115851960319853</c:v>
                </c:pt>
                <c:pt idx="2">
                  <c:v>0.10004019696512913</c:v>
                </c:pt>
                <c:pt idx="3">
                  <c:v>0.07304729683385094</c:v>
                </c:pt>
                <c:pt idx="4">
                  <c:v>0.05498354636129734</c:v>
                </c:pt>
                <c:pt idx="5">
                  <c:v>0.04612553895038068</c:v>
                </c:pt>
                <c:pt idx="6">
                  <c:v>0.03389417670394457</c:v>
                </c:pt>
                <c:pt idx="7">
                  <c:v>0.028835899080095644</c:v>
                </c:pt>
                <c:pt idx="8">
                  <c:v>0.028819788391690714</c:v>
                </c:pt>
                <c:pt idx="9">
                  <c:v>0.148135387206837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974357054617602</c:v>
                </c:pt>
                <c:pt idx="1">
                  <c:v>0.2959794856436941</c:v>
                </c:pt>
                <c:pt idx="2">
                  <c:v>0.08157077078575974</c:v>
                </c:pt>
                <c:pt idx="3">
                  <c:v>0.07853853928798712</c:v>
                </c:pt>
                <c:pt idx="4">
                  <c:v>0.046475498820798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008188049120350094</c:v>
                </c:pt>
                <c:pt idx="1">
                  <c:v>-0.020605793960472824</c:v>
                </c:pt>
                <c:pt idx="2">
                  <c:v>0.001451315371030354</c:v>
                </c:pt>
                <c:pt idx="3">
                  <c:v>-0.018628482862696347</c:v>
                </c:pt>
                <c:pt idx="4">
                  <c:v>0.007621411516088437</c:v>
                </c:pt>
                <c:pt idx="5">
                  <c:v>0.004840491791969687</c:v>
                </c:pt>
                <c:pt idx="6">
                  <c:v>0.0261398630561156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573836620887913</c:v>
                </c:pt>
                <c:pt idx="1">
                  <c:v>0.2194669749980537</c:v>
                </c:pt>
                <c:pt idx="2">
                  <c:v>0.09316836450767417</c:v>
                </c:pt>
                <c:pt idx="3">
                  <c:v>0.09244463154495362</c:v>
                </c:pt>
                <c:pt idx="4">
                  <c:v>0.06395088996087228</c:v>
                </c:pt>
                <c:pt idx="5">
                  <c:v>0.047890361664643485</c:v>
                </c:pt>
                <c:pt idx="6">
                  <c:v>0.03575413839734958</c:v>
                </c:pt>
                <c:pt idx="7">
                  <c:v>0.03480838376877453</c:v>
                </c:pt>
                <c:pt idx="8">
                  <c:v>0.024765507636680287</c:v>
                </c:pt>
                <c:pt idx="9">
                  <c:v>0.162012381312119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56748173766234</c:v>
                </c:pt>
                <c:pt idx="1">
                  <c:v>0.13321197597804874</c:v>
                </c:pt>
                <c:pt idx="2">
                  <c:v>0.10901989758346559</c:v>
                </c:pt>
                <c:pt idx="3">
                  <c:v>0.08422670331691201</c:v>
                </c:pt>
                <c:pt idx="4">
                  <c:v>0.06214906215392293</c:v>
                </c:pt>
                <c:pt idx="5">
                  <c:v>0.0451233867289494</c:v>
                </c:pt>
                <c:pt idx="6">
                  <c:v>0.04476692987764619</c:v>
                </c:pt>
                <c:pt idx="7">
                  <c:v>0.038258351824532494</c:v>
                </c:pt>
                <c:pt idx="8">
                  <c:v>0.03674178994807882</c:v>
                </c:pt>
                <c:pt idx="9">
                  <c:v>0.170827085211820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127301507956344</c:v>
                </c:pt>
                <c:pt idx="1">
                  <c:v>0.3909855869365992</c:v>
                </c:pt>
                <c:pt idx="2">
                  <c:v>0.0831458801966175</c:v>
                </c:pt>
                <c:pt idx="3">
                  <c:v>0.07314837957177373</c:v>
                </c:pt>
                <c:pt idx="4">
                  <c:v>0.0399900024993751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748056607534383</c:v>
                </c:pt>
                <c:pt idx="1">
                  <c:v>0.17370274400372068</c:v>
                </c:pt>
                <c:pt idx="2">
                  <c:v>0.11011892897481895</c:v>
                </c:pt>
                <c:pt idx="3">
                  <c:v>0.10985316590259783</c:v>
                </c:pt>
                <c:pt idx="4">
                  <c:v>0.08901734104046242</c:v>
                </c:pt>
                <c:pt idx="5">
                  <c:v>0.06762341372666268</c:v>
                </c:pt>
                <c:pt idx="6">
                  <c:v>0.06666666666666667</c:v>
                </c:pt>
                <c:pt idx="7">
                  <c:v>0.04808982791841074</c:v>
                </c:pt>
                <c:pt idx="8">
                  <c:v>0.030483024383761877</c:v>
                </c:pt>
                <c:pt idx="9">
                  <c:v>0.1296392266294598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1361196727871</c:v>
                </c:pt>
                <c:pt idx="1">
                  <c:v>0.11577332017243759</c:v>
                </c:pt>
                <c:pt idx="2">
                  <c:v>0.09432758931320114</c:v>
                </c:pt>
                <c:pt idx="3">
                  <c:v>0.07373756180033299</c:v>
                </c:pt>
                <c:pt idx="4">
                  <c:v>0.05858570732516605</c:v>
                </c:pt>
                <c:pt idx="5">
                  <c:v>0.053119010842585905</c:v>
                </c:pt>
                <c:pt idx="6">
                  <c:v>0.05177060955381644</c:v>
                </c:pt>
                <c:pt idx="7">
                  <c:v>0.03845907437187419</c:v>
                </c:pt>
                <c:pt idx="8">
                  <c:v>0.03615469200083386</c:v>
                </c:pt>
                <c:pt idx="9">
                  <c:v>0.185936314946964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597352894275235</c:v>
                </c:pt>
                <c:pt idx="1">
                  <c:v>0.334815021527667</c:v>
                </c:pt>
                <c:pt idx="2">
                  <c:v>0.08932985169829373</c:v>
                </c:pt>
                <c:pt idx="3">
                  <c:v>0.06763275394673895</c:v>
                </c:pt>
                <c:pt idx="4">
                  <c:v>0.048487083399776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4534335349733</c:v>
                </c:pt>
                <c:pt idx="1">
                  <c:v>0.1239369411353069</c:v>
                </c:pt>
                <c:pt idx="2">
                  <c:v>0.11867198139543302</c:v>
                </c:pt>
                <c:pt idx="3">
                  <c:v>0.10622670847264891</c:v>
                </c:pt>
                <c:pt idx="4">
                  <c:v>0.07653118934399898</c:v>
                </c:pt>
                <c:pt idx="5">
                  <c:v>0.06564685406967362</c:v>
                </c:pt>
                <c:pt idx="6">
                  <c:v>0.05962932632344136</c:v>
                </c:pt>
                <c:pt idx="7">
                  <c:v>0.03482022070301012</c:v>
                </c:pt>
                <c:pt idx="8">
                  <c:v>0.026199622057029272</c:v>
                </c:pt>
                <c:pt idx="9">
                  <c:v>0.233802821149724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6088610291151043</c:v>
                </c:pt>
                <c:pt idx="1">
                  <c:v>0.07984328958531389</c:v>
                </c:pt>
                <c:pt idx="2">
                  <c:v>0.07365740642319193</c:v>
                </c:pt>
                <c:pt idx="3">
                  <c:v>0.05580015186970248</c:v>
                </c:pt>
                <c:pt idx="4">
                  <c:v>0.05330247371705945</c:v>
                </c:pt>
                <c:pt idx="5">
                  <c:v>0.045081895068841756</c:v>
                </c:pt>
                <c:pt idx="6">
                  <c:v>0.037494407206382786</c:v>
                </c:pt>
                <c:pt idx="7">
                  <c:v>0.035849161017664</c:v>
                </c:pt>
                <c:pt idx="8">
                  <c:v>0.026958570258962342</c:v>
                </c:pt>
                <c:pt idx="9">
                  <c:v>0.431126541941370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237324441411506</c:v>
                </c:pt>
                <c:pt idx="1">
                  <c:v>0.22511556322194498</c:v>
                </c:pt>
                <c:pt idx="2">
                  <c:v>0.17550054082124267</c:v>
                </c:pt>
                <c:pt idx="3">
                  <c:v>0.10322978627447366</c:v>
                </c:pt>
                <c:pt idx="4">
                  <c:v>0.06176652211810579</c:v>
                </c:pt>
                <c:pt idx="5">
                  <c:v>0.018865989836713993</c:v>
                </c:pt>
                <c:pt idx="6">
                  <c:v>0.0531483533134038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339244599866385</c:v>
                </c:pt>
                <c:pt idx="1">
                  <c:v>0.06941403849702334</c:v>
                </c:pt>
                <c:pt idx="2">
                  <c:v>0.05966336287742787</c:v>
                </c:pt>
                <c:pt idx="3">
                  <c:v>0.057219273343714995</c:v>
                </c:pt>
                <c:pt idx="4">
                  <c:v>0.046011937195885234</c:v>
                </c:pt>
                <c:pt idx="5">
                  <c:v>0.03714034630957129</c:v>
                </c:pt>
                <c:pt idx="6">
                  <c:v>0.03414152743324971</c:v>
                </c:pt>
                <c:pt idx="7">
                  <c:v>0.029959473626232143</c:v>
                </c:pt>
                <c:pt idx="8">
                  <c:v>0.027900207643855392</c:v>
                </c:pt>
                <c:pt idx="9">
                  <c:v>0.4051573870743761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074107765693302</c:v>
                </c:pt>
                <c:pt idx="1">
                  <c:v>0.09285922743818123</c:v>
                </c:pt>
                <c:pt idx="2">
                  <c:v>0.08252490573303033</c:v>
                </c:pt>
                <c:pt idx="3">
                  <c:v>0.05759231443846753</c:v>
                </c:pt>
                <c:pt idx="4">
                  <c:v>0.05322953552554609</c:v>
                </c:pt>
                <c:pt idx="5">
                  <c:v>0.038771002747295856</c:v>
                </c:pt>
                <c:pt idx="6">
                  <c:v>0.038018196058683555</c:v>
                </c:pt>
                <c:pt idx="7">
                  <c:v>0.03433342679886224</c:v>
                </c:pt>
                <c:pt idx="8">
                  <c:v>0.03204406896611558</c:v>
                </c:pt>
                <c:pt idx="9">
                  <c:v>0.349886244636884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8051482547982505</c:v>
                </c:pt>
                <c:pt idx="1">
                  <c:v>0.32990758924806324</c:v>
                </c:pt>
                <c:pt idx="2">
                  <c:v>0.1895775852721117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Q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4150066097485767</c:v>
                </c:pt>
                <c:pt idx="1">
                  <c:v>0.112671651620045</c:v>
                </c:pt>
                <c:pt idx="2">
                  <c:v>0.0873055863318765</c:v>
                </c:pt>
                <c:pt idx="3">
                  <c:v>0.08370743180869764</c:v>
                </c:pt>
                <c:pt idx="4">
                  <c:v>0.07369845344528889</c:v>
                </c:pt>
                <c:pt idx="5">
                  <c:v>0.07041789758440196</c:v>
                </c:pt>
                <c:pt idx="6">
                  <c:v>0.04344584334847237</c:v>
                </c:pt>
                <c:pt idx="7">
                  <c:v>0.023307267221580757</c:v>
                </c:pt>
                <c:pt idx="8">
                  <c:v>0.021259169263064103</c:v>
                </c:pt>
                <c:pt idx="9">
                  <c:v>0.342686038401715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99019740705606</c:v>
                </c:pt>
                <c:pt idx="1">
                  <c:v>0.07918055743777386</c:v>
                </c:pt>
                <c:pt idx="2">
                  <c:v>0.07640601707548449</c:v>
                </c:pt>
                <c:pt idx="3">
                  <c:v>0.04460947734562046</c:v>
                </c:pt>
                <c:pt idx="4">
                  <c:v>0.03567059673849212</c:v>
                </c:pt>
                <c:pt idx="5">
                  <c:v>0.031431539955730226</c:v>
                </c:pt>
                <c:pt idx="6">
                  <c:v>0.03097348330848805</c:v>
                </c:pt>
                <c:pt idx="7">
                  <c:v>0.03057866919636807</c:v>
                </c:pt>
                <c:pt idx="8">
                  <c:v>0.030079956633690202</c:v>
                </c:pt>
                <c:pt idx="9">
                  <c:v>0.331167728237791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8197299785210185</c:v>
                </c:pt>
                <c:pt idx="1">
                  <c:v>0.26219699294262044</c:v>
                </c:pt>
                <c:pt idx="2">
                  <c:v>0.255830009205277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1400998981620677</c:v>
                </c:pt>
                <c:pt idx="1">
                  <c:v>0.09410794820813734</c:v>
                </c:pt>
                <c:pt idx="2">
                  <c:v>0.09073274816934193</c:v>
                </c:pt>
                <c:pt idx="3">
                  <c:v>0.05035643276271762</c:v>
                </c:pt>
                <c:pt idx="4">
                  <c:v>0.049522331603704964</c:v>
                </c:pt>
                <c:pt idx="5">
                  <c:v>0.040221133795645216</c:v>
                </c:pt>
                <c:pt idx="6">
                  <c:v>0.033664710731778284</c:v>
                </c:pt>
                <c:pt idx="7">
                  <c:v>0.02812666698996169</c:v>
                </c:pt>
                <c:pt idx="8">
                  <c:v>0.018883662286019107</c:v>
                </c:pt>
                <c:pt idx="9">
                  <c:v>0.480374375636487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397630931245645</c:v>
                </c:pt>
                <c:pt idx="1">
                  <c:v>0.10062943343015697</c:v>
                </c:pt>
                <c:pt idx="2">
                  <c:v>0.07837738250762068</c:v>
                </c:pt>
                <c:pt idx="3">
                  <c:v>0.05498354636129734</c:v>
                </c:pt>
                <c:pt idx="4">
                  <c:v>0.03747457781223232</c:v>
                </c:pt>
                <c:pt idx="5">
                  <c:v>0.03473145396570178</c:v>
                </c:pt>
                <c:pt idx="6">
                  <c:v>0.03389417670394457</c:v>
                </c:pt>
                <c:pt idx="7">
                  <c:v>0.029971622856760027</c:v>
                </c:pt>
                <c:pt idx="8">
                  <c:v>0.028835899080095644</c:v>
                </c:pt>
                <c:pt idx="9">
                  <c:v>0.2971255979697342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974357054617602</c:v>
                </c:pt>
                <c:pt idx="1">
                  <c:v>0.2959794856436941</c:v>
                </c:pt>
                <c:pt idx="2">
                  <c:v>0.206584808894545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573836620887913</c:v>
                </c:pt>
                <c:pt idx="1">
                  <c:v>0.11352803960635847</c:v>
                </c:pt>
                <c:pt idx="2">
                  <c:v>0.09244463154495362</c:v>
                </c:pt>
                <c:pt idx="3">
                  <c:v>0.06395088996087228</c:v>
                </c:pt>
                <c:pt idx="4">
                  <c:v>0.047890361664643485</c:v>
                </c:pt>
                <c:pt idx="5">
                  <c:v>0.03480838376877453</c:v>
                </c:pt>
                <c:pt idx="6">
                  <c:v>0.024765507636680287</c:v>
                </c:pt>
                <c:pt idx="7">
                  <c:v>0.023793802423784576</c:v>
                </c:pt>
                <c:pt idx="8">
                  <c:v>0.015394463298665275</c:v>
                </c:pt>
                <c:pt idx="9">
                  <c:v>0.357685553886388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298343852861092</c:v>
                </c:pt>
                <c:pt idx="1">
                  <c:v>0.13401076337665094</c:v>
                </c:pt>
                <c:pt idx="2">
                  <c:v>0.08166831527960394</c:v>
                </c:pt>
                <c:pt idx="3">
                  <c:v>0.04476692987764619</c:v>
                </c:pt>
                <c:pt idx="4">
                  <c:v>0.03869825198420896</c:v>
                </c:pt>
                <c:pt idx="5">
                  <c:v>0.038258351824532494</c:v>
                </c:pt>
                <c:pt idx="6">
                  <c:v>0.03674178994807882</c:v>
                </c:pt>
                <c:pt idx="7">
                  <c:v>0.033557982162575106</c:v>
                </c:pt>
                <c:pt idx="8">
                  <c:v>0.031791900490209184</c:v>
                </c:pt>
                <c:pt idx="9">
                  <c:v>0.327522276527883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127301507956344</c:v>
                </c:pt>
                <c:pt idx="1">
                  <c:v>0.3909855869365992</c:v>
                </c:pt>
                <c:pt idx="2">
                  <c:v>0.1962842622677663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7370274400372068</c:v>
                </c:pt>
                <c:pt idx="1">
                  <c:v>0.14174473456913161</c:v>
                </c:pt>
                <c:pt idx="2">
                  <c:v>0.11011892897481895</c:v>
                </c:pt>
                <c:pt idx="3">
                  <c:v>0.08901734104046242</c:v>
                </c:pt>
                <c:pt idx="4">
                  <c:v>0.06762341372666268</c:v>
                </c:pt>
                <c:pt idx="5">
                  <c:v>0.06666666666666667</c:v>
                </c:pt>
                <c:pt idx="6">
                  <c:v>0.06354395056806857</c:v>
                </c:pt>
                <c:pt idx="7">
                  <c:v>0.04808982791841074</c:v>
                </c:pt>
                <c:pt idx="8">
                  <c:v>0.016317852634376455</c:v>
                </c:pt>
                <c:pt idx="9">
                  <c:v>0.22317453989768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102781273697856</c:v>
                </c:pt>
                <c:pt idx="1">
                  <c:v>0.07782782435369892</c:v>
                </c:pt>
                <c:pt idx="2">
                  <c:v>0.07549304440890281</c:v>
                </c:pt>
                <c:pt idx="3">
                  <c:v>0.05955037228556898</c:v>
                </c:pt>
                <c:pt idx="4">
                  <c:v>0.04419130206573904</c:v>
                </c:pt>
                <c:pt idx="5">
                  <c:v>0.04208768634557179</c:v>
                </c:pt>
                <c:pt idx="6">
                  <c:v>0.033768699715065895</c:v>
                </c:pt>
                <c:pt idx="7">
                  <c:v>0.03115483125516908</c:v>
                </c:pt>
                <c:pt idx="8">
                  <c:v>0.029070789496038054</c:v>
                </c:pt>
                <c:pt idx="9">
                  <c:v>0.345827637337266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092544786806036</c:v>
                </c:pt>
                <c:pt idx="1">
                  <c:v>0.2727879360564231</c:v>
                </c:pt>
                <c:pt idx="2">
                  <c:v>0.2179575852629733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CA 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8882693213676138</c:v>
                </c:pt>
                <c:pt idx="1">
                  <c:v>0.11930032205497332</c:v>
                </c:pt>
                <c:pt idx="2">
                  <c:v>0.09356295518261366</c:v>
                </c:pt>
                <c:pt idx="3">
                  <c:v>0.0757949042716692</c:v>
                </c:pt>
                <c:pt idx="4">
                  <c:v>0.06267714954317621</c:v>
                </c:pt>
                <c:pt idx="5">
                  <c:v>0.062053505919787456</c:v>
                </c:pt>
                <c:pt idx="6">
                  <c:v>0.03629586580270464</c:v>
                </c:pt>
                <c:pt idx="7">
                  <c:v>0.019171731759872104</c:v>
                </c:pt>
                <c:pt idx="8">
                  <c:v>0.015412492952633977</c:v>
                </c:pt>
                <c:pt idx="9">
                  <c:v>0.32690414037580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hampagne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93117025343415</c:v>
                </c:pt>
                <c:pt idx="1">
                  <c:v>0.09464992652427451</c:v>
                </c:pt>
                <c:pt idx="2">
                  <c:v>0.08442828264460912</c:v>
                </c:pt>
                <c:pt idx="3">
                  <c:v>0.05842971973598432</c:v>
                </c:pt>
                <c:pt idx="4">
                  <c:v>0.05177060955381644</c:v>
                </c:pt>
                <c:pt idx="5">
                  <c:v>0.03615469200083386</c:v>
                </c:pt>
                <c:pt idx="6">
                  <c:v>0.033926297869666354</c:v>
                </c:pt>
                <c:pt idx="7">
                  <c:v>0.03134503752782847</c:v>
                </c:pt>
                <c:pt idx="8">
                  <c:v>0.03034181448997685</c:v>
                </c:pt>
                <c:pt idx="9">
                  <c:v>0.33964191711866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ffervescents Sans Alcool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597352894275235</c:v>
                </c:pt>
                <c:pt idx="1">
                  <c:v>0.334815021527667</c:v>
                </c:pt>
                <c:pt idx="2">
                  <c:v>0.205449689044809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39369411353069</c:v>
                </c:pt>
                <c:pt idx="1">
                  <c:v>0.11269517376176924</c:v>
                </c:pt>
                <c:pt idx="2">
                  <c:v>0.10622670847264891</c:v>
                </c:pt>
                <c:pt idx="3">
                  <c:v>0.07653118934399898</c:v>
                </c:pt>
                <c:pt idx="4">
                  <c:v>0.06564685406967362</c:v>
                </c:pt>
                <c:pt idx="5">
                  <c:v>0.05962932632344136</c:v>
                </c:pt>
                <c:pt idx="6">
                  <c:v>0.03482022070301012</c:v>
                </c:pt>
                <c:pt idx="7">
                  <c:v>0.032176429690693044</c:v>
                </c:pt>
                <c:pt idx="8">
                  <c:v>0.018410015337909067</c:v>
                </c:pt>
                <c:pt idx="9">
                  <c:v>0.3699271411615487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70229961342649</c:v>
                </c:pt>
                <c:pt idx="1">
                  <c:v>0.21124841324451135</c:v>
                </c:pt>
                <c:pt idx="2">
                  <c:v>0.013420040378651172</c:v>
                </c:pt>
                <c:pt idx="3">
                  <c:v>0.0051015850341885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5554848992905411</c:v>
                </c:pt>
                <c:pt idx="1">
                  <c:v>0.24890045289134624</c:v>
                </c:pt>
                <c:pt idx="2">
                  <c:v>0.0745368908390893</c:v>
                </c:pt>
                <c:pt idx="3">
                  <c:v>0.03115193161978547</c:v>
                </c:pt>
                <c:pt idx="4">
                  <c:v>0.0285752310722366</c:v>
                </c:pt>
                <c:pt idx="5">
                  <c:v>0.0143829030563669</c:v>
                </c:pt>
                <c:pt idx="6">
                  <c:v>0.013775346677261168</c:v>
                </c:pt>
                <c:pt idx="7">
                  <c:v>0.012611815180010725</c:v>
                </c:pt>
                <c:pt idx="8">
                  <c:v>0.0205805293733624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963116166517514</c:v>
                </c:pt>
                <c:pt idx="1">
                  <c:v>0.16103071033475772</c:v>
                </c:pt>
                <c:pt idx="2">
                  <c:v>0.13781107079284083</c:v>
                </c:pt>
                <c:pt idx="3">
                  <c:v>0.09678771008339679</c:v>
                </c:pt>
                <c:pt idx="4">
                  <c:v>0.09295667125396453</c:v>
                </c:pt>
                <c:pt idx="5">
                  <c:v>0.05526699052896317</c:v>
                </c:pt>
                <c:pt idx="6">
                  <c:v>0.04772149956606432</c:v>
                </c:pt>
                <c:pt idx="7">
                  <c:v>0.04226384315451888</c:v>
                </c:pt>
                <c:pt idx="8">
                  <c:v>0.022871045320979496</c:v>
                </c:pt>
                <c:pt idx="9">
                  <c:v>0.01365929729933914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921372689298657</c:v>
                </c:pt>
                <c:pt idx="1">
                  <c:v>0.33647965659689366</c:v>
                </c:pt>
                <c:pt idx="2">
                  <c:v>0.19181417460940203</c:v>
                </c:pt>
                <c:pt idx="3">
                  <c:v>0.00249244190071773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63832041007837</c:v>
                </c:pt>
                <c:pt idx="1">
                  <c:v>0.11429669508478289</c:v>
                </c:pt>
                <c:pt idx="2">
                  <c:v>0.0966956499710833</c:v>
                </c:pt>
                <c:pt idx="3">
                  <c:v>0.08750775903716357</c:v>
                </c:pt>
                <c:pt idx="4">
                  <c:v>0.0834186729648816</c:v>
                </c:pt>
                <c:pt idx="5">
                  <c:v>0.06106318407798265</c:v>
                </c:pt>
                <c:pt idx="6">
                  <c:v>0.047399179321520345</c:v>
                </c:pt>
                <c:pt idx="7">
                  <c:v>0.03642786734034071</c:v>
                </c:pt>
                <c:pt idx="8">
                  <c:v>0.02537061647674451</c:v>
                </c:pt>
                <c:pt idx="9">
                  <c:v>0.155182055315422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055419774918104</c:v>
                </c:pt>
                <c:pt idx="1">
                  <c:v>0.3011426357048489</c:v>
                </c:pt>
                <c:pt idx="2">
                  <c:v>0.10262340868016356</c:v>
                </c:pt>
                <c:pt idx="3">
                  <c:v>0.07432106856094291</c:v>
                </c:pt>
                <c:pt idx="4">
                  <c:v>0.044169217804769796</c:v>
                </c:pt>
                <c:pt idx="5">
                  <c:v>0.02290872637369003</c:v>
                </c:pt>
                <c:pt idx="6">
                  <c:v>0.01352011069205084</c:v>
                </c:pt>
                <c:pt idx="7">
                  <c:v>0.050760634434352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568247023999142</c:v>
                </c:pt>
                <c:pt idx="1">
                  <c:v>0.04844426780417606</c:v>
                </c:pt>
                <c:pt idx="2">
                  <c:v>0.046184013988291174</c:v>
                </c:pt>
                <c:pt idx="3">
                  <c:v>0.04528901415515555</c:v>
                </c:pt>
                <c:pt idx="4">
                  <c:v>0.03259923121031282</c:v>
                </c:pt>
                <c:pt idx="5">
                  <c:v>0.0325213611683338</c:v>
                </c:pt>
                <c:pt idx="6">
                  <c:v>0.028635949463354054</c:v>
                </c:pt>
                <c:pt idx="7">
                  <c:v>0.025762848304101728</c:v>
                </c:pt>
                <c:pt idx="8">
                  <c:v>0.021837995928509234</c:v>
                </c:pt>
                <c:pt idx="9">
                  <c:v>0.061900615577851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413838715269976</c:v>
                </c:pt>
                <c:pt idx="1">
                  <c:v>0.13352819978553587</c:v>
                </c:pt>
                <c:pt idx="2">
                  <c:v>0.10243832551031547</c:v>
                </c:pt>
                <c:pt idx="3">
                  <c:v>0.08103405099623083</c:v>
                </c:pt>
                <c:pt idx="4">
                  <c:v>0.07809781073219595</c:v>
                </c:pt>
                <c:pt idx="5">
                  <c:v>0.07628104592999736</c:v>
                </c:pt>
                <c:pt idx="6">
                  <c:v>0.04287877960921297</c:v>
                </c:pt>
                <c:pt idx="7">
                  <c:v>0.03595284036548797</c:v>
                </c:pt>
                <c:pt idx="8">
                  <c:v>0.03397795642653961</c:v>
                </c:pt>
                <c:pt idx="9">
                  <c:v>0.161672603491784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373080846686539</c:v>
                </c:pt>
                <c:pt idx="1">
                  <c:v>0.22033854958469848</c:v>
                </c:pt>
                <c:pt idx="2">
                  <c:v>0.11927379778524806</c:v>
                </c:pt>
                <c:pt idx="3">
                  <c:v>0.02072387209338672</c:v>
                </c:pt>
                <c:pt idx="4">
                  <c:v>0.00235569586801283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60108106981446</c:v>
                </c:pt>
                <c:pt idx="1">
                  <c:v>0.21991016559960816</c:v>
                </c:pt>
                <c:pt idx="2">
                  <c:v>0.013426525812626145</c:v>
                </c:pt>
                <c:pt idx="3">
                  <c:v>0.00655520160631967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182635641894421</c:v>
                </c:pt>
                <c:pt idx="1">
                  <c:v>0.28518605382262385</c:v>
                </c:pt>
                <c:pt idx="2">
                  <c:v>0.05811905249028189</c:v>
                </c:pt>
                <c:pt idx="3">
                  <c:v>0.029625896336808066</c:v>
                </c:pt>
                <c:pt idx="4">
                  <c:v>0.024847928382876163</c:v>
                </c:pt>
                <c:pt idx="5">
                  <c:v>0.018675242890433586</c:v>
                </c:pt>
                <c:pt idx="6">
                  <c:v>0.017971646565102622</c:v>
                </c:pt>
                <c:pt idx="7">
                  <c:v>0.015800977050783687</c:v>
                </c:pt>
                <c:pt idx="8">
                  <c:v>0.010464124072475411</c:v>
                </c:pt>
                <c:pt idx="9">
                  <c:v>0.02104551419917265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149340290159719</c:v>
                </c:pt>
                <c:pt idx="1">
                  <c:v>0.15095437397946734</c:v>
                </c:pt>
                <c:pt idx="2">
                  <c:v>0.14252526958744935</c:v>
                </c:pt>
                <c:pt idx="3">
                  <c:v>0.10606240707027104</c:v>
                </c:pt>
                <c:pt idx="4">
                  <c:v>0.08892892817744077</c:v>
                </c:pt>
                <c:pt idx="5">
                  <c:v>0.07031900051925952</c:v>
                </c:pt>
                <c:pt idx="6">
                  <c:v>0.04146568820655268</c:v>
                </c:pt>
                <c:pt idx="7">
                  <c:v>0.036817377051231524</c:v>
                </c:pt>
                <c:pt idx="8">
                  <c:v>0.026976470661836928</c:v>
                </c:pt>
                <c:pt idx="9">
                  <c:v>0.0210164557305189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QCA</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503869303525365</c:v>
                </c:pt>
                <c:pt idx="1">
                  <c:v>0.1496130696474634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5926956234334977</c:v>
                </c:pt>
                <c:pt idx="1">
                  <c:v>0.40730437656650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121278140885984</c:v>
                </c:pt>
                <c:pt idx="1">
                  <c:v>0.087872185911401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4533313020515947</c:v>
                </c:pt>
                <c:pt idx="1">
                  <c:v>0.18763965061954094</c:v>
                </c:pt>
                <c:pt idx="2">
                  <c:v>0.36702721917529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1874468119269737</c:v>
                </c:pt>
                <c:pt idx="1">
                  <c:v>0.37818526309028727</c:v>
                </c:pt>
                <c:pt idx="2">
                  <c:v>0.1417492252605212</c:v>
                </c:pt>
                <c:pt idx="3">
                  <c:v>0.0613208304564941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15062937905282</c:v>
                </c:pt>
                <c:pt idx="1">
                  <c:v>0.14016984200277047</c:v>
                </c:pt>
                <c:pt idx="2">
                  <c:v>0.06526670815683283</c:v>
                </c:pt>
                <c:pt idx="3">
                  <c:v>0.523057156049868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706209940107177</c:v>
                </c:pt>
                <c:pt idx="1">
                  <c:v>0.229379005989282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5824807561141967</c:v>
                </c:pt>
                <c:pt idx="1">
                  <c:v>0.3729578745655916</c:v>
                </c:pt>
                <c:pt idx="2">
                  <c:v>0.1285199259475787</c:v>
                </c:pt>
                <c:pt idx="3">
                  <c:v>0.040274123875410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CCQ</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996374184191443</c:v>
                </c:pt>
                <c:pt idx="1">
                  <c:v>0.1307831762146483</c:v>
                </c:pt>
                <c:pt idx="2">
                  <c:v>0.09695431472081219</c:v>
                </c:pt>
                <c:pt idx="3">
                  <c:v>0.372625090645395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96924083769634</c:v>
                </c:pt>
                <c:pt idx="1">
                  <c:v>0.3075916230366492</c:v>
                </c:pt>
                <c:pt idx="2">
                  <c:v>0.09914921465968586</c:v>
                </c:pt>
                <c:pt idx="3">
                  <c:v>0.06622218586387435</c:v>
                </c:pt>
                <c:pt idx="4">
                  <c:v>0.03734456806282722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64001610074466</c:v>
                </c:pt>
                <c:pt idx="1">
                  <c:v>0.21893850090566688</c:v>
                </c:pt>
                <c:pt idx="2">
                  <c:v>0.012507978494005348</c:v>
                </c:pt>
                <c:pt idx="3">
                  <c:v>0.004551910525861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5329946023097093</c:v>
                </c:pt>
                <c:pt idx="1">
                  <c:v>0.2661913274319826</c:v>
                </c:pt>
                <c:pt idx="2">
                  <c:v>0.08047602886206832</c:v>
                </c:pt>
                <c:pt idx="3">
                  <c:v>0.03400405407918472</c:v>
                </c:pt>
                <c:pt idx="4">
                  <c:v>0.03014349673628029</c:v>
                </c:pt>
                <c:pt idx="5">
                  <c:v>0.012987465828575679</c:v>
                </c:pt>
                <c:pt idx="6">
                  <c:v>0.012290670968701765</c:v>
                </c:pt>
                <c:pt idx="7">
                  <c:v>0.010870348502036338</c:v>
                </c:pt>
                <c:pt idx="8">
                  <c:v>0.02004200528146095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08867019478574</c:v>
                </c:pt>
                <c:pt idx="1">
                  <c:v>0.16879902966053284</c:v>
                </c:pt>
                <c:pt idx="2">
                  <c:v>0.13567632074451108</c:v>
                </c:pt>
                <c:pt idx="3">
                  <c:v>0.09047593209645832</c:v>
                </c:pt>
                <c:pt idx="4">
                  <c:v>0.08719776732950055</c:v>
                </c:pt>
                <c:pt idx="5">
                  <c:v>0.05515115382839564</c:v>
                </c:pt>
                <c:pt idx="6">
                  <c:v>0.047319888824818204</c:v>
                </c:pt>
                <c:pt idx="7">
                  <c:v>0.04397971292214333</c:v>
                </c:pt>
                <c:pt idx="8">
                  <c:v>0.024673691674566907</c:v>
                </c:pt>
                <c:pt idx="9">
                  <c:v>0.01583980097121571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3626110852061127</c:v>
                </c:pt>
                <c:pt idx="1">
                  <c:v>-0.3027465797474696</c:v>
                </c:pt>
                <c:pt idx="2">
                  <c:v>0.0553044002411091</c:v>
                </c:pt>
                <c:pt idx="3">
                  <c:v>0.0</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671608258301704</c:v>
                </c:pt>
                <c:pt idx="1">
                  <c:v>0.232839174169829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813459408605352</c:v>
                </c:pt>
                <c:pt idx="1">
                  <c:v>0.36477049049246596</c:v>
                </c:pt>
                <c:pt idx="2">
                  <c:v>0.2017609821077685</c:v>
                </c:pt>
                <c:pt idx="3">
                  <c:v>0.0521225865392303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1859475408905846</c:v>
                </c:pt>
                <c:pt idx="1">
                  <c:v>0.29782106024711674</c:v>
                </c:pt>
                <c:pt idx="2">
                  <c:v>0.17417615933496944</c:v>
                </c:pt>
                <c:pt idx="3">
                  <c:v>0.209408026328855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896924083769634</c:v>
                </c:pt>
                <c:pt idx="1">
                  <c:v>0.3075916230366492</c:v>
                </c:pt>
                <c:pt idx="2">
                  <c:v>0.202715968586387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507496985279061</c:v>
                </c:pt>
                <c:pt idx="1">
                  <c:v>0.06852858865554823</c:v>
                </c:pt>
                <c:pt idx="2">
                  <c:v>0.06040135605560738</c:v>
                </c:pt>
                <c:pt idx="3">
                  <c:v>0.05709540169734477</c:v>
                </c:pt>
                <c:pt idx="4">
                  <c:v>0.02871834543013811</c:v>
                </c:pt>
                <c:pt idx="5">
                  <c:v>0.026952742827239425</c:v>
                </c:pt>
                <c:pt idx="6">
                  <c:v>0.025539805692703237</c:v>
                </c:pt>
                <c:pt idx="7">
                  <c:v>0.023289572478441902</c:v>
                </c:pt>
                <c:pt idx="8">
                  <c:v>0.016852858865554824</c:v>
                </c:pt>
                <c:pt idx="9">
                  <c:v>0.0418716297695160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398846041700434</c:v>
                </c:pt>
                <c:pt idx="1">
                  <c:v>0.14929176803863906</c:v>
                </c:pt>
                <c:pt idx="2">
                  <c:v>0.09233486119533796</c:v>
                </c:pt>
                <c:pt idx="3">
                  <c:v>0.09058665753701761</c:v>
                </c:pt>
                <c:pt idx="4">
                  <c:v>0.08203226665120607</c:v>
                </c:pt>
                <c:pt idx="5">
                  <c:v>0.05146684485845729</c:v>
                </c:pt>
                <c:pt idx="6">
                  <c:v>0.050240859383232396</c:v>
                </c:pt>
                <c:pt idx="7">
                  <c:v>0.04992050349619572</c:v>
                </c:pt>
                <c:pt idx="8">
                  <c:v>0.037223492031517605</c:v>
                </c:pt>
                <c:pt idx="9">
                  <c:v>0.1529142863913919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83854035793059</c:v>
                </c:pt>
                <c:pt idx="1">
                  <c:v>0.16516598263394477</c:v>
                </c:pt>
                <c:pt idx="2">
                  <c:v>0.06545774352960884</c:v>
                </c:pt>
                <c:pt idx="3">
                  <c:v>0.0309908702571404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18773602608061957</c:v>
                </c:pt>
                <c:pt idx="1">
                  <c:v>-0.3140408336663655</c:v>
                </c:pt>
                <c:pt idx="2">
                  <c:v>0.08616011908559991</c:v>
                </c:pt>
                <c:pt idx="3">
                  <c:v>0.002800120437318865</c:v>
                </c:pt>
                <c:pt idx="4">
                  <c:v>0.03734456806282722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764649881504588</c:v>
                </c:pt>
                <c:pt idx="1">
                  <c:v>0.09050720087504305</c:v>
                </c:pt>
                <c:pt idx="2">
                  <c:v>0.06951224452591707</c:v>
                </c:pt>
                <c:pt idx="3">
                  <c:v>0.058731187587352386</c:v>
                </c:pt>
                <c:pt idx="4">
                  <c:v>0.04464339970426786</c:v>
                </c:pt>
                <c:pt idx="5">
                  <c:v>0.0413670521987482</c:v>
                </c:pt>
                <c:pt idx="6">
                  <c:v>0.03578156332921469</c:v>
                </c:pt>
                <c:pt idx="7">
                  <c:v>0.03023658571168142</c:v>
                </c:pt>
                <c:pt idx="8">
                  <c:v>0.015414531386092487</c:v>
                </c:pt>
                <c:pt idx="9">
                  <c:v>0.0373412465312240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6043294902796</c:v>
                </c:pt>
                <c:pt idx="1">
                  <c:v>0.14575027967538434</c:v>
                </c:pt>
                <c:pt idx="2">
                  <c:v>0.1428039811935123</c:v>
                </c:pt>
                <c:pt idx="3">
                  <c:v>0.1018902596079547</c:v>
                </c:pt>
                <c:pt idx="4">
                  <c:v>0.07814149460063124</c:v>
                </c:pt>
                <c:pt idx="5">
                  <c:v>0.050060163845565366</c:v>
                </c:pt>
                <c:pt idx="6">
                  <c:v>0.04205010706473476</c:v>
                </c:pt>
                <c:pt idx="7">
                  <c:v>0.03919222829200032</c:v>
                </c:pt>
                <c:pt idx="8">
                  <c:v>0.037887460931943735</c:v>
                </c:pt>
                <c:pt idx="9">
                  <c:v>0.156180729885477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284396909278481</c:v>
                </c:pt>
                <c:pt idx="1">
                  <c:v>0.20271806640419396</c:v>
                </c:pt>
                <c:pt idx="2">
                  <c:v>0.1381350401077963</c:v>
                </c:pt>
                <c:pt idx="3">
                  <c:v>0.03070720256016169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8773602608061957</c:v>
                </c:pt>
                <c:pt idx="1">
                  <c:v>-0.3140408336663655</c:v>
                </c:pt>
                <c:pt idx="2">
                  <c:v>0.12630480758574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AQ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3586566677535051</c:v>
                </c:pt>
                <c:pt idx="1">
                  <c:v>0.06455820019563091</c:v>
                </c:pt>
                <c:pt idx="2">
                  <c:v>0.5767851320508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O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066424494032174</c:v>
                </c:pt>
                <c:pt idx="1">
                  <c:v>0.1894135962636222</c:v>
                </c:pt>
                <c:pt idx="2">
                  <c:v>0.203943954333160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002717985926361</c:v>
                </c:pt>
                <c:pt idx="1">
                  <c:v>0.11537044075136187</c:v>
                </c:pt>
                <c:pt idx="2">
                  <c:v>0.06757534924967465</c:v>
                </c:pt>
                <c:pt idx="3">
                  <c:v>0.06529500512501583</c:v>
                </c:pt>
                <c:pt idx="4">
                  <c:v>0.03457946077923275</c:v>
                </c:pt>
                <c:pt idx="5">
                  <c:v>0.02713379170553617</c:v>
                </c:pt>
                <c:pt idx="6">
                  <c:v>0.022987711478883784</c:v>
                </c:pt>
                <c:pt idx="7">
                  <c:v>0.018064241209734076</c:v>
                </c:pt>
                <c:pt idx="8">
                  <c:v>0.01739050317290306</c:v>
                </c:pt>
                <c:pt idx="9">
                  <c:v>0.0313316979350217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18938762048387</c:v>
                </c:pt>
                <c:pt idx="1">
                  <c:v>0.15608471931111786</c:v>
                </c:pt>
                <c:pt idx="2">
                  <c:v>0.13261769956765618</c:v>
                </c:pt>
                <c:pt idx="3">
                  <c:v>0.10257470418266944</c:v>
                </c:pt>
                <c:pt idx="4">
                  <c:v>0.08351596612948327</c:v>
                </c:pt>
                <c:pt idx="5">
                  <c:v>0.052765542509028075</c:v>
                </c:pt>
                <c:pt idx="6">
                  <c:v>0.046371203846880024</c:v>
                </c:pt>
                <c:pt idx="7">
                  <c:v>0.041717951230471034</c:v>
                </c:pt>
                <c:pt idx="8">
                  <c:v>0.03635966033884856</c:v>
                </c:pt>
                <c:pt idx="9">
                  <c:v>0.136098676679006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581114343253525</c:v>
                </c:pt>
                <c:pt idx="1">
                  <c:v>0.24282837323786083</c:v>
                </c:pt>
                <c:pt idx="2">
                  <c:v>0.061848288207652716</c:v>
                </c:pt>
                <c:pt idx="3">
                  <c:v>0.0372119042291340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8259883254488616</c:v>
                </c:pt>
                <c:pt idx="1">
                  <c:v>0.13868370819155115</c:v>
                </c:pt>
                <c:pt idx="2">
                  <c:v>0.03034829999723352</c:v>
                </c:pt>
                <c:pt idx="3">
                  <c:v>0.0049796663623537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848018832640309</c:v>
                </c:pt>
                <c:pt idx="1">
                  <c:v>0.18705035971223022</c:v>
                </c:pt>
                <c:pt idx="2">
                  <c:v>0.10936571843442677</c:v>
                </c:pt>
                <c:pt idx="3">
                  <c:v>0.05491386707148043</c:v>
                </c:pt>
                <c:pt idx="4">
                  <c:v>0.026092887158163377</c:v>
                </c:pt>
                <c:pt idx="5">
                  <c:v>0.013904472752073571</c:v>
                </c:pt>
                <c:pt idx="6">
                  <c:v>0.023870811607594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158550894690525</c:v>
                </c:pt>
                <c:pt idx="1">
                  <c:v>0.150092891365992</c:v>
                </c:pt>
                <c:pt idx="2">
                  <c:v>0.14269824973110395</c:v>
                </c:pt>
                <c:pt idx="3">
                  <c:v>0.13564583944460742</c:v>
                </c:pt>
                <c:pt idx="4">
                  <c:v>0.09262246993253154</c:v>
                </c:pt>
                <c:pt idx="5">
                  <c:v>0.05754375672240149</c:v>
                </c:pt>
                <c:pt idx="6">
                  <c:v>0.05039356605065024</c:v>
                </c:pt>
                <c:pt idx="7">
                  <c:v>0.026266255989048595</c:v>
                </c:pt>
                <c:pt idx="8">
                  <c:v>0.011342524689547277</c:v>
                </c:pt>
                <c:pt idx="9">
                  <c:v>0.001808937127212281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035767070647355</c:v>
                </c:pt>
                <c:pt idx="1">
                  <c:v>0.1964232929352645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892675721439636</c:v>
                </c:pt>
                <c:pt idx="1">
                  <c:v>0.3959361602478654</c:v>
                </c:pt>
                <c:pt idx="2">
                  <c:v>0.08934683142990957</c:v>
                </c:pt>
                <c:pt idx="3">
                  <c:v>0.045790251107828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ND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18033943982803427</c:v>
                </c:pt>
                <c:pt idx="1">
                  <c:v>0.12531682120055182</c:v>
                </c:pt>
                <c:pt idx="2">
                  <c:v>0.06917129198883507</c:v>
                </c:pt>
                <c:pt idx="3">
                  <c:v>0.625172446982578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740814299900695</c:v>
                </c:pt>
                <c:pt idx="1">
                  <c:v>0.2259185700099304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644168863155166</c:v>
                </c:pt>
                <c:pt idx="1">
                  <c:v>0.3426954154603984</c:v>
                </c:pt>
                <c:pt idx="2">
                  <c:v>0.12682020481355052</c:v>
                </c:pt>
                <c:pt idx="3">
                  <c:v>0.06606749341053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12629764969686902</c:v>
                </c:pt>
                <c:pt idx="1">
                  <c:v>0.07868947761813803</c:v>
                </c:pt>
                <c:pt idx="2">
                  <c:v>0.03367660493314509</c:v>
                </c:pt>
                <c:pt idx="3">
                  <c:v>0.76133626775184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898714673802863</c:v>
                </c:pt>
                <c:pt idx="1">
                  <c:v>0.09614942761761884</c:v>
                </c:pt>
                <c:pt idx="2">
                  <c:v>0.09148657232831907</c:v>
                </c:pt>
                <c:pt idx="3">
                  <c:v>0.07513279000932571</c:v>
                </c:pt>
                <c:pt idx="4">
                  <c:v>0.05060211653083566</c:v>
                </c:pt>
                <c:pt idx="5">
                  <c:v>0.03593777453405236</c:v>
                </c:pt>
                <c:pt idx="6">
                  <c:v>0.023841381827028343</c:v>
                </c:pt>
                <c:pt idx="7">
                  <c:v>0.019313681763505387</c:v>
                </c:pt>
                <c:pt idx="8">
                  <c:v>0.010271797159037154</c:v>
                </c:pt>
                <c:pt idx="9">
                  <c:v>0.00739299084999121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567523740045236</c:v>
                </c:pt>
                <c:pt idx="1">
                  <c:v>0.14491943726999132</c:v>
                </c:pt>
                <c:pt idx="2">
                  <c:v>0.12036756682063235</c:v>
                </c:pt>
                <c:pt idx="3">
                  <c:v>0.09288337150300446</c:v>
                </c:pt>
                <c:pt idx="4">
                  <c:v>0.06939632311253177</c:v>
                </c:pt>
                <c:pt idx="5">
                  <c:v>0.06553532709748608</c:v>
                </c:pt>
                <c:pt idx="6">
                  <c:v>0.057561354274833824</c:v>
                </c:pt>
                <c:pt idx="7">
                  <c:v>0.053978756393504586</c:v>
                </c:pt>
                <c:pt idx="8">
                  <c:v>0.043598773422529116</c:v>
                </c:pt>
                <c:pt idx="9">
                  <c:v>0.136083852705034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079217057652144</c:v>
                </c:pt>
                <c:pt idx="1">
                  <c:v>0.32961775705473795</c:v>
                </c:pt>
                <c:pt idx="2">
                  <c:v>0.04305697216960513</c:v>
                </c:pt>
                <c:pt idx="3">
                  <c:v>0.019403565010442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8954161103693814</c:v>
                </c:pt>
                <c:pt idx="1">
                  <c:v>0.06433975459342615</c:v>
                </c:pt>
                <c:pt idx="2">
                  <c:v>0.02333269756500731</c:v>
                </c:pt>
                <c:pt idx="3">
                  <c:v>0.0169114374721851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031089089672593</c:v>
                </c:pt>
                <c:pt idx="1">
                  <c:v>0.2877683862819392</c:v>
                </c:pt>
                <c:pt idx="2">
                  <c:v>0.12678519382104342</c:v>
                </c:pt>
                <c:pt idx="3">
                  <c:v>0.03618964344700282</c:v>
                </c:pt>
                <c:pt idx="4">
                  <c:v>0.010686874574953853</c:v>
                </c:pt>
                <c:pt idx="5">
                  <c:v>0.010541144467113572</c:v>
                </c:pt>
                <c:pt idx="6">
                  <c:v>0.0249198484406878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61937251831553</c:v>
                </c:pt>
                <c:pt idx="1">
                  <c:v>0.15354286673004866</c:v>
                </c:pt>
                <c:pt idx="2">
                  <c:v>0.14671998210390919</c:v>
                </c:pt>
                <c:pt idx="3">
                  <c:v>0.12929925619372518</c:v>
                </c:pt>
                <c:pt idx="4">
                  <c:v>0.09515687042111738</c:v>
                </c:pt>
                <c:pt idx="5">
                  <c:v>0.09101839941837706</c:v>
                </c:pt>
                <c:pt idx="6">
                  <c:v>0.05802248196409597</c:v>
                </c:pt>
                <c:pt idx="7">
                  <c:v>0.05746322912588781</c:v>
                </c:pt>
                <c:pt idx="8">
                  <c:v>0.010989318270790225</c:v>
                </c:pt>
                <c:pt idx="9">
                  <c:v>0.00159387058889323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638332989478028</c:v>
                </c:pt>
                <c:pt idx="1">
                  <c:v>0.136166701052197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BO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9130938586326767</c:v>
                </c:pt>
                <c:pt idx="1">
                  <c:v>0.0869061413673232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395108934721333</c:v>
                </c:pt>
                <c:pt idx="1">
                  <c:v>0.070837880003968</c:v>
                </c:pt>
                <c:pt idx="2">
                  <c:v>0.06585382716940068</c:v>
                </c:pt>
                <c:pt idx="3">
                  <c:v>0.060635301402929706</c:v>
                </c:pt>
                <c:pt idx="4">
                  <c:v>0.03701465856632828</c:v>
                </c:pt>
                <c:pt idx="5">
                  <c:v>0.032798153876368634</c:v>
                </c:pt>
                <c:pt idx="6">
                  <c:v>0.02052640175233446</c:v>
                </c:pt>
                <c:pt idx="7">
                  <c:v>0.02031497530519057</c:v>
                </c:pt>
                <c:pt idx="8">
                  <c:v>0.014190622485553361</c:v>
                </c:pt>
                <c:pt idx="9">
                  <c:v>0.0383172859657930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040410610441716</c:v>
                </c:pt>
                <c:pt idx="1">
                  <c:v>0.13875248742602123</c:v>
                </c:pt>
                <c:pt idx="2">
                  <c:v>0.11308530985761298</c:v>
                </c:pt>
                <c:pt idx="3">
                  <c:v>0.08828092297190256</c:v>
                </c:pt>
                <c:pt idx="4">
                  <c:v>0.06937616321378662</c:v>
                </c:pt>
                <c:pt idx="5">
                  <c:v>0.06841274850110445</c:v>
                </c:pt>
                <c:pt idx="6">
                  <c:v>0.04096428410430124</c:v>
                </c:pt>
                <c:pt idx="7">
                  <c:v>0.03958307841912404</c:v>
                </c:pt>
                <c:pt idx="8">
                  <c:v>0.035862082289526725</c:v>
                </c:pt>
                <c:pt idx="9">
                  <c:v>0.1552788171122030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927575899618647</c:v>
                </c:pt>
                <c:pt idx="1">
                  <c:v>0.19042919294014005</c:v>
                </c:pt>
                <c:pt idx="2">
                  <c:v>0.0925258102279874</c:v>
                </c:pt>
                <c:pt idx="3">
                  <c:v>0.0242874068700078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29474702842849</c:v>
                </c:pt>
                <c:pt idx="1">
                  <c:v>0.19321377056364</c:v>
                </c:pt>
                <c:pt idx="2">
                  <c:v>0.016562745348646133</c:v>
                </c:pt>
                <c:pt idx="3">
                  <c:v>0.00727601380342894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5324006572075209</c:v>
                </c:pt>
                <c:pt idx="1">
                  <c:v>0.23749238335654596</c:v>
                </c:pt>
                <c:pt idx="2">
                  <c:v>0.09147316765320335</c:v>
                </c:pt>
                <c:pt idx="3">
                  <c:v>0.05932005135793872</c:v>
                </c:pt>
                <c:pt idx="4">
                  <c:v>0.025347101323119778</c:v>
                </c:pt>
                <c:pt idx="5">
                  <c:v>0.015094555188022284</c:v>
                </c:pt>
                <c:pt idx="6">
                  <c:v>0.014058147632311977</c:v>
                </c:pt>
                <c:pt idx="7">
                  <c:v>0.012815002611420613</c:v>
                </c:pt>
                <c:pt idx="8">
                  <c:v>0.0119989336699164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91947189623224</c:v>
                </c:pt>
                <c:pt idx="1">
                  <c:v>0.14305334489475935</c:v>
                </c:pt>
                <c:pt idx="2">
                  <c:v>0.1333073003278377</c:v>
                </c:pt>
                <c:pt idx="3">
                  <c:v>0.11827992112890198</c:v>
                </c:pt>
                <c:pt idx="4">
                  <c:v>0.0813744239083955</c:v>
                </c:pt>
                <c:pt idx="5">
                  <c:v>0.05624465482016439</c:v>
                </c:pt>
                <c:pt idx="6">
                  <c:v>0.0540991590250392</c:v>
                </c:pt>
                <c:pt idx="7">
                  <c:v>0.049845286739202736</c:v>
                </c:pt>
                <c:pt idx="8">
                  <c:v>0.01821963937853376</c:v>
                </c:pt>
                <c:pt idx="9">
                  <c:v>0.00638155081484297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124697336561743</c:v>
                </c:pt>
                <c:pt idx="1">
                  <c:v>0.1876916868442292</c:v>
                </c:pt>
                <c:pt idx="2">
                  <c:v>0.199838579499596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0971281906186213</c:v>
                </c:pt>
                <c:pt idx="1">
                  <c:v>0.34219532076285175</c:v>
                </c:pt>
                <c:pt idx="2">
                  <c:v>0.19031210633037596</c:v>
                </c:pt>
                <c:pt idx="3">
                  <c:v>0.05777975384491016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7334448441069514</c:v>
                </c:pt>
                <c:pt idx="1">
                  <c:v>0.2625930695560786</c:v>
                </c:pt>
                <c:pt idx="2">
                  <c:v>0.13751844121753976</c:v>
                </c:pt>
                <c:pt idx="3">
                  <c:v>0.326544004815686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687620275889846</c:v>
                </c:pt>
                <c:pt idx="1">
                  <c:v>0.3421960593965121</c:v>
                </c:pt>
                <c:pt idx="2">
                  <c:v>0.03292881788431341</c:v>
                </c:pt>
                <c:pt idx="3">
                  <c:v>0.027778466316461504</c:v>
                </c:pt>
                <c:pt idx="4">
                  <c:v>0.02616716247617913</c:v>
                </c:pt>
                <c:pt idx="5">
                  <c:v>0.017093373614696136</c:v>
                </c:pt>
                <c:pt idx="6">
                  <c:v>0.013134235076478972</c:v>
                </c:pt>
                <c:pt idx="7">
                  <c:v>0.012339743649032226</c:v>
                </c:pt>
                <c:pt idx="8">
                  <c:v>0.01118232039838396</c:v>
                </c:pt>
                <c:pt idx="9">
                  <c:v>0.0484177935989579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447887292698374</c:v>
                </c:pt>
                <c:pt idx="1">
                  <c:v>0.07947384543340633</c:v>
                </c:pt>
                <c:pt idx="2">
                  <c:v>0.05625679598746768</c:v>
                </c:pt>
                <c:pt idx="3">
                  <c:v>0.051241490235035755</c:v>
                </c:pt>
                <c:pt idx="4">
                  <c:v>0.04945780888468717</c:v>
                </c:pt>
                <c:pt idx="5">
                  <c:v>0.04407793258297147</c:v>
                </c:pt>
                <c:pt idx="6">
                  <c:v>0.03253344178808024</c:v>
                </c:pt>
                <c:pt idx="7">
                  <c:v>0.030888476604132343</c:v>
                </c:pt>
                <c:pt idx="8">
                  <c:v>0.009762845305557195</c:v>
                </c:pt>
                <c:pt idx="9">
                  <c:v>0.51182849025167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53258567112182</c:v>
                </c:pt>
                <c:pt idx="1">
                  <c:v>0.18372157635488484</c:v>
                </c:pt>
                <c:pt idx="2">
                  <c:v>0.09662053581803318</c:v>
                </c:pt>
                <c:pt idx="3">
                  <c:v>0.02348188416981989</c:v>
                </c:pt>
                <c:pt idx="4">
                  <c:v>0.000850146946043937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345714167246596</c:v>
                </c:pt>
                <c:pt idx="1">
                  <c:v>0.39629740448502654</c:v>
                </c:pt>
                <c:pt idx="2">
                  <c:v>0.10716055525485041</c:v>
                </c:pt>
                <c:pt idx="3">
                  <c:v>0.0030848985876570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2831435778591664</c:v>
                </c:pt>
                <c:pt idx="1">
                  <c:v>0.23912479638999168</c:v>
                </c:pt>
                <c:pt idx="2">
                  <c:v>0.09449493624108955</c:v>
                </c:pt>
                <c:pt idx="3">
                  <c:v>0.07233061445273378</c:v>
                </c:pt>
                <c:pt idx="4">
                  <c:v>0.038907586878066586</c:v>
                </c:pt>
                <c:pt idx="5">
                  <c:v>0.029767419797357832</c:v>
                </c:pt>
                <c:pt idx="6">
                  <c:v>0.015797994388818033</c:v>
                </c:pt>
                <c:pt idx="7">
                  <c:v>0.014190919433556765</c:v>
                </c:pt>
                <c:pt idx="8">
                  <c:v>0.013688636782697912</c:v>
                </c:pt>
                <c:pt idx="9">
                  <c:v>0.05338273784977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95408915238786</c:v>
                </c:pt>
                <c:pt idx="1">
                  <c:v>0.0882754195312431</c:v>
                </c:pt>
                <c:pt idx="2">
                  <c:v>0.07530413731708643</c:v>
                </c:pt>
                <c:pt idx="3">
                  <c:v>0.07360511652777577</c:v>
                </c:pt>
                <c:pt idx="4">
                  <c:v>0.05512327438681232</c:v>
                </c:pt>
                <c:pt idx="5">
                  <c:v>0.04887448214863117</c:v>
                </c:pt>
                <c:pt idx="6">
                  <c:v>0.0468804736494501</c:v>
                </c:pt>
                <c:pt idx="7">
                  <c:v>0.04278843311074528</c:v>
                </c:pt>
                <c:pt idx="8">
                  <c:v>0.009395100037983283</c:v>
                </c:pt>
                <c:pt idx="9">
                  <c:v>0.29021267176639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4834767904982123</c:v>
                </c:pt>
                <c:pt idx="1">
                  <c:v>0.314333153375233</c:v>
                </c:pt>
                <c:pt idx="2">
                  <c:v>0.08504140734025323</c:v>
                </c:pt>
                <c:pt idx="3">
                  <c:v>0.07266300638681485</c:v>
                </c:pt>
                <c:pt idx="4">
                  <c:v>0.0444856423994866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31465836816062154</c:v>
                </c:pt>
                <c:pt idx="1">
                  <c:v>-0.3840975239023394</c:v>
                </c:pt>
                <c:pt idx="2">
                  <c:v>0.017219713866071913</c:v>
                </c:pt>
                <c:pt idx="3">
                  <c:v>0.05221944187564598</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7855247188283841</c:v>
                </c:pt>
                <c:pt idx="1">
                  <c:v>0.2144752811716158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182935824932382</c:v>
                </c:pt>
                <c:pt idx="1">
                  <c:v>0.12791301259459606</c:v>
                </c:pt>
                <c:pt idx="2">
                  <c:v>0.0537934049121656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4834767904982123</c:v>
                </c:pt>
                <c:pt idx="1">
                  <c:v>0.314333153375233</c:v>
                </c:pt>
                <c:pt idx="2">
                  <c:v>0.20219005612655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HMS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29019867402251703</c:v>
                </c:pt>
                <c:pt idx="1">
                  <c:v>0.20630309636494323</c:v>
                </c:pt>
                <c:pt idx="2">
                  <c:v>0.1912474427936147</c:v>
                </c:pt>
                <c:pt idx="3">
                  <c:v>0.13825672305625386</c:v>
                </c:pt>
                <c:pt idx="4">
                  <c:v>0.09217916708852943</c:v>
                </c:pt>
                <c:pt idx="5">
                  <c:v>0.04288585004089376</c:v>
                </c:pt>
                <c:pt idx="6">
                  <c:v>0.014557047693110819</c:v>
                </c:pt>
                <c:pt idx="7">
                  <c:v>0.0243719989401371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1325632634895877</c:v>
                </c:pt>
                <c:pt idx="1">
                  <c:v>-0.31271356862723115</c:v>
                </c:pt>
                <c:pt idx="2">
                  <c:v>0.07939164403048084</c:v>
                </c:pt>
                <c:pt idx="3">
                  <c:v>0.05627301870767601</c:v>
                </c:pt>
                <c:pt idx="4">
                  <c:v>0.044485642399486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61043657263611</c:v>
                </c:pt>
                <c:pt idx="1">
                  <c:v>0.07197061127455892</c:v>
                </c:pt>
                <c:pt idx="2">
                  <c:v>0.05388331496443113</c:v>
                </c:pt>
                <c:pt idx="3">
                  <c:v>0.04543570732418228</c:v>
                </c:pt>
                <c:pt idx="4">
                  <c:v>0.03378986127683606</c:v>
                </c:pt>
                <c:pt idx="5">
                  <c:v>0.026246276881598002</c:v>
                </c:pt>
                <c:pt idx="6">
                  <c:v>0.022029589113465163</c:v>
                </c:pt>
                <c:pt idx="7">
                  <c:v>0.019792871651470575</c:v>
                </c:pt>
                <c:pt idx="8">
                  <c:v>0.015788526874766593</c:v>
                </c:pt>
                <c:pt idx="9">
                  <c:v>0.0949588749123302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010282275545925</c:v>
                </c:pt>
                <c:pt idx="1">
                  <c:v>0.12437741750848076</c:v>
                </c:pt>
                <c:pt idx="2">
                  <c:v>0.08960311341939341</c:v>
                </c:pt>
                <c:pt idx="3">
                  <c:v>0.05062715113392523</c:v>
                </c:pt>
                <c:pt idx="4">
                  <c:v>0.050102674717761156</c:v>
                </c:pt>
                <c:pt idx="5">
                  <c:v>0.04666198005024076</c:v>
                </c:pt>
                <c:pt idx="6">
                  <c:v>0.04591382986835965</c:v>
                </c:pt>
                <c:pt idx="7">
                  <c:v>0.04022345979526262</c:v>
                </c:pt>
                <c:pt idx="8">
                  <c:v>0.0372578541773937</c:v>
                </c:pt>
                <c:pt idx="9">
                  <c:v>0.295129696573723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VC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49432404540764</c:v>
                </c:pt>
                <c:pt idx="1">
                  <c:v>0.19582495971611175</c:v>
                </c:pt>
                <c:pt idx="2">
                  <c:v>0.0767874278058407</c:v>
                </c:pt>
                <c:pt idx="3">
                  <c:v>0.03220900548585085</c:v>
                </c:pt>
                <c:pt idx="4">
                  <c:v>0.000235366538120326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1325632634895877</c:v>
                </c:pt>
                <c:pt idx="1">
                  <c:v>-0.31271356862723115</c:v>
                </c:pt>
                <c:pt idx="2">
                  <c:v>0.1801503051376434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863319959518954</c:v>
                </c:pt>
                <c:pt idx="1">
                  <c:v>0.2072752865266954</c:v>
                </c:pt>
                <c:pt idx="2">
                  <c:v>0.04729295845555561</c:v>
                </c:pt>
                <c:pt idx="3">
                  <c:v>0.35909975906585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2880546370139835</c:v>
                </c:pt>
                <c:pt idx="1">
                  <c:v>0.2444401218958698</c:v>
                </c:pt>
                <c:pt idx="2">
                  <c:v>0.20418638829453847</c:v>
                </c:pt>
                <c:pt idx="3">
                  <c:v>0.222568026108193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425370518726217</c:v>
                </c:pt>
                <c:pt idx="1">
                  <c:v>0.357462948127378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Q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67257726880926</c:v>
                </c:pt>
                <c:pt idx="1">
                  <c:v>0.1327422731190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596925197679539</c:v>
                </c:pt>
                <c:pt idx="1">
                  <c:v>0.22332522831268786</c:v>
                </c:pt>
                <c:pt idx="2">
                  <c:v>0.0169822519193582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852552458502975</c:v>
                </c:pt>
                <c:pt idx="1">
                  <c:v>0.17096147823363608</c:v>
                </c:pt>
                <c:pt idx="2">
                  <c:v>0.12200438459129345</c:v>
                </c:pt>
                <c:pt idx="3">
                  <c:v>0.04740995928593799</c:v>
                </c:pt>
                <c:pt idx="4">
                  <c:v>0.03627936110241153</c:v>
                </c:pt>
                <c:pt idx="5">
                  <c:v>0.02943313498277482</c:v>
                </c:pt>
                <c:pt idx="6">
                  <c:v>0.026357657375508926</c:v>
                </c:pt>
                <c:pt idx="7">
                  <c:v>0.0222048230504228</c:v>
                </c:pt>
                <c:pt idx="8">
                  <c:v>0.015007829627309741</c:v>
                </c:pt>
                <c:pt idx="9">
                  <c:v>0.045086125900407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CCP</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48801994574302</c:v>
                </c:pt>
                <c:pt idx="1">
                  <c:v>0.16017196289050584</c:v>
                </c:pt>
                <c:pt idx="2">
                  <c:v>0.11241443544680661</c:v>
                </c:pt>
                <c:pt idx="3">
                  <c:v>0.07924609646678896</c:v>
                </c:pt>
                <c:pt idx="4">
                  <c:v>0.07643156666002351</c:v>
                </c:pt>
                <c:pt idx="5">
                  <c:v>0.0559001411332143</c:v>
                </c:pt>
                <c:pt idx="6">
                  <c:v>0.03392077830697084</c:v>
                </c:pt>
                <c:pt idx="7">
                  <c:v>0.032127125641098646</c:v>
                </c:pt>
                <c:pt idx="8">
                  <c:v>0.03197663777570801</c:v>
                </c:pt>
                <c:pt idx="9">
                  <c:v>0.052931056221453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867696120484224</c:v>
                </c:pt>
                <c:pt idx="1">
                  <c:v>0.20880754932799542</c:v>
                </c:pt>
                <c:pt idx="2">
                  <c:v>0.0044228386235821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488351803098023</c:v>
                </c:pt>
                <c:pt idx="1">
                  <c:v>0.25461489009979793</c:v>
                </c:pt>
                <c:pt idx="2">
                  <c:v>0.06399620400416335</c:v>
                </c:pt>
                <c:pt idx="3">
                  <c:v>0.04611063491091655</c:v>
                </c:pt>
                <c:pt idx="4">
                  <c:v>0.02469693259046103</c:v>
                </c:pt>
                <c:pt idx="5">
                  <c:v>0.020036123186187475</c:v>
                </c:pt>
                <c:pt idx="6">
                  <c:v>0.014219677952611278</c:v>
                </c:pt>
                <c:pt idx="7">
                  <c:v>0.02749035694606012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VC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07515641086561</c:v>
                </c:pt>
                <c:pt idx="1">
                  <c:v>0.13120561759193264</c:v>
                </c:pt>
                <c:pt idx="2">
                  <c:v>0.11479105620231779</c:v>
                </c:pt>
                <c:pt idx="3">
                  <c:v>0.10288535149547266</c:v>
                </c:pt>
                <c:pt idx="4">
                  <c:v>0.06675114173332278</c:v>
                </c:pt>
                <c:pt idx="5">
                  <c:v>0.050368258493703966</c:v>
                </c:pt>
                <c:pt idx="6">
                  <c:v>0.04571685013595206</c:v>
                </c:pt>
                <c:pt idx="7">
                  <c:v>0.040357963094955256</c:v>
                </c:pt>
                <c:pt idx="8">
                  <c:v>0.03893772603679945</c:v>
                </c:pt>
                <c:pt idx="9">
                  <c:v>0.0782344711068873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89156438931991</c:v>
                </c:pt>
                <c:pt idx="1">
                  <c:v>0.06474480396481486</c:v>
                </c:pt>
                <c:pt idx="2">
                  <c:v>0.04382054542152106</c:v>
                </c:pt>
                <c:pt idx="3">
                  <c:v>0.031241080463945612</c:v>
                </c:pt>
                <c:pt idx="4">
                  <c:v>0.030929707568956123</c:v>
                </c:pt>
                <c:pt idx="5">
                  <c:v>0.028127351514050703</c:v>
                </c:pt>
                <c:pt idx="6">
                  <c:v>0.01902488388385791</c:v>
                </c:pt>
                <c:pt idx="7">
                  <c:v>0.018947040660110537</c:v>
                </c:pt>
                <c:pt idx="8">
                  <c:v>0.014364669555515193</c:v>
                </c:pt>
                <c:pt idx="9">
                  <c:v>0.0596434780352370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203057811753465</c:v>
                </c:pt>
                <c:pt idx="1">
                  <c:v>0.10293440888266175</c:v>
                </c:pt>
                <c:pt idx="2">
                  <c:v>0.09226196582825016</c:v>
                </c:pt>
                <c:pt idx="3">
                  <c:v>0.053151169982324956</c:v>
                </c:pt>
                <c:pt idx="4">
                  <c:v>0.04960443664097972</c:v>
                </c:pt>
                <c:pt idx="5">
                  <c:v>0.04511093068041588</c:v>
                </c:pt>
                <c:pt idx="6">
                  <c:v>0.042314580591454425</c:v>
                </c:pt>
                <c:pt idx="7">
                  <c:v>0.03751916261918929</c:v>
                </c:pt>
                <c:pt idx="8">
                  <c:v>0.03546147104429313</c:v>
                </c:pt>
                <c:pt idx="9">
                  <c:v>0.289611295612896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5026081154849276</c:v>
                </c:pt>
                <c:pt idx="1">
                  <c:v>0.37332443743555527</c:v>
                </c:pt>
                <c:pt idx="2">
                  <c:v>0.10147388851822649</c:v>
                </c:pt>
                <c:pt idx="3">
                  <c:v>0.02259355856129071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7392356353671691</c:v>
                </c:pt>
                <c:pt idx="1">
                  <c:v>0.24939509663877796</c:v>
                </c:pt>
                <c:pt idx="2">
                  <c:v>0.01136926799405299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55716501082122</c:v>
                </c:pt>
                <c:pt idx="1">
                  <c:v>0.23643087200286295</c:v>
                </c:pt>
                <c:pt idx="2">
                  <c:v>0.07343092312673608</c:v>
                </c:pt>
                <c:pt idx="3">
                  <c:v>0.04449481092687582</c:v>
                </c:pt>
                <c:pt idx="4">
                  <c:v>0.024624665564663178</c:v>
                </c:pt>
                <c:pt idx="5">
                  <c:v>0.020279136347369678</c:v>
                </c:pt>
                <c:pt idx="6">
                  <c:v>0.014945212249280006</c:v>
                </c:pt>
                <c:pt idx="7">
                  <c:v>0.0300778787000903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CC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6989734760150816</c:v>
                </c:pt>
                <c:pt idx="1">
                  <c:v>0.16267462894754048</c:v>
                </c:pt>
                <c:pt idx="2">
                  <c:v>0.09280125536691149</c:v>
                </c:pt>
                <c:pt idx="3">
                  <c:v>0.0891397685417257</c:v>
                </c:pt>
                <c:pt idx="4">
                  <c:v>0.07125732842229147</c:v>
                </c:pt>
                <c:pt idx="5">
                  <c:v>0.04558333151711963</c:v>
                </c:pt>
                <c:pt idx="6">
                  <c:v>0.04397053374888303</c:v>
                </c:pt>
                <c:pt idx="7">
                  <c:v>0.03626615522088791</c:v>
                </c:pt>
                <c:pt idx="8">
                  <c:v>0.032713641217880264</c:v>
                </c:pt>
                <c:pt idx="9">
                  <c:v>0.055696009415251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IDF</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810713037758731</c:v>
                </c:pt>
                <c:pt idx="1">
                  <c:v>0.11878481428953157</c:v>
                </c:pt>
                <c:pt idx="2">
                  <c:v>0.000143881934595383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NICOLAS PA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8706199460916442</c:v>
                </c:pt>
                <c:pt idx="1">
                  <c:v>0.12938005390835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3183322251944397</c:v>
                </c:pt>
                <c:pt idx="1">
                  <c:v>0.1761786216813817</c:v>
                </c:pt>
                <c:pt idx="2">
                  <c:v>0.06385199387688835</c:v>
                </c:pt>
                <c:pt idx="3">
                  <c:v>0.05973126343296275</c:v>
                </c:pt>
                <c:pt idx="4">
                  <c:v>0.38190589581432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RHO</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723914858096828</c:v>
                </c:pt>
                <c:pt idx="1">
                  <c:v>0.2511129660545353</c:v>
                </c:pt>
                <c:pt idx="2">
                  <c:v>0.21330690038953812</c:v>
                </c:pt>
                <c:pt idx="3">
                  <c:v>0.1631886477462437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261480032224652</c:v>
                </c:pt>
                <c:pt idx="1">
                  <c:v>0.1983542409943607</c:v>
                </c:pt>
                <c:pt idx="2">
                  <c:v>0.10214063758775463</c:v>
                </c:pt>
                <c:pt idx="3">
                  <c:v>0.473357118195419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EST</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29499797761898344</c:v>
                </c:pt>
                <c:pt idx="1">
                  <c:v>0.24484292840771202</c:v>
                </c:pt>
                <c:pt idx="2">
                  <c:v>0.1899689901577457</c:v>
                </c:pt>
                <c:pt idx="3">
                  <c:v>0.2701901038155588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8259883254488616</c:v>
                </c:pt>
                <c:pt idx="1">
                  <c:v>0.13868370819155115</c:v>
                </c:pt>
                <c:pt idx="2">
                  <c:v>0.03034829999723352</c:v>
                </c:pt>
                <c:pt idx="3">
                  <c:v>0.00497966636235372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8276901414648096</c:v>
                </c:pt>
                <c:pt idx="1">
                  <c:v>0.1982927419532264</c:v>
                </c:pt>
                <c:pt idx="2">
                  <c:v>0.1829582205794997</c:v>
                </c:pt>
                <c:pt idx="3">
                  <c:v>0.10936571843442677</c:v>
                </c:pt>
                <c:pt idx="4">
                  <c:v>0.05491386707148043</c:v>
                </c:pt>
                <c:pt idx="5">
                  <c:v>0.026092887158163377</c:v>
                </c:pt>
                <c:pt idx="6">
                  <c:v>0.013904472752073571</c:v>
                </c:pt>
                <c:pt idx="7">
                  <c:v>0.0317030779046487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29172777940745</c:v>
                </c:pt>
                <c:pt idx="1">
                  <c:v>0.14269824973110395</c:v>
                </c:pt>
                <c:pt idx="2">
                  <c:v>0.13564583944460742</c:v>
                </c:pt>
                <c:pt idx="3">
                  <c:v>0.10502835631172387</c:v>
                </c:pt>
                <c:pt idx="4">
                  <c:v>0.09262246993253154</c:v>
                </c:pt>
                <c:pt idx="5">
                  <c:v>0.05866823115283074</c:v>
                </c:pt>
                <c:pt idx="6">
                  <c:v>0.05754375672240149</c:v>
                </c:pt>
                <c:pt idx="7">
                  <c:v>0.05039356605065024</c:v>
                </c:pt>
                <c:pt idx="8">
                  <c:v>0.045064535054268114</c:v>
                </c:pt>
                <c:pt idx="9">
                  <c:v>0.03941771780580815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233658344628566</c:v>
                </c:pt>
                <c:pt idx="1">
                  <c:v>0.2225088540072581</c:v>
                </c:pt>
                <c:pt idx="2">
                  <c:v>0.05369244895282235</c:v>
                </c:pt>
                <c:pt idx="3">
                  <c:v>0.361462113593633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HAU</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4972043665132555</c:v>
                </c:pt>
                <c:pt idx="1">
                  <c:v>0.2543455935491233</c:v>
                </c:pt>
                <c:pt idx="2">
                  <c:v>0.13765166787113461</c:v>
                </c:pt>
                <c:pt idx="3">
                  <c:v>0.110798372066486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344373003356383</c:v>
                </c:pt>
                <c:pt idx="1">
                  <c:v>0.10563845417660776</c:v>
                </c:pt>
                <c:pt idx="2">
                  <c:v>0.058810842870044615</c:v>
                </c:pt>
                <c:pt idx="3">
                  <c:v>0.053715610551713915</c:v>
                </c:pt>
                <c:pt idx="4">
                  <c:v>0.03214848962756278</c:v>
                </c:pt>
                <c:pt idx="5">
                  <c:v>0.029830024128216535</c:v>
                </c:pt>
                <c:pt idx="6">
                  <c:v>0.025516599943386307</c:v>
                </c:pt>
                <c:pt idx="7">
                  <c:v>0.02201194279321175</c:v>
                </c:pt>
                <c:pt idx="8">
                  <c:v>0.014301697062827719</c:v>
                </c:pt>
                <c:pt idx="9">
                  <c:v>0.02358903851079030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9447655415424353</c:v>
                </c:pt>
                <c:pt idx="1">
                  <c:v>0.14273784658556418</c:v>
                </c:pt>
                <c:pt idx="2">
                  <c:v>0.0949931440233422</c:v>
                </c:pt>
                <c:pt idx="3">
                  <c:v>0.07537189687335576</c:v>
                </c:pt>
                <c:pt idx="4">
                  <c:v>0.049673942505460866</c:v>
                </c:pt>
                <c:pt idx="5">
                  <c:v>0.04861565075973788</c:v>
                </c:pt>
                <c:pt idx="6">
                  <c:v>0.04447416253447919</c:v>
                </c:pt>
                <c:pt idx="7">
                  <c:v>0.03793108946252332</c:v>
                </c:pt>
                <c:pt idx="8">
                  <c:v>0.03314784993383185</c:v>
                </c:pt>
                <c:pt idx="9">
                  <c:v>0.278577863167461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B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699223004865297</c:v>
                </c:pt>
                <c:pt idx="1">
                  <c:v>0.17059400188802556</c:v>
                </c:pt>
                <c:pt idx="2">
                  <c:v>0.11117565899353714</c:v>
                </c:pt>
                <c:pt idx="3">
                  <c:v>0.04830803863190763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5898714673802863</c:v>
                </c:pt>
                <c:pt idx="1">
                  <c:v>0.09614942761761884</c:v>
                </c:pt>
                <c:pt idx="2">
                  <c:v>0.08514779223938694</c:v>
                </c:pt>
                <c:pt idx="3">
                  <c:v>0.07513279000932571</c:v>
                </c:pt>
                <c:pt idx="4">
                  <c:v>0.05060211653083566</c:v>
                </c:pt>
                <c:pt idx="5">
                  <c:v>0.03593777453405236</c:v>
                </c:pt>
                <c:pt idx="6">
                  <c:v>0.023841381827028343</c:v>
                </c:pt>
                <c:pt idx="7">
                  <c:v>0.019313681763505387</c:v>
                </c:pt>
                <c:pt idx="8">
                  <c:v>0.010271797159037154</c:v>
                </c:pt>
                <c:pt idx="9">
                  <c:v>0.01373177093892335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837224472212005</c:v>
                </c:pt>
                <c:pt idx="1">
                  <c:v>0.0953828583969551</c:v>
                </c:pt>
                <c:pt idx="2">
                  <c:v>0.09288337150300446</c:v>
                </c:pt>
                <c:pt idx="3">
                  <c:v>0.08485046768854361</c:v>
                </c:pt>
                <c:pt idx="4">
                  <c:v>0.057561354274833824</c:v>
                </c:pt>
                <c:pt idx="5">
                  <c:v>0.053978756393504586</c:v>
                </c:pt>
                <c:pt idx="6">
                  <c:v>0.049536578873036224</c:v>
                </c:pt>
                <c:pt idx="7">
                  <c:v>0.04522242385201412</c:v>
                </c:pt>
                <c:pt idx="8">
                  <c:v>0.043598773422529116</c:v>
                </c:pt>
                <c:pt idx="9">
                  <c:v>0.293262968374378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NICOLAS LOI</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079217057652144</c:v>
                </c:pt>
                <c:pt idx="1">
                  <c:v>0.32961775705473795</c:v>
                </c:pt>
                <c:pt idx="2">
                  <c:v>0.04305697216960513</c:v>
                </c:pt>
                <c:pt idx="3">
                  <c:v>0.019403565010442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6465482600659005</c:v>
                </c:pt>
                <c:pt idx="1">
                  <c:v>0.31712609499316885</c:v>
                </c:pt>
                <c:pt idx="2">
                  <c:v>0.036325644940930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6532393934752642</c:v>
                </c:pt>
                <c:pt idx="1">
                  <c:v>0.12000306325624138</c:v>
                </c:pt>
                <c:pt idx="2">
                  <c:v>0.11716955123296063</c:v>
                </c:pt>
                <c:pt idx="3">
                  <c:v>0.08002756930617246</c:v>
                </c:pt>
                <c:pt idx="4">
                  <c:v>0.019758002756930616</c:v>
                </c:pt>
                <c:pt idx="5">
                  <c:v>0.0098024199724306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56759010118619</c:v>
                </c:pt>
                <c:pt idx="1">
                  <c:v>0.14476825709629743</c:v>
                </c:pt>
                <c:pt idx="2">
                  <c:v>0.12744912267404404</c:v>
                </c:pt>
                <c:pt idx="3">
                  <c:v>0.11892219653617311</c:v>
                </c:pt>
                <c:pt idx="4">
                  <c:v>0.07814454087239929</c:v>
                </c:pt>
                <c:pt idx="5">
                  <c:v>0.07109561526509266</c:v>
                </c:pt>
                <c:pt idx="6">
                  <c:v>0.04972145374616288</c:v>
                </c:pt>
                <c:pt idx="7">
                  <c:v>0.04824345321559859</c:v>
                </c:pt>
                <c:pt idx="8">
                  <c:v>0.04206616894682988</c:v>
                </c:pt>
                <c:pt idx="9">
                  <c:v>0.023913290635540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urgogne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Italiens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36982214572576017</c:v>
                </c:pt>
                <c:pt idx="1">
                  <c:v>0.08353413654618475</c:v>
                </c:pt>
                <c:pt idx="2">
                  <c:v>0.06655192197360872</c:v>
                </c:pt>
                <c:pt idx="3">
                  <c:v>0.480091795754446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Val De Loire | NICOLAS CEN</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05448958780592529</c:v>
                </c:pt>
                <c:pt idx="1">
                  <c:v>0.028338342636324603</c:v>
                </c:pt>
                <c:pt idx="2">
                  <c:v>0.02152211249463289</c:v>
                </c:pt>
                <c:pt idx="3">
                  <c:v>0.89564995706311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395108934721333</c:v>
                </c:pt>
                <c:pt idx="1">
                  <c:v>0.07373672697831526</c:v>
                </c:pt>
                <c:pt idx="2">
                  <c:v>0.060635301402929706</c:v>
                </c:pt>
                <c:pt idx="3">
                  <c:v>0.045261292026016475</c:v>
                </c:pt>
                <c:pt idx="4">
                  <c:v>0.03701465856632828</c:v>
                </c:pt>
                <c:pt idx="5">
                  <c:v>0.032798153876368634</c:v>
                </c:pt>
                <c:pt idx="6">
                  <c:v>0.02052640175233446</c:v>
                </c:pt>
                <c:pt idx="7">
                  <c:v>0.02031497530519057</c:v>
                </c:pt>
                <c:pt idx="8">
                  <c:v>0.016032337224181174</c:v>
                </c:pt>
                <c:pt idx="9">
                  <c:v>0.054169259396202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116749634533524</c:v>
                </c:pt>
                <c:pt idx="1">
                  <c:v>0.11308530985761298</c:v>
                </c:pt>
                <c:pt idx="2">
                  <c:v>0.10606448953832084</c:v>
                </c:pt>
                <c:pt idx="3">
                  <c:v>0.06841274850110445</c:v>
                </c:pt>
                <c:pt idx="4">
                  <c:v>0.04902257842234401</c:v>
                </c:pt>
                <c:pt idx="5">
                  <c:v>0.04096428410430124</c:v>
                </c:pt>
                <c:pt idx="6">
                  <c:v>0.04055245007438128</c:v>
                </c:pt>
                <c:pt idx="7">
                  <c:v>0.035862082289526725</c:v>
                </c:pt>
                <c:pt idx="8">
                  <c:v>0.033398645037061844</c:v>
                </c:pt>
                <c:pt idx="9">
                  <c:v>0.30146991583001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CA B</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927575899618647</c:v>
                </c:pt>
                <c:pt idx="1">
                  <c:v>0.19042919294014005</c:v>
                </c:pt>
                <c:pt idx="2">
                  <c:v>0.0925258102279874</c:v>
                </c:pt>
                <c:pt idx="3">
                  <c:v>0.0242874068700078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xtra Brut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8940357891095</c:v>
                </c:pt>
                <c:pt idx="1">
                  <c:v>0.19147750206623484</c:v>
                </c:pt>
                <c:pt idx="2">
                  <c:v>0.01406385146174102</c:v>
                </c:pt>
                <c:pt idx="3">
                  <c:v>0.00505506756107405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illesimes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428822250710663</c:v>
                </c:pt>
                <c:pt idx="1">
                  <c:v>0.25752864548082205</c:v>
                </c:pt>
                <c:pt idx="2">
                  <c:v>0.11884988095901645</c:v>
                </c:pt>
                <c:pt idx="3">
                  <c:v>0.07495799724493778</c:v>
                </c:pt>
                <c:pt idx="4">
                  <c:v>0.022136049113363643</c:v>
                </c:pt>
                <c:pt idx="5">
                  <c:v>0.020860041246307342</c:v>
                </c:pt>
                <c:pt idx="6">
                  <c:v>0.014549674727479756</c:v>
                </c:pt>
                <c:pt idx="7">
                  <c:v>0.014366534752800848</c:v>
                </c:pt>
                <c:pt idx="8">
                  <c:v>0.011691098600969846</c:v>
                </c:pt>
                <c:pt idx="9">
                  <c:v>0.02217785280323600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Rosés | CA C</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0286136265961</c:v>
                </c:pt>
                <c:pt idx="1">
                  <c:v>0.1534426451242738</c:v>
                </c:pt>
                <c:pt idx="2">
                  <c:v>0.12253072212538423</c:v>
                </c:pt>
                <c:pt idx="3">
                  <c:v>0.10250489219713646</c:v>
                </c:pt>
                <c:pt idx="4">
                  <c:v>0.09124138547895537</c:v>
                </c:pt>
                <c:pt idx="5">
                  <c:v>0.05797008178750084</c:v>
                </c:pt>
                <c:pt idx="6">
                  <c:v>0.04938119432876001</c:v>
                </c:pt>
                <c:pt idx="7">
                  <c:v>0.04509002297205612</c:v>
                </c:pt>
                <c:pt idx="8">
                  <c:v>0.03718069823706376</c:v>
                </c:pt>
                <c:pt idx="9">
                  <c:v>0.0377969950892594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Alsace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3</c:f>
              <c:numCache>
                <c:formatCode>General</c:formatCode>
                <c:ptCount val="2"/>
                <c:pt idx="0">
                  <c:v>0.6862588031107106</c:v>
                </c:pt>
                <c:pt idx="1">
                  <c:v>0.313741196889289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Mousseux Bordelais | CA D</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8442998312846469</c:v>
                </c:pt>
                <c:pt idx="1">
                  <c:v>0.15513778420502933</c:v>
                </c:pt>
                <c:pt idx="2">
                  <c:v>0.000562384510323772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lanc De Blanc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01898509084951</c:v>
                </c:pt>
                <c:pt idx="1">
                  <c:v>0.0866488976978929</c:v>
                </c:pt>
                <c:pt idx="2">
                  <c:v>0.06744482495434548</c:v>
                </c:pt>
                <c:pt idx="3">
                  <c:v>0.04550987216732135</c:v>
                </c:pt>
                <c:pt idx="4">
                  <c:v>0.03830984339597761</c:v>
                </c:pt>
                <c:pt idx="5">
                  <c:v>0.03672662028619495</c:v>
                </c:pt>
                <c:pt idx="6">
                  <c:v>0.024653844770608474</c:v>
                </c:pt>
                <c:pt idx="7">
                  <c:v>0.023989706252572438</c:v>
                </c:pt>
                <c:pt idx="8">
                  <c:v>0.02169519158917718</c:v>
                </c:pt>
                <c:pt idx="9">
                  <c:v>0.044831347977414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3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Brut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810099114692499</c:v>
                </c:pt>
                <c:pt idx="1">
                  <c:v>0.12182972793721734</c:v>
                </c:pt>
                <c:pt idx="2">
                  <c:v>0.10102869912254958</c:v>
                </c:pt>
                <c:pt idx="3">
                  <c:v>0.053153835754776065</c:v>
                </c:pt>
                <c:pt idx="4">
                  <c:v>0.053088552703642676</c:v>
                </c:pt>
                <c:pt idx="5">
                  <c:v>0.04626011887292567</c:v>
                </c:pt>
                <c:pt idx="6">
                  <c:v>0.044343945776937635</c:v>
                </c:pt>
                <c:pt idx="7">
                  <c:v>0.04373300040903009</c:v>
                </c:pt>
                <c:pt idx="8">
                  <c:v>0.04078963027839466</c:v>
                </c:pt>
                <c:pt idx="9">
                  <c:v>0.2876714979976013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Crus | CA 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017138451806753</c:v>
                </c:pt>
                <c:pt idx="1">
                  <c:v>0.1788329248043014</c:v>
                </c:pt>
                <c:pt idx="2">
                  <c:v>0.08025223373131968</c:v>
                </c:pt>
                <c:pt idx="3">
                  <c:v>0.038910413536807145</c:v>
                </c:pt>
                <c:pt idx="4">
                  <c:v>0.000290582746896497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9</a:t>
                    </a:r>
                  </a:p>
                </c:rich>
              </c:tx>
              <c:showLegendKey val="0"/>
              <c:showVal val="1"/>
              <c:showCatName val="0"/>
              <c:showSerName val="0"/>
              <c:showPercent val="0"/>
              <c:showBubbleSize val="0"/>
            </c:dLbl>
            <c:dLbl>
              <c:idx val="1"/>
              <c:tx>
                <c:rich>
                  <a:bodyPr/>
                  <a:lstStyle/>
                  <a:p>
                    <a:pPr>
                      <a:defRPr sz="800">
                        <a:latin typeface="Nexa Book (Body)"/>
                      </a:defRPr>
                    </a:pPr>
                    <a:r>
                      <a:t>27</a:t>
                    </a:r>
                  </a:p>
                </c:rich>
              </c:tx>
              <c:showLegendKey val="0"/>
              <c:showVal val="1"/>
              <c:showCatName val="0"/>
              <c:showSerName val="0"/>
              <c:showPercent val="0"/>
              <c:showBubbleSize val="0"/>
            </c:dLbl>
            <c:dLbl>
              <c:idx val="2"/>
              <c:tx>
                <c:rich>
                  <a:bodyPr/>
                  <a:lstStyle/>
                  <a:p>
                    <a:pPr>
                      <a:defRPr sz="800">
                        <a:latin typeface="Nexa Book (Body)"/>
                      </a:defRPr>
                    </a:pPr>
                    <a:r>
                      <a:t>2</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29.474685</c:v>
                </c:pt>
                <c:pt idx="1">
                  <c:v>27.086635</c:v>
                </c:pt>
                <c:pt idx="2">
                  <c:v>2.056054</c:v>
                </c:pt>
                <c:pt idx="3">
                  <c:v>0.331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3</a:t>
                    </a:r>
                  </a:p>
                </c:rich>
              </c:tx>
              <c:showLegendKey val="0"/>
              <c:showVal val="1"/>
              <c:showCatName val="0"/>
              <c:showSerName val="0"/>
              <c:showPercent val="0"/>
              <c:showBubbleSize val="0"/>
            </c:dLbl>
            <c:dLbl>
              <c:idx val="1"/>
              <c:tx>
                <c:rich>
                  <a:bodyPr/>
                  <a:lstStyle/>
                  <a:p>
                    <a:pPr>
                      <a:defRPr sz="800">
                        <a:latin typeface="Nexa Book (Body)"/>
                      </a:defRPr>
                    </a:pPr>
                    <a:r>
                      <a:t>3</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2.507011</c:v>
                </c:pt>
                <c:pt idx="1">
                  <c:v>2.507011</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9</a:t>
                    </a:r>
                  </a:p>
                </c:rich>
              </c:tx>
              <c:showLegendKey val="0"/>
              <c:showVal val="1"/>
              <c:showCatName val="0"/>
              <c:showSerName val="0"/>
              <c:showPercent val="0"/>
              <c:showBubbleSize val="0"/>
            </c:dLbl>
            <c:dLbl>
              <c:idx val="1"/>
              <c:tx>
                <c:rich>
                  <a:bodyPr/>
                  <a:lstStyle/>
                  <a:p>
                    <a:pPr>
                      <a:defRPr sz="800">
                        <a:latin typeface="Nexa Book (Body)"/>
                      </a:defRPr>
                    </a:pPr>
                    <a:r>
                      <a:t>27</a:t>
                    </a:r>
                  </a:p>
                </c:rich>
              </c:tx>
              <c:showLegendKey val="0"/>
              <c:showVal val="1"/>
              <c:showCatName val="0"/>
              <c:showSerName val="0"/>
              <c:showPercent val="0"/>
              <c:showBubbleSize val="0"/>
            </c:dLbl>
            <c:dLbl>
              <c:idx val="2"/>
              <c:tx>
                <c:rich>
                  <a:bodyPr/>
                  <a:lstStyle/>
                  <a:p>
                    <a:pPr>
                      <a:defRPr sz="800">
                        <a:latin typeface="Nexa Book (Body)"/>
                      </a:defRPr>
                    </a:pPr>
                    <a:r>
                      <a:t>2</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29.474685</c:v>
                </c:pt>
                <c:pt idx="1">
                  <c:v>27.086635</c:v>
                </c:pt>
                <c:pt idx="2">
                  <c:v>2.056054</c:v>
                </c:pt>
                <c:pt idx="3">
                  <c:v>0.331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3</a:t>
                    </a:r>
                  </a:p>
                </c:rich>
              </c:tx>
              <c:showLegendKey val="0"/>
              <c:showVal val="1"/>
              <c:showCatName val="0"/>
              <c:showSerName val="0"/>
              <c:showPercent val="0"/>
              <c:showBubbleSize val="0"/>
            </c:dLbl>
            <c:dLbl>
              <c:idx val="1"/>
              <c:tx>
                <c:rich>
                  <a:bodyPr/>
                  <a:lstStyle/>
                  <a:p>
                    <a:pPr>
                      <a:defRPr sz="800">
                        <a:latin typeface="Nexa Book (Body)"/>
                      </a:defRPr>
                    </a:pPr>
                    <a:r>
                      <a:t>3</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2.507011</c:v>
                </c:pt>
                <c:pt idx="1">
                  <c:v>2.507011</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a:t>
                    </a:r>
                  </a:p>
                </c:rich>
              </c:tx>
              <c:showLegendKey val="0"/>
              <c:showVal val="1"/>
              <c:showCatName val="0"/>
              <c:showSerName val="0"/>
              <c:showPercent val="0"/>
              <c:showBubbleSize val="0"/>
            </c:dLbl>
            <c:dLbl>
              <c:idx val="1"/>
              <c:tx>
                <c:rich>
                  <a:bodyPr/>
                  <a:lstStyle/>
                  <a:p>
                    <a:pPr>
                      <a:defRPr sz="800">
                        <a:latin typeface="Nexa Book (Body)"/>
                      </a:defRPr>
                    </a:pPr>
                    <a:r>
                      <a:t>3</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2.765393</c:v>
                </c:pt>
                <c:pt idx="1">
                  <c:v>2.539472</c:v>
                </c:pt>
                <c:pt idx="2">
                  <c:v>0.201473</c:v>
                </c:pt>
                <c:pt idx="3">
                  <c:v>0.02444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268753</c:v>
                </c:pt>
                <c:pt idx="1">
                  <c:v>0.268753</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1.222991</c:v>
                </c:pt>
                <c:pt idx="1">
                  <c:v>1.10685</c:v>
                </c:pt>
                <c:pt idx="2">
                  <c:v>0.103105</c:v>
                </c:pt>
                <c:pt idx="3">
                  <c:v>0.01303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08386</c:v>
                </c:pt>
                <c:pt idx="1">
                  <c:v>0.08386</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a:t>
                    </a:r>
                  </a:p>
                </c:rich>
              </c:tx>
              <c:showLegendKey val="0"/>
              <c:showVal val="1"/>
              <c:showCatName val="0"/>
              <c:showSerName val="0"/>
              <c:showPercent val="0"/>
              <c:showBubbleSize val="0"/>
            </c:dLbl>
            <c:dLbl>
              <c:idx val="1"/>
              <c:tx>
                <c:rich>
                  <a:bodyPr/>
                  <a:lstStyle/>
                  <a:p>
                    <a:pPr>
                      <a:defRPr sz="800">
                        <a:latin typeface="Nexa Book (Body)"/>
                      </a:defRPr>
                    </a:pPr>
                    <a:r>
                      <a:t>3</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3.829645</c:v>
                </c:pt>
                <c:pt idx="1">
                  <c:v>3.490185</c:v>
                </c:pt>
                <c:pt idx="2">
                  <c:v>0.300242</c:v>
                </c:pt>
                <c:pt idx="3">
                  <c:v>0.03921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277285</c:v>
                </c:pt>
                <c:pt idx="1">
                  <c:v>0.277285</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a:t>
                    </a:r>
                  </a:p>
                </c:rich>
              </c:tx>
              <c:showLegendKey val="0"/>
              <c:showVal val="1"/>
              <c:showCatName val="0"/>
              <c:showSerName val="0"/>
              <c:showPercent val="0"/>
              <c:showBubbleSize val="0"/>
            </c:dLbl>
            <c:dLbl>
              <c:idx val="1"/>
              <c:tx>
                <c:rich>
                  <a:bodyPr/>
                  <a:lstStyle/>
                  <a:p>
                    <a:pPr>
                      <a:defRPr sz="800">
                        <a:latin typeface="Nexa Book (Body)"/>
                      </a:defRPr>
                    </a:pPr>
                    <a:r>
                      <a:t>3</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3.829645</c:v>
                </c:pt>
                <c:pt idx="1">
                  <c:v>3.490185</c:v>
                </c:pt>
                <c:pt idx="2">
                  <c:v>0.300242</c:v>
                </c:pt>
                <c:pt idx="3">
                  <c:v>0.039218</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277285</c:v>
                </c:pt>
                <c:pt idx="1">
                  <c:v>0.277285</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a:t>
                    </a:r>
                  </a:p>
                </c:rich>
              </c:tx>
              <c:showLegendKey val="0"/>
              <c:showVal val="1"/>
              <c:showCatName val="0"/>
              <c:showSerName val="0"/>
              <c:showPercent val="0"/>
              <c:showBubbleSize val="0"/>
            </c:dLbl>
            <c:dLbl>
              <c:idx val="1"/>
              <c:tx>
                <c:rich>
                  <a:bodyPr/>
                  <a:lstStyle/>
                  <a:p>
                    <a:pPr>
                      <a:defRPr sz="800">
                        <a:latin typeface="Nexa Book (Body)"/>
                      </a:defRPr>
                    </a:pPr>
                    <a:r>
                      <a:t>2</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1.676462</c:v>
                </c:pt>
                <c:pt idx="1">
                  <c:v>1.554442</c:v>
                </c:pt>
                <c:pt idx="2">
                  <c:v>0.1061</c:v>
                </c:pt>
                <c:pt idx="3">
                  <c:v>0.01592</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156347</c:v>
                </c:pt>
                <c:pt idx="1">
                  <c:v>0.156347</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1.155874</c:v>
                </c:pt>
                <c:pt idx="1">
                  <c:v>1.052164</c:v>
                </c:pt>
                <c:pt idx="2">
                  <c:v>0.093056</c:v>
                </c:pt>
                <c:pt idx="3">
                  <c:v>0.01065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114538</c:v>
                </c:pt>
                <c:pt idx="1">
                  <c:v>0.114538</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496608</c:v>
                </c:pt>
                <c:pt idx="1">
                  <c:v>0.400577</c:v>
                </c:pt>
                <c:pt idx="2">
                  <c:v>0.091906</c:v>
                </c:pt>
                <c:pt idx="3">
                  <c:v>0.00412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029574</c:v>
                </c:pt>
                <c:pt idx="1">
                  <c:v>0.029574</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0</a:t>
                    </a:r>
                  </a:p>
                </c:rich>
              </c:tx>
              <c:showLegendKey val="0"/>
              <c:showVal val="1"/>
              <c:showCatName val="0"/>
              <c:showSerName val="0"/>
              <c:showPercent val="0"/>
              <c:showBubbleSize val="0"/>
            </c:dLbl>
            <c:dLbl>
              <c:idx val="1"/>
              <c:tx>
                <c:rich>
                  <a:bodyPr/>
                  <a:lstStyle/>
                  <a:p>
                    <a:pPr>
                      <a:defRPr sz="800">
                        <a:latin typeface="Nexa Book (Body)"/>
                      </a:defRPr>
                    </a:pPr>
                    <a:r>
                      <a:t>9</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9.738472</c:v>
                </c:pt>
                <c:pt idx="1">
                  <c:v>8.975073</c:v>
                </c:pt>
                <c:pt idx="2">
                  <c:v>0.663063</c:v>
                </c:pt>
                <c:pt idx="3">
                  <c:v>0.10033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846597</c:v>
                </c:pt>
                <c:pt idx="1">
                  <c:v>0.846597</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0</a:t>
                    </a:r>
                  </a:p>
                </c:rich>
              </c:tx>
              <c:showLegendKey val="0"/>
              <c:showVal val="1"/>
              <c:showCatName val="0"/>
              <c:showSerName val="0"/>
              <c:showPercent val="0"/>
              <c:showBubbleSize val="0"/>
            </c:dLbl>
            <c:dLbl>
              <c:idx val="1"/>
              <c:tx>
                <c:rich>
                  <a:bodyPr/>
                  <a:lstStyle/>
                  <a:p>
                    <a:pPr>
                      <a:defRPr sz="800">
                        <a:latin typeface="Nexa Book (Body)"/>
                      </a:defRPr>
                    </a:pPr>
                    <a:r>
                      <a:t>9</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9.738472</c:v>
                </c:pt>
                <c:pt idx="1">
                  <c:v>8.975073</c:v>
                </c:pt>
                <c:pt idx="2">
                  <c:v>0.663063</c:v>
                </c:pt>
                <c:pt idx="3">
                  <c:v>0.10033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0.846597</c:v>
                </c:pt>
                <c:pt idx="1">
                  <c:v>0.846597</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r>
                      <a:t>10</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11.035236</c:v>
                </c:pt>
                <c:pt idx="1">
                  <c:v>10.099565</c:v>
                </c:pt>
                <c:pt idx="2">
                  <c:v>0.83389</c:v>
                </c:pt>
                <c:pt idx="3">
                  <c:v>0.10178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Champagnes</c:v>
                </c:pt>
                <c:pt idx="2">
                  <c:v>Mousseux</c:v>
                </c:pt>
                <c:pt idx="3">
                  <c:v>Effervescents Sans Alcool</c:v>
                </c:pt>
              </c:strCache>
            </c:strRef>
          </c:cat>
          <c:val>
            <c:numRef>
              <c:f>Sheet1!$B$2:$B$5</c:f>
              <c:numCache>
                <c:formatCode>General</c:formatCode>
                <c:ptCount val="4"/>
                <c:pt idx="0">
                  <c:v>1.047473</c:v>
                </c:pt>
                <c:pt idx="1">
                  <c:v>1.047473</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9</a:t>
                    </a:r>
                  </a:p>
                </c:rich>
              </c:tx>
              <c:showLegendKey val="0"/>
              <c:showVal val="1"/>
              <c:showCatName val="0"/>
              <c:showSerName val="0"/>
              <c:showPercent val="0"/>
              <c:showBubbleSize val="0"/>
            </c:dLbl>
            <c:dLbl>
              <c:idx val="1"/>
              <c:tx>
                <c:rich>
                  <a:bodyPr/>
                  <a:lstStyle/>
                  <a:p>
                    <a:pPr>
                      <a:defRPr sz="800">
                        <a:latin typeface="Nexa Book (Body)"/>
                      </a:defRPr>
                    </a:pPr>
                    <a:r>
                      <a:t>19</a:t>
                    </a:r>
                  </a:p>
                </c:rich>
              </c:tx>
              <c:showLegendKey val="0"/>
              <c:showVal val="1"/>
              <c:showCatName val="0"/>
              <c:showSerName val="0"/>
              <c:showPercent val="0"/>
              <c:showBubbleSize val="0"/>
            </c:dLbl>
            <c:dLbl>
              <c:idx val="2"/>
              <c:tx>
                <c:rich>
                  <a:bodyPr/>
                  <a:lstStyle/>
                  <a:p>
                    <a:pPr>
                      <a:defRPr sz="800">
                        <a:latin typeface="Nexa Book (Body)"/>
                      </a:defRPr>
                    </a:pPr>
                    <a:r>
                      <a:t>3</a:t>
                    </a:r>
                  </a:p>
                </c:rich>
              </c:tx>
              <c:showLegendKey val="0"/>
              <c:showVal val="1"/>
              <c:showCatName val="0"/>
              <c:showSerName val="0"/>
              <c:showPercent val="0"/>
              <c:showBubbleSize val="0"/>
            </c:dLbl>
            <c:dLbl>
              <c:idx val="3"/>
              <c:tx>
                <c:rich>
                  <a:bodyPr/>
                  <a:lstStyle/>
                  <a:p>
                    <a:pPr>
                      <a:defRPr sz="800">
                        <a:latin typeface="Nexa Book (Body)"/>
                      </a:defRPr>
                    </a:pPr>
                    <a:r>
                      <a:t>2</a:t>
                    </a:r>
                  </a:p>
                </c:rich>
              </c:tx>
              <c:showLegendKey val="0"/>
              <c:showVal val="1"/>
              <c:showCatName val="0"/>
              <c:showSerName val="0"/>
              <c:showPercent val="0"/>
              <c:showBubbleSize val="0"/>
            </c:dLbl>
            <c:dLbl>
              <c:idx val="4"/>
              <c:tx>
                <c:rich>
                  <a:bodyPr/>
                  <a:lstStyle/>
                  <a:p>
                    <a:pPr>
                      <a:defRPr sz="800">
                        <a:latin typeface="Nexa Book (Body)"/>
                      </a:defRPr>
                    </a:pPr>
                    <a:r>
                      <a:t>1</a:t>
                    </a:r>
                  </a:p>
                </c:rich>
              </c:tx>
              <c:showLegendKey val="0"/>
              <c:showVal val="1"/>
              <c:showCatName val="0"/>
              <c:showSerName val="0"/>
              <c:showPercent val="0"/>
              <c:showBubbleSize val="0"/>
            </c:dLbl>
            <c:dLbl>
              <c:idx val="5"/>
              <c:tx>
                <c:rich>
                  <a:bodyPr/>
                  <a:lstStyle/>
                  <a:p>
                    <a:pPr>
                      <a:defRPr sz="800">
                        <a:latin typeface="Nexa Book (Body)"/>
                      </a:defRPr>
                    </a:pPr>
                    <a:r>
                      <a:t>1</a:t>
                    </a:r>
                  </a:p>
                </c:rich>
              </c:tx>
              <c:showLegendKey val="0"/>
              <c:showVal val="1"/>
              <c:showCatName val="0"/>
              <c:showSerName val="0"/>
              <c:showPercent val="0"/>
              <c:showBubbleSize val="0"/>
            </c:dLbl>
            <c:dLbl>
              <c:idx val="6"/>
              <c:tx>
                <c:rich>
                  <a:bodyPr/>
                  <a:lstStyle/>
                  <a:p>
                    <a:pPr>
                      <a:defRPr sz="800">
                        <a:latin typeface="Nexa Book (Body)"/>
                      </a:defRPr>
                    </a:pPr>
                    <a:r>
                      <a:t>1</a:t>
                    </a:r>
                  </a:p>
                </c:rich>
              </c:tx>
              <c:showLegendKey val="0"/>
              <c:showVal val="1"/>
              <c:showCatName val="0"/>
              <c:showSerName val="0"/>
              <c:showPercent val="0"/>
              <c:showBubbleSize val="0"/>
            </c:dLbl>
            <c:dLbl>
              <c:idx val="7"/>
              <c:tx>
                <c:rich>
                  <a:bodyPr/>
                  <a:lstStyle/>
                  <a:p>
                    <a:pPr>
                      <a:defRPr sz="800">
                        <a:latin typeface="Nexa Book (Body)"/>
                      </a:defRPr>
                    </a:pPr>
                    <a:r>
                      <a:t>1</a:t>
                    </a:r>
                  </a:p>
                </c:rich>
              </c:tx>
              <c:showLegendKey val="0"/>
              <c:showVal val="1"/>
              <c:showCatName val="0"/>
              <c:showSerName val="0"/>
              <c:showPercent val="0"/>
              <c:showBubbleSize val="0"/>
            </c:dLbl>
            <c:dLbl>
              <c:idx val="8"/>
              <c:tx>
                <c:rich>
                  <a:bodyPr/>
                  <a:lstStyle/>
                  <a:p>
                    <a:pPr>
                      <a:defRPr sz="800">
                        <a:latin typeface="Nexa Book (Body)"/>
                      </a:defRPr>
                    </a:pPr>
                    <a:r>
                      <a:t>1</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dLbl>
              <c:idx val="12"/>
              <c:tx>
                <c:rich>
                  <a:bodyPr/>
                  <a:lstStyle/>
                  <a:p>
                    <a:pPr>
                      <a:defRPr sz="800">
                        <a:latin typeface="Nexa Book (Body)"/>
                      </a:defRPr>
                    </a:pPr>
                    <a:r>
                      <a:t>0</a:t>
                    </a:r>
                  </a:p>
                </c:rich>
              </c:tx>
              <c:showLegendKey val="0"/>
              <c:showVal val="1"/>
              <c:showCatName val="0"/>
              <c:showSerName val="0"/>
              <c:showPercent val="0"/>
              <c:showBubbleSize val="0"/>
            </c:dLbl>
            <c:dLbl>
              <c:idx val="1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Effervescents Sans Alcool</c:v>
                </c:pt>
                <c:pt idx="10">
                  <c:v>Mousseux Bourgogne</c:v>
                </c:pt>
                <c:pt idx="11">
                  <c:v>Mousseux Alsace</c:v>
                </c:pt>
                <c:pt idx="12">
                  <c:v>Mousseux Autres</c:v>
                </c:pt>
                <c:pt idx="13">
                  <c:v>Blanc De Noirs</c:v>
                </c:pt>
              </c:strCache>
            </c:strRef>
          </c:cat>
          <c:val>
            <c:numRef>
              <c:f>Sheet1!$B$2:$B$15</c:f>
              <c:numCache>
                <c:formatCode>General</c:formatCode>
                <c:ptCount val="14"/>
                <c:pt idx="0">
                  <c:v>29.474685</c:v>
                </c:pt>
                <c:pt idx="1">
                  <c:v>18.780958</c:v>
                </c:pt>
                <c:pt idx="2">
                  <c:v>2.773327</c:v>
                </c:pt>
                <c:pt idx="3">
                  <c:v>1.811839</c:v>
                </c:pt>
                <c:pt idx="4">
                  <c:v>1.425828</c:v>
                </c:pt>
                <c:pt idx="5">
                  <c:v>1.059087</c:v>
                </c:pt>
                <c:pt idx="6">
                  <c:v>0.906339</c:v>
                </c:pt>
                <c:pt idx="7">
                  <c:v>0.835276</c:v>
                </c:pt>
                <c:pt idx="8">
                  <c:v>0.55944</c:v>
                </c:pt>
                <c:pt idx="9">
                  <c:v>0.331996</c:v>
                </c:pt>
                <c:pt idx="10">
                  <c:v>0.231659</c:v>
                </c:pt>
                <c:pt idx="11">
                  <c:v>0.212732</c:v>
                </c:pt>
                <c:pt idx="12">
                  <c:v>0.181678</c:v>
                </c:pt>
                <c:pt idx="13">
                  <c:v>0.16450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3</a:t>
                    </a:r>
                  </a:p>
                </c:rich>
              </c:tx>
              <c:showLegendKey val="0"/>
              <c:showVal val="1"/>
              <c:showCatName val="0"/>
              <c:showSerName val="0"/>
              <c:showPercent val="0"/>
              <c:showBubbleSize val="0"/>
            </c:dLbl>
            <c:dLbl>
              <c:idx val="1"/>
              <c:tx>
                <c:rich>
                  <a:bodyPr/>
                  <a:lstStyle/>
                  <a:p>
                    <a:pPr>
                      <a:defRPr sz="800">
                        <a:latin typeface="Nexa Book (Body)"/>
                      </a:defRPr>
                    </a:pPr>
                    <a:r>
                      <a:t>2</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dLbl>
              <c:idx val="12"/>
              <c:tx>
                <c:rich>
                  <a:bodyPr/>
                  <a:lstStyle/>
                  <a:p>
                    <a:pPr>
                      <a:defRPr sz="800">
                        <a:latin typeface="Nexa Book (Body)"/>
                      </a:defRPr>
                    </a:pPr>
                  </a:p>
                </c:rich>
              </c:tx>
              <c:showLegendKey val="0"/>
              <c:showVal val="1"/>
              <c:showCatName val="0"/>
              <c:showSerName val="0"/>
              <c:showPercent val="0"/>
              <c:showBubbleSize val="0"/>
            </c:dLbl>
            <c:dLbl>
              <c:idx val="1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Effervescents Sans Alcool</c:v>
                </c:pt>
                <c:pt idx="10">
                  <c:v>Mousseux Bourgogne</c:v>
                </c:pt>
                <c:pt idx="11">
                  <c:v>Mousseux Alsace</c:v>
                </c:pt>
                <c:pt idx="12">
                  <c:v>Mousseux Autres</c:v>
                </c:pt>
                <c:pt idx="13">
                  <c:v>Blanc De Noirs</c:v>
                </c:pt>
              </c:strCache>
            </c:strRef>
          </c:cat>
          <c:val>
            <c:numRef>
              <c:f>Sheet1!$B$2:$B$15</c:f>
              <c:numCache>
                <c:formatCode>General</c:formatCode>
                <c:ptCount val="14"/>
                <c:pt idx="0">
                  <c:v>2.507011</c:v>
                </c:pt>
                <c:pt idx="1">
                  <c:v>2.057383</c:v>
                </c:pt>
                <c:pt idx="2">
                  <c:v>0.222872</c:v>
                </c:pt>
                <c:pt idx="3">
                  <c:v>0.180357</c:v>
                </c:pt>
                <c:pt idx="4">
                  <c:v>0.0</c:v>
                </c:pt>
                <c:pt idx="5">
                  <c:v>0.0</c:v>
                </c:pt>
                <c:pt idx="6">
                  <c:v>0.0</c:v>
                </c:pt>
                <c:pt idx="7">
                  <c:v>0.0</c:v>
                </c:pt>
                <c:pt idx="8">
                  <c:v>0.0</c:v>
                </c:pt>
                <c:pt idx="9">
                  <c:v>0.0</c:v>
                </c:pt>
                <c:pt idx="10">
                  <c:v>0.0</c:v>
                </c:pt>
                <c:pt idx="11">
                  <c:v>0.0</c:v>
                </c:pt>
                <c:pt idx="12">
                  <c:v>0.0</c:v>
                </c:pt>
                <c:pt idx="1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a:t>
                    </a:r>
                  </a:p>
                </c:rich>
              </c:tx>
              <c:showLegendKey val="0"/>
              <c:showVal val="1"/>
              <c:showCatName val="0"/>
              <c:showSerName val="0"/>
              <c:showPercent val="0"/>
              <c:showBubbleSize val="0"/>
            </c:dLbl>
            <c:dLbl>
              <c:idx val="1"/>
              <c:tx>
                <c:rich>
                  <a:bodyPr/>
                  <a:lstStyle/>
                  <a:p>
                    <a:pPr>
                      <a:defRPr sz="800">
                        <a:latin typeface="Nexa Book (Body)"/>
                      </a:defRPr>
                    </a:pPr>
                    <a:r>
                      <a:t>2</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Bruts</c:v>
                </c:pt>
                <c:pt idx="2">
                  <c:v>Blanc De Blancs</c:v>
                </c:pt>
                <c:pt idx="3">
                  <c:v>Rosés</c:v>
                </c:pt>
                <c:pt idx="4">
                  <c:v>Millesimes</c:v>
                </c:pt>
                <c:pt idx="5">
                  <c:v>Crus</c:v>
                </c:pt>
                <c:pt idx="6">
                  <c:v>Extra Brut</c:v>
                </c:pt>
                <c:pt idx="7">
                  <c:v>Mousseux Italiens</c:v>
                </c:pt>
                <c:pt idx="8">
                  <c:v>Mousseux Val De Loire</c:v>
                </c:pt>
                <c:pt idx="9">
                  <c:v>Mousseux Autres</c:v>
                </c:pt>
                <c:pt idx="10">
                  <c:v>Effervescents Sans Alcool</c:v>
                </c:pt>
                <c:pt idx="11">
                  <c:v>Mousseux Bourgogne</c:v>
                </c:pt>
              </c:strCache>
            </c:strRef>
          </c:cat>
          <c:val>
            <c:numRef>
              <c:f>Sheet1!$B$2:$B$13</c:f>
              <c:numCache>
                <c:formatCode>General</c:formatCode>
                <c:ptCount val="12"/>
                <c:pt idx="0">
                  <c:v>2.581963</c:v>
                </c:pt>
                <c:pt idx="1">
                  <c:v>1.614541</c:v>
                </c:pt>
                <c:pt idx="2">
                  <c:v>0.382659</c:v>
                </c:pt>
                <c:pt idx="3">
                  <c:v>0.151881</c:v>
                </c:pt>
                <c:pt idx="4">
                  <c:v>0.092104</c:v>
                </c:pt>
                <c:pt idx="5">
                  <c:v>0.087594</c:v>
                </c:pt>
                <c:pt idx="6">
                  <c:v>0.066064</c:v>
                </c:pt>
                <c:pt idx="7">
                  <c:v>0.053932</c:v>
                </c:pt>
                <c:pt idx="8">
                  <c:v>0.038233</c:v>
                </c:pt>
                <c:pt idx="9">
                  <c:v>0.026314</c:v>
                </c:pt>
                <c:pt idx="10">
                  <c:v>0.020266</c:v>
                </c:pt>
                <c:pt idx="11">
                  <c:v>0.01523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Bruts</c:v>
                </c:pt>
                <c:pt idx="2">
                  <c:v>Blanc De Blancs</c:v>
                </c:pt>
                <c:pt idx="3">
                  <c:v>Rosés</c:v>
                </c:pt>
                <c:pt idx="4">
                  <c:v>Millesimes</c:v>
                </c:pt>
                <c:pt idx="5">
                  <c:v>Crus</c:v>
                </c:pt>
                <c:pt idx="6">
                  <c:v>Extra Brut</c:v>
                </c:pt>
                <c:pt idx="7">
                  <c:v>Mousseux Italiens</c:v>
                </c:pt>
                <c:pt idx="8">
                  <c:v>Mousseux Val De Loire</c:v>
                </c:pt>
                <c:pt idx="9">
                  <c:v>Mousseux Autres</c:v>
                </c:pt>
                <c:pt idx="10">
                  <c:v>Effervescents Sans Alcool</c:v>
                </c:pt>
                <c:pt idx="11">
                  <c:v>Mousseux Bourgogne</c:v>
                </c:pt>
              </c:strCache>
            </c:strRef>
          </c:cat>
          <c:val>
            <c:numRef>
              <c:f>Sheet1!$B$2:$B$13</c:f>
              <c:numCache>
                <c:formatCode>General</c:formatCode>
                <c:ptCount val="12"/>
                <c:pt idx="0">
                  <c:v>0.256527</c:v>
                </c:pt>
                <c:pt idx="1">
                  <c:v>0.209949</c:v>
                </c:pt>
                <c:pt idx="2">
                  <c:v>0.026813</c:v>
                </c:pt>
                <c:pt idx="3">
                  <c:v>0.015087</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3</a:t>
                    </a:r>
                  </a:p>
                </c:rich>
              </c:tx>
              <c:showLegendKey val="0"/>
              <c:showVal val="1"/>
              <c:showCatName val="0"/>
              <c:showSerName val="0"/>
              <c:showPercent val="0"/>
              <c:showBubbleSize val="0"/>
            </c:dLbl>
            <c:dLbl>
              <c:idx val="1"/>
              <c:tx>
                <c:rich>
                  <a:bodyPr/>
                  <a:lstStyle/>
                  <a:p>
                    <a:pPr>
                      <a:defRPr sz="800">
                        <a:latin typeface="Nexa Book (Body)"/>
                      </a:defRPr>
                    </a:pPr>
                    <a:r>
                      <a:t>2</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Bruts</c:v>
                </c:pt>
                <c:pt idx="2">
                  <c:v>Blanc De Blancs</c:v>
                </c:pt>
                <c:pt idx="3">
                  <c:v>Rosés</c:v>
                </c:pt>
                <c:pt idx="4">
                  <c:v>Millesimes</c:v>
                </c:pt>
                <c:pt idx="5">
                  <c:v>Crus</c:v>
                </c:pt>
                <c:pt idx="6">
                  <c:v>Extra Brut</c:v>
                </c:pt>
                <c:pt idx="7">
                  <c:v>Mousseux Italiens</c:v>
                </c:pt>
                <c:pt idx="8">
                  <c:v>Mousseux Val De Loire</c:v>
                </c:pt>
                <c:pt idx="9">
                  <c:v>Mousseux Autres</c:v>
                </c:pt>
                <c:pt idx="10">
                  <c:v>Effervescents Sans Alcool</c:v>
                </c:pt>
                <c:pt idx="11">
                  <c:v>Mousseux Bourgogne</c:v>
                </c:pt>
              </c:strCache>
            </c:strRef>
          </c:cat>
          <c:val>
            <c:numRef>
              <c:f>Sheet1!$B$2:$B$13</c:f>
              <c:numCache>
                <c:formatCode>General</c:formatCode>
                <c:ptCount val="12"/>
                <c:pt idx="0">
                  <c:v>2.581963</c:v>
                </c:pt>
                <c:pt idx="1">
                  <c:v>1.614541</c:v>
                </c:pt>
                <c:pt idx="2">
                  <c:v>0.382659</c:v>
                </c:pt>
                <c:pt idx="3">
                  <c:v>0.151881</c:v>
                </c:pt>
                <c:pt idx="4">
                  <c:v>0.092104</c:v>
                </c:pt>
                <c:pt idx="5">
                  <c:v>0.087594</c:v>
                </c:pt>
                <c:pt idx="6">
                  <c:v>0.066064</c:v>
                </c:pt>
                <c:pt idx="7">
                  <c:v>0.053932</c:v>
                </c:pt>
                <c:pt idx="8">
                  <c:v>0.038233</c:v>
                </c:pt>
                <c:pt idx="9">
                  <c:v>0.026314</c:v>
                </c:pt>
                <c:pt idx="10">
                  <c:v>0.020266</c:v>
                </c:pt>
                <c:pt idx="11">
                  <c:v>0.015233</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Bruts</c:v>
                </c:pt>
                <c:pt idx="2">
                  <c:v>Blanc De Blancs</c:v>
                </c:pt>
                <c:pt idx="3">
                  <c:v>Rosés</c:v>
                </c:pt>
                <c:pt idx="4">
                  <c:v>Millesimes</c:v>
                </c:pt>
                <c:pt idx="5">
                  <c:v>Crus</c:v>
                </c:pt>
                <c:pt idx="6">
                  <c:v>Extra Brut</c:v>
                </c:pt>
                <c:pt idx="7">
                  <c:v>Mousseux Italiens</c:v>
                </c:pt>
                <c:pt idx="8">
                  <c:v>Mousseux Val De Loire</c:v>
                </c:pt>
                <c:pt idx="9">
                  <c:v>Mousseux Autres</c:v>
                </c:pt>
                <c:pt idx="10">
                  <c:v>Effervescents Sans Alcool</c:v>
                </c:pt>
                <c:pt idx="11">
                  <c:v>Mousseux Bourgogne</c:v>
                </c:pt>
              </c:strCache>
            </c:strRef>
          </c:cat>
          <c:val>
            <c:numRef>
              <c:f>Sheet1!$B$2:$B$13</c:f>
              <c:numCache>
                <c:formatCode>General</c:formatCode>
                <c:ptCount val="12"/>
                <c:pt idx="0">
                  <c:v>0.256527</c:v>
                </c:pt>
                <c:pt idx="1">
                  <c:v>0.209949</c:v>
                </c:pt>
                <c:pt idx="2">
                  <c:v>0.026813</c:v>
                </c:pt>
                <c:pt idx="3">
                  <c:v>0.015087</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4</a:t>
                    </a:r>
                  </a:p>
                </c:rich>
              </c:tx>
              <c:showLegendKey val="0"/>
              <c:showVal val="1"/>
              <c:showCatName val="0"/>
              <c:showSerName val="0"/>
              <c:showPercent val="0"/>
              <c:showBubbleSize val="0"/>
            </c:dLbl>
            <c:dLbl>
              <c:idx val="1"/>
              <c:tx>
                <c:rich>
                  <a:bodyPr/>
                  <a:lstStyle/>
                  <a:p>
                    <a:pPr>
                      <a:defRPr sz="800">
                        <a:latin typeface="Nexa Book (Body)"/>
                      </a:defRPr>
                    </a:pPr>
                    <a:r>
                      <a:t>2</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dLbl>
              <c:idx val="12"/>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c:v>
                </c:pt>
                <c:pt idx="1">
                  <c:v>Bruts</c:v>
                </c:pt>
                <c:pt idx="2">
                  <c:v>Blanc De Blancs</c:v>
                </c:pt>
                <c:pt idx="3">
                  <c:v>Rosés</c:v>
                </c:pt>
                <c:pt idx="4">
                  <c:v>Millesimes</c:v>
                </c:pt>
                <c:pt idx="5">
                  <c:v>Crus</c:v>
                </c:pt>
                <c:pt idx="6">
                  <c:v>Mousseux Italiens</c:v>
                </c:pt>
                <c:pt idx="7">
                  <c:v>Extra Brut</c:v>
                </c:pt>
                <c:pt idx="8">
                  <c:v>Mousseux Autres</c:v>
                </c:pt>
                <c:pt idx="9">
                  <c:v>Effervescents Sans Alcool</c:v>
                </c:pt>
                <c:pt idx="10">
                  <c:v>Mousseux Bourgogne</c:v>
                </c:pt>
                <c:pt idx="11">
                  <c:v>Mousseux Val De Loire</c:v>
                </c:pt>
                <c:pt idx="12">
                  <c:v>Blanc De Noirs</c:v>
                </c:pt>
              </c:strCache>
            </c:strRef>
          </c:cat>
          <c:val>
            <c:numRef>
              <c:f>Sheet1!$B$2:$B$14</c:f>
              <c:numCache>
                <c:formatCode>General</c:formatCode>
                <c:ptCount val="13"/>
                <c:pt idx="0">
                  <c:v>3.829645</c:v>
                </c:pt>
                <c:pt idx="1">
                  <c:v>2.362997</c:v>
                </c:pt>
                <c:pt idx="2">
                  <c:v>0.43951</c:v>
                </c:pt>
                <c:pt idx="3">
                  <c:v>0.239411</c:v>
                </c:pt>
                <c:pt idx="4">
                  <c:v>0.152485</c:v>
                </c:pt>
                <c:pt idx="5">
                  <c:v>0.143268</c:v>
                </c:pt>
                <c:pt idx="6">
                  <c:v>0.129346</c:v>
                </c:pt>
                <c:pt idx="7">
                  <c:v>0.105193</c:v>
                </c:pt>
                <c:pt idx="8">
                  <c:v>0.091519</c:v>
                </c:pt>
                <c:pt idx="9">
                  <c:v>0.039218</c:v>
                </c:pt>
                <c:pt idx="10">
                  <c:v>0.033731</c:v>
                </c:pt>
                <c:pt idx="11">
                  <c:v>0.028752</c:v>
                </c:pt>
                <c:pt idx="12">
                  <c:v>0.019697</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dLbl>
              <c:idx val="12"/>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c:v>
                </c:pt>
                <c:pt idx="1">
                  <c:v>Bruts</c:v>
                </c:pt>
                <c:pt idx="2">
                  <c:v>Blanc De Blancs</c:v>
                </c:pt>
                <c:pt idx="3">
                  <c:v>Rosés</c:v>
                </c:pt>
                <c:pt idx="4">
                  <c:v>Millesimes</c:v>
                </c:pt>
                <c:pt idx="5">
                  <c:v>Crus</c:v>
                </c:pt>
                <c:pt idx="6">
                  <c:v>Mousseux Italiens</c:v>
                </c:pt>
                <c:pt idx="7">
                  <c:v>Extra Brut</c:v>
                </c:pt>
                <c:pt idx="8">
                  <c:v>Mousseux Autres</c:v>
                </c:pt>
                <c:pt idx="9">
                  <c:v>Effervescents Sans Alcool</c:v>
                </c:pt>
                <c:pt idx="10">
                  <c:v>Mousseux Bourgogne</c:v>
                </c:pt>
                <c:pt idx="11">
                  <c:v>Mousseux Val De Loire</c:v>
                </c:pt>
                <c:pt idx="12">
                  <c:v>Blanc De Noirs</c:v>
                </c:pt>
              </c:strCache>
            </c:strRef>
          </c:cat>
          <c:val>
            <c:numRef>
              <c:f>Sheet1!$B$2:$B$14</c:f>
              <c:numCache>
                <c:formatCode>General</c:formatCode>
                <c:ptCount val="13"/>
                <c:pt idx="0">
                  <c:v>0.277285</c:v>
                </c:pt>
                <c:pt idx="1">
                  <c:v>0.218187</c:v>
                </c:pt>
                <c:pt idx="2">
                  <c:v>0.025094</c:v>
                </c:pt>
                <c:pt idx="3">
                  <c:v>0.026507</c:v>
                </c:pt>
                <c:pt idx="4">
                  <c:v>0.0</c:v>
                </c:pt>
                <c:pt idx="5">
                  <c:v>0.0</c:v>
                </c:pt>
                <c:pt idx="6">
                  <c:v>0.0</c:v>
                </c:pt>
                <c:pt idx="7">
                  <c:v>0.0</c:v>
                </c:pt>
                <c:pt idx="8">
                  <c:v>0.0</c:v>
                </c:pt>
                <c:pt idx="9">
                  <c:v>0.0</c:v>
                </c:pt>
                <c:pt idx="10">
                  <c:v>0.0</c:v>
                </c:pt>
                <c:pt idx="11">
                  <c:v>0.0</c:v>
                </c:pt>
                <c:pt idx="12">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dLbl>
              <c:idx val="12"/>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c:v>
                </c:pt>
                <c:pt idx="1">
                  <c:v>Bruts</c:v>
                </c:pt>
                <c:pt idx="2">
                  <c:v>Blanc De Blancs</c:v>
                </c:pt>
                <c:pt idx="3">
                  <c:v>Rosés</c:v>
                </c:pt>
                <c:pt idx="4">
                  <c:v>Crus</c:v>
                </c:pt>
                <c:pt idx="5">
                  <c:v>Millesimes</c:v>
                </c:pt>
                <c:pt idx="6">
                  <c:v>Extra Brut</c:v>
                </c:pt>
                <c:pt idx="7">
                  <c:v>Mousseux Italiens</c:v>
                </c:pt>
                <c:pt idx="8">
                  <c:v>Mousseux Autres</c:v>
                </c:pt>
                <c:pt idx="9">
                  <c:v>Mousseux Val De Loire</c:v>
                </c:pt>
                <c:pt idx="10">
                  <c:v>Effervescents Sans Alcool</c:v>
                </c:pt>
                <c:pt idx="11">
                  <c:v>Mousseux Bourgogne</c:v>
                </c:pt>
                <c:pt idx="12">
                  <c:v>Blanc De Noirs</c:v>
                </c:pt>
              </c:strCache>
            </c:strRef>
          </c:cat>
          <c:val>
            <c:numRef>
              <c:f>Sheet1!$B$2:$B$14</c:f>
              <c:numCache>
                <c:formatCode>General</c:formatCode>
                <c:ptCount val="13"/>
                <c:pt idx="0">
                  <c:v>1.676462</c:v>
                </c:pt>
                <c:pt idx="1">
                  <c:v>1.080219</c:v>
                </c:pt>
                <c:pt idx="2">
                  <c:v>0.181793</c:v>
                </c:pt>
                <c:pt idx="3">
                  <c:v>0.096852</c:v>
                </c:pt>
                <c:pt idx="4">
                  <c:v>0.072617</c:v>
                </c:pt>
                <c:pt idx="5">
                  <c:v>0.055163</c:v>
                </c:pt>
                <c:pt idx="6">
                  <c:v>0.049804</c:v>
                </c:pt>
                <c:pt idx="7">
                  <c:v>0.035992</c:v>
                </c:pt>
                <c:pt idx="8">
                  <c:v>0.03115</c:v>
                </c:pt>
                <c:pt idx="9">
                  <c:v>0.021201</c:v>
                </c:pt>
                <c:pt idx="10">
                  <c:v>0.01592</c:v>
                </c:pt>
                <c:pt idx="11">
                  <c:v>0.010317</c:v>
                </c:pt>
                <c:pt idx="12">
                  <c:v>0.010437</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3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dLbl>
              <c:idx val="12"/>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c:v>
                </c:pt>
                <c:pt idx="1">
                  <c:v>Bruts</c:v>
                </c:pt>
                <c:pt idx="2">
                  <c:v>Blanc De Blancs</c:v>
                </c:pt>
                <c:pt idx="3">
                  <c:v>Rosés</c:v>
                </c:pt>
                <c:pt idx="4">
                  <c:v>Crus</c:v>
                </c:pt>
                <c:pt idx="5">
                  <c:v>Millesimes</c:v>
                </c:pt>
                <c:pt idx="6">
                  <c:v>Extra Brut</c:v>
                </c:pt>
                <c:pt idx="7">
                  <c:v>Mousseux Italiens</c:v>
                </c:pt>
                <c:pt idx="8">
                  <c:v>Mousseux Autres</c:v>
                </c:pt>
                <c:pt idx="9">
                  <c:v>Mousseux Val De Loire</c:v>
                </c:pt>
                <c:pt idx="10">
                  <c:v>Effervescents Sans Alcool</c:v>
                </c:pt>
                <c:pt idx="11">
                  <c:v>Mousseux Bourgogne</c:v>
                </c:pt>
                <c:pt idx="12">
                  <c:v>Blanc De Noirs</c:v>
                </c:pt>
              </c:strCache>
            </c:strRef>
          </c:cat>
          <c:val>
            <c:numRef>
              <c:f>Sheet1!$B$2:$B$14</c:f>
              <c:numCache>
                <c:formatCode>General</c:formatCode>
                <c:ptCount val="13"/>
                <c:pt idx="0">
                  <c:v>0.156347</c:v>
                </c:pt>
                <c:pt idx="1">
                  <c:v>0.12994</c:v>
                </c:pt>
                <c:pt idx="2">
                  <c:v>0.013333</c:v>
                </c:pt>
                <c:pt idx="3">
                  <c:v>0.010056</c:v>
                </c:pt>
                <c:pt idx="4">
                  <c:v>0.0</c:v>
                </c:pt>
                <c:pt idx="5">
                  <c:v>0.0</c:v>
                </c:pt>
                <c:pt idx="6">
                  <c:v>0.0</c:v>
                </c:pt>
                <c:pt idx="7">
                  <c:v>0.0</c:v>
                </c:pt>
                <c:pt idx="8">
                  <c:v>0.0</c:v>
                </c:pt>
                <c:pt idx="9">
                  <c:v>0.0</c:v>
                </c:pt>
                <c:pt idx="10">
                  <c:v>0.0</c:v>
                </c:pt>
                <c:pt idx="11">
                  <c:v>0.0</c:v>
                </c:pt>
                <c:pt idx="12">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dLbl>
              <c:idx val="12"/>
              <c:tx>
                <c:rich>
                  <a:bodyPr/>
                  <a:lstStyle/>
                  <a:p>
                    <a:pPr>
                      <a:defRPr sz="800">
                        <a:latin typeface="Nexa Book (Body)"/>
                      </a:defRPr>
                    </a:pPr>
                    <a:r>
                      <a:t>0</a:t>
                    </a:r>
                  </a:p>
                </c:rich>
              </c:tx>
              <c:showLegendKey val="0"/>
              <c:showVal val="1"/>
              <c:showCatName val="0"/>
              <c:showSerName val="0"/>
              <c:showPercent val="0"/>
              <c:showBubbleSize val="0"/>
            </c:dLbl>
            <c:dLbl>
              <c:idx val="1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strCache>
            </c:strRef>
          </c:cat>
          <c:val>
            <c:numRef>
              <c:f>Sheet1!$B$2:$B$15</c:f>
              <c:numCache>
                <c:formatCode>General</c:formatCode>
                <c:ptCount val="14"/>
                <c:pt idx="0">
                  <c:v>0.830018</c:v>
                </c:pt>
                <c:pt idx="1">
                  <c:v>0.501752</c:v>
                </c:pt>
                <c:pt idx="2">
                  <c:v>0.074187</c:v>
                </c:pt>
                <c:pt idx="3">
                  <c:v>0.055084</c:v>
                </c:pt>
                <c:pt idx="4">
                  <c:v>0.048164</c:v>
                </c:pt>
                <c:pt idx="5">
                  <c:v>0.044133</c:v>
                </c:pt>
                <c:pt idx="6">
                  <c:v>0.023143</c:v>
                </c:pt>
                <c:pt idx="7">
                  <c:v>0.020733</c:v>
                </c:pt>
                <c:pt idx="8">
                  <c:v>0.015685</c:v>
                </c:pt>
                <c:pt idx="9">
                  <c:v>0.012084</c:v>
                </c:pt>
                <c:pt idx="10">
                  <c:v>0.00902</c:v>
                </c:pt>
                <c:pt idx="11">
                  <c:v>0.008174</c:v>
                </c:pt>
                <c:pt idx="12">
                  <c:v>0.006467</c:v>
                </c:pt>
                <c:pt idx="13">
                  <c:v>0.006029</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dLbl>
              <c:idx val="12"/>
              <c:tx>
                <c:rich>
                  <a:bodyPr/>
                  <a:lstStyle/>
                  <a:p>
                    <a:pPr>
                      <a:defRPr sz="800">
                        <a:latin typeface="Nexa Book (Body)"/>
                      </a:defRPr>
                    </a:pPr>
                  </a:p>
                </c:rich>
              </c:tx>
              <c:showLegendKey val="0"/>
              <c:showVal val="1"/>
              <c:showCatName val="0"/>
              <c:showSerName val="0"/>
              <c:showPercent val="0"/>
              <c:showBubbleSize val="0"/>
            </c:dLbl>
            <c:dLbl>
              <c:idx val="1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Crus</c:v>
                </c:pt>
                <c:pt idx="4">
                  <c:v>Mousseux Val De Loire</c:v>
                </c:pt>
                <c:pt idx="5">
                  <c:v>Rosés</c:v>
                </c:pt>
                <c:pt idx="6">
                  <c:v>Mousseux Italiens</c:v>
                </c:pt>
                <c:pt idx="7">
                  <c:v>Extra Brut</c:v>
                </c:pt>
                <c:pt idx="8">
                  <c:v>Millesimes</c:v>
                </c:pt>
                <c:pt idx="9">
                  <c:v>Mousseux Bourgogne</c:v>
                </c:pt>
                <c:pt idx="10">
                  <c:v>Mousseux Autres</c:v>
                </c:pt>
                <c:pt idx="11">
                  <c:v>Effervescents Sans Alcool</c:v>
                </c:pt>
                <c:pt idx="12">
                  <c:v>Mousseux Alsace</c:v>
                </c:pt>
                <c:pt idx="13">
                  <c:v>Blanc De Noirs</c:v>
                </c:pt>
              </c:strCache>
            </c:strRef>
          </c:cat>
          <c:val>
            <c:numRef>
              <c:f>Sheet1!$B$2:$B$15</c:f>
              <c:numCache>
                <c:formatCode>General</c:formatCode>
                <c:ptCount val="14"/>
                <c:pt idx="0">
                  <c:v>0.083561</c:v>
                </c:pt>
                <c:pt idx="1">
                  <c:v>0.071619</c:v>
                </c:pt>
                <c:pt idx="2">
                  <c:v>0.0</c:v>
                </c:pt>
                <c:pt idx="3">
                  <c:v>0.0</c:v>
                </c:pt>
                <c:pt idx="4">
                  <c:v>0.0</c:v>
                </c:pt>
                <c:pt idx="5">
                  <c:v>0.005111</c:v>
                </c:pt>
                <c:pt idx="6">
                  <c:v>0.0</c:v>
                </c:pt>
                <c:pt idx="7">
                  <c:v>0.0</c:v>
                </c:pt>
                <c:pt idx="8">
                  <c:v>0.0</c:v>
                </c:pt>
                <c:pt idx="9">
                  <c:v>0.0</c:v>
                </c:pt>
                <c:pt idx="10">
                  <c:v>0.0</c:v>
                </c:pt>
                <c:pt idx="11">
                  <c:v>0.0</c:v>
                </c:pt>
                <c:pt idx="12">
                  <c:v>0.0</c:v>
                </c:pt>
                <c:pt idx="1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Bruts</c:v>
                </c:pt>
                <c:pt idx="2">
                  <c:v>Blanc De Blancs</c:v>
                </c:pt>
                <c:pt idx="3">
                  <c:v>Mousseux Val De Loire</c:v>
                </c:pt>
                <c:pt idx="4">
                  <c:v>Crus</c:v>
                </c:pt>
                <c:pt idx="5">
                  <c:v>Rosés</c:v>
                </c:pt>
                <c:pt idx="6">
                  <c:v>Millesimes</c:v>
                </c:pt>
                <c:pt idx="7">
                  <c:v>Mousseux Italiens</c:v>
                </c:pt>
                <c:pt idx="8">
                  <c:v>Extra Brut</c:v>
                </c:pt>
                <c:pt idx="9">
                  <c:v>Effervescents Sans Alcool</c:v>
                </c:pt>
                <c:pt idx="10">
                  <c:v>Mousseux Autres</c:v>
                </c:pt>
                <c:pt idx="11">
                  <c:v>Mousseux Bourgogne</c:v>
                </c:pt>
              </c:strCache>
            </c:strRef>
          </c:cat>
          <c:val>
            <c:numRef>
              <c:f>Sheet1!$B$2:$B$13</c:f>
              <c:numCache>
                <c:formatCode>General</c:formatCode>
                <c:ptCount val="12"/>
                <c:pt idx="0">
                  <c:v>0.79364</c:v>
                </c:pt>
                <c:pt idx="1">
                  <c:v>0.492101</c:v>
                </c:pt>
                <c:pt idx="2">
                  <c:v>0.073989</c:v>
                </c:pt>
                <c:pt idx="3">
                  <c:v>0.067389</c:v>
                </c:pt>
                <c:pt idx="4">
                  <c:v>0.041178</c:v>
                </c:pt>
                <c:pt idx="5">
                  <c:v>0.035762</c:v>
                </c:pt>
                <c:pt idx="6">
                  <c:v>0.020586</c:v>
                </c:pt>
                <c:pt idx="7">
                  <c:v>0.016579</c:v>
                </c:pt>
                <c:pt idx="8">
                  <c:v>0.015729</c:v>
                </c:pt>
                <c:pt idx="9">
                  <c:v>0.008444</c:v>
                </c:pt>
                <c:pt idx="10">
                  <c:v>0.005048</c:v>
                </c:pt>
                <c:pt idx="11">
                  <c:v>0.004617</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0</a:t>
                    </a:r>
                  </a:p>
                </c:rich>
              </c:tx>
              <c:showLegendKey val="0"/>
              <c:showVal val="1"/>
              <c:showCatName val="0"/>
              <c:showSerName val="0"/>
              <c:showPercent val="0"/>
              <c:showBubbleSize val="0"/>
            </c:dLbl>
            <c:dLbl>
              <c:idx val="1"/>
              <c:tx>
                <c:rich>
                  <a:bodyPr/>
                  <a:lstStyle/>
                  <a:p>
                    <a:pPr>
                      <a:defRPr sz="800">
                        <a:latin typeface="Nexa Book (Body)"/>
                      </a:defRPr>
                    </a:pPr>
                    <a:r>
                      <a:t>0</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3</c:f>
              <c:strCache>
                <c:ptCount val="12"/>
                <c:pt idx="0">
                  <c:v>Grand</c:v>
                </c:pt>
                <c:pt idx="1">
                  <c:v>Bruts</c:v>
                </c:pt>
                <c:pt idx="2">
                  <c:v>Blanc De Blancs</c:v>
                </c:pt>
                <c:pt idx="3">
                  <c:v>Mousseux Val De Loire</c:v>
                </c:pt>
                <c:pt idx="4">
                  <c:v>Crus</c:v>
                </c:pt>
                <c:pt idx="5">
                  <c:v>Rosés</c:v>
                </c:pt>
                <c:pt idx="6">
                  <c:v>Millesimes</c:v>
                </c:pt>
                <c:pt idx="7">
                  <c:v>Mousseux Italiens</c:v>
                </c:pt>
                <c:pt idx="8">
                  <c:v>Extra Brut</c:v>
                </c:pt>
                <c:pt idx="9">
                  <c:v>Effervescents Sans Alcool</c:v>
                </c:pt>
                <c:pt idx="10">
                  <c:v>Mousseux Autres</c:v>
                </c:pt>
                <c:pt idx="11">
                  <c:v>Mousseux Bourgogne</c:v>
                </c:pt>
              </c:strCache>
            </c:strRef>
          </c:cat>
          <c:val>
            <c:numRef>
              <c:f>Sheet1!$B$2:$B$13</c:f>
              <c:numCache>
                <c:formatCode>General</c:formatCode>
                <c:ptCount val="12"/>
                <c:pt idx="0">
                  <c:v>0.055617</c:v>
                </c:pt>
                <c:pt idx="1">
                  <c:v>0.045708</c:v>
                </c:pt>
                <c:pt idx="2">
                  <c:v>0.005559</c:v>
                </c:pt>
                <c:pt idx="3">
                  <c:v>0.0</c:v>
                </c:pt>
                <c:pt idx="4">
                  <c:v>0.0</c:v>
                </c:pt>
                <c:pt idx="5">
                  <c:v>0.0</c:v>
                </c:pt>
                <c:pt idx="6">
                  <c:v>0.0</c:v>
                </c:pt>
                <c:pt idx="7">
                  <c:v>0.0</c:v>
                </c:pt>
                <c:pt idx="8">
                  <c:v>0.0</c:v>
                </c:pt>
                <c:pt idx="9">
                  <c:v>0.0</c:v>
                </c:pt>
                <c:pt idx="10">
                  <c:v>0.0</c:v>
                </c:pt>
                <c:pt idx="11">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0</a:t>
                    </a:r>
                  </a:p>
                </c:rich>
              </c:tx>
              <c:showLegendKey val="0"/>
              <c:showVal val="1"/>
              <c:showCatName val="0"/>
              <c:showSerName val="0"/>
              <c:showPercent val="0"/>
              <c:showBubbleSize val="0"/>
            </c:dLbl>
            <c:dLbl>
              <c:idx val="1"/>
              <c:tx>
                <c:rich>
                  <a:bodyPr/>
                  <a:lstStyle/>
                  <a:p>
                    <a:pPr>
                      <a:defRPr sz="800">
                        <a:latin typeface="Nexa Book (Body)"/>
                      </a:defRPr>
                    </a:pPr>
                    <a:r>
                      <a:t>6</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dLbl>
              <c:idx val="4"/>
              <c:tx>
                <c:rich>
                  <a:bodyPr/>
                  <a:lstStyle/>
                  <a:p>
                    <a:pPr>
                      <a:defRPr sz="800">
                        <a:latin typeface="Nexa Book (Body)"/>
                      </a:defRPr>
                    </a:pPr>
                    <a:r>
                      <a:t>0</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dLbl>
              <c:idx val="12"/>
              <c:tx>
                <c:rich>
                  <a:bodyPr/>
                  <a:lstStyle/>
                  <a:p>
                    <a:pPr>
                      <a:defRPr sz="800">
                        <a:latin typeface="Nexa Book (Body)"/>
                      </a:defRPr>
                    </a:pPr>
                    <a:r>
                      <a:t>0</a:t>
                    </a:r>
                  </a:p>
                </c:rich>
              </c:tx>
              <c:showLegendKey val="0"/>
              <c:showVal val="1"/>
              <c:showCatName val="0"/>
              <c:showSerName val="0"/>
              <c:showPercent val="0"/>
              <c:showBubbleSize val="0"/>
            </c:dLbl>
            <c:dLbl>
              <c:idx val="1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Effervescents Sans Alcool</c:v>
                </c:pt>
                <c:pt idx="10">
                  <c:v>Mousseux Alsace</c:v>
                </c:pt>
                <c:pt idx="11">
                  <c:v>Mousseux Bourgogne</c:v>
                </c:pt>
                <c:pt idx="12">
                  <c:v>Mousseux Autres</c:v>
                </c:pt>
                <c:pt idx="13">
                  <c:v>Blanc De Noirs</c:v>
                </c:pt>
              </c:strCache>
            </c:strRef>
          </c:cat>
          <c:val>
            <c:numRef>
              <c:f>Sheet1!$B$2:$B$15</c:f>
              <c:numCache>
                <c:formatCode>General</c:formatCode>
                <c:ptCount val="14"/>
                <c:pt idx="0">
                  <c:v>9.738472</c:v>
                </c:pt>
                <c:pt idx="1">
                  <c:v>6.21124</c:v>
                </c:pt>
                <c:pt idx="2">
                  <c:v>0.997983</c:v>
                </c:pt>
                <c:pt idx="3">
                  <c:v>0.559229</c:v>
                </c:pt>
                <c:pt idx="4">
                  <c:v>0.424541</c:v>
                </c:pt>
                <c:pt idx="5">
                  <c:v>0.339868</c:v>
                </c:pt>
                <c:pt idx="6">
                  <c:v>0.327341</c:v>
                </c:pt>
                <c:pt idx="7">
                  <c:v>0.236389</c:v>
                </c:pt>
                <c:pt idx="8">
                  <c:v>0.181315</c:v>
                </c:pt>
                <c:pt idx="9">
                  <c:v>0.100336</c:v>
                </c:pt>
                <c:pt idx="10">
                  <c:v>0.098554</c:v>
                </c:pt>
                <c:pt idx="11">
                  <c:v>0.074724</c:v>
                </c:pt>
                <c:pt idx="12">
                  <c:v>0.061043</c:v>
                </c:pt>
                <c:pt idx="13">
                  <c:v>0.05217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dLbl>
              <c:idx val="12"/>
              <c:tx>
                <c:rich>
                  <a:bodyPr/>
                  <a:lstStyle/>
                  <a:p>
                    <a:pPr>
                      <a:defRPr sz="800">
                        <a:latin typeface="Nexa Book (Body)"/>
                      </a:defRPr>
                    </a:pPr>
                  </a:p>
                </c:rich>
              </c:tx>
              <c:showLegendKey val="0"/>
              <c:showVal val="1"/>
              <c:showCatName val="0"/>
              <c:showSerName val="0"/>
              <c:showPercent val="0"/>
              <c:showBubbleSize val="0"/>
            </c:dLbl>
            <c:dLbl>
              <c:idx val="1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Effervescents Sans Alcool</c:v>
                </c:pt>
                <c:pt idx="10">
                  <c:v>Mousseux Alsace</c:v>
                </c:pt>
                <c:pt idx="11">
                  <c:v>Mousseux Bourgogne</c:v>
                </c:pt>
                <c:pt idx="12">
                  <c:v>Mousseux Autres</c:v>
                </c:pt>
                <c:pt idx="13">
                  <c:v>Blanc De Noirs</c:v>
                </c:pt>
              </c:strCache>
            </c:strRef>
          </c:cat>
          <c:val>
            <c:numRef>
              <c:f>Sheet1!$B$2:$B$15</c:f>
              <c:numCache>
                <c:formatCode>General</c:formatCode>
                <c:ptCount val="14"/>
                <c:pt idx="0">
                  <c:v>0.846597</c:v>
                </c:pt>
                <c:pt idx="1">
                  <c:v>0.7024</c:v>
                </c:pt>
                <c:pt idx="2">
                  <c:v>0.070695</c:v>
                </c:pt>
                <c:pt idx="3">
                  <c:v>0.057807</c:v>
                </c:pt>
                <c:pt idx="4">
                  <c:v>0.0</c:v>
                </c:pt>
                <c:pt idx="5">
                  <c:v>0.0</c:v>
                </c:pt>
                <c:pt idx="6">
                  <c:v>0.0</c:v>
                </c:pt>
                <c:pt idx="7">
                  <c:v>0.0</c:v>
                </c:pt>
                <c:pt idx="8">
                  <c:v>0.0</c:v>
                </c:pt>
                <c:pt idx="9">
                  <c:v>0.0</c:v>
                </c:pt>
                <c:pt idx="10">
                  <c:v>0.0</c:v>
                </c:pt>
                <c:pt idx="11">
                  <c:v>0.0</c:v>
                </c:pt>
                <c:pt idx="12">
                  <c:v>0.0</c:v>
                </c:pt>
                <c:pt idx="1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5</a:t>
                    </a:r>
                  </a:p>
                </c:rich>
              </c:tx>
              <c:showLegendKey val="0"/>
              <c:showVal val="1"/>
              <c:showCatName val="0"/>
              <c:showSerName val="0"/>
              <c:showPercent val="0"/>
              <c:showBubbleSize val="0"/>
            </c:dLbl>
            <c:dLbl>
              <c:idx val="1"/>
              <c:tx>
                <c:rich>
                  <a:bodyPr/>
                  <a:lstStyle/>
                  <a:p>
                    <a:pPr>
                      <a:defRPr sz="800">
                        <a:latin typeface="Nexa Book (Body)"/>
                      </a:defRPr>
                    </a:pPr>
                    <a:r>
                      <a:t>9</a:t>
                    </a:r>
                  </a:p>
                </c:rich>
              </c:tx>
              <c:showLegendKey val="0"/>
              <c:showVal val="1"/>
              <c:showCatName val="0"/>
              <c:showSerName val="0"/>
              <c:showPercent val="0"/>
              <c:showBubbleSize val="0"/>
            </c:dLbl>
            <c:dLbl>
              <c:idx val="2"/>
              <c:tx>
                <c:rich>
                  <a:bodyPr/>
                  <a:lstStyle/>
                  <a:p>
                    <a:pPr>
                      <a:defRPr sz="800">
                        <a:latin typeface="Nexa Book (Body)"/>
                      </a:defRPr>
                    </a:pPr>
                    <a:r>
                      <a:t>2</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dLbl>
              <c:idx val="4"/>
              <c:tx>
                <c:rich>
                  <a:bodyPr/>
                  <a:lstStyle/>
                  <a:p>
                    <a:pPr>
                      <a:defRPr sz="800">
                        <a:latin typeface="Nexa Book (Body)"/>
                      </a:defRPr>
                    </a:pPr>
                    <a:r>
                      <a:t>1</a:t>
                    </a:r>
                  </a:p>
                </c:rich>
              </c:tx>
              <c:showLegendKey val="0"/>
              <c:showVal val="1"/>
              <c:showCatName val="0"/>
              <c:showSerName val="0"/>
              <c:showPercent val="0"/>
              <c:showBubbleSize val="0"/>
            </c:dLbl>
            <c:dLbl>
              <c:idx val="5"/>
              <c:tx>
                <c:rich>
                  <a:bodyPr/>
                  <a:lstStyle/>
                  <a:p>
                    <a:pPr>
                      <a:defRPr sz="800">
                        <a:latin typeface="Nexa Book (Body)"/>
                      </a:defRPr>
                    </a:pPr>
                    <a:r>
                      <a:t>1</a:t>
                    </a:r>
                  </a:p>
                </c:rich>
              </c:tx>
              <c:showLegendKey val="0"/>
              <c:showVal val="1"/>
              <c:showCatName val="0"/>
              <c:showSerName val="0"/>
              <c:showPercent val="0"/>
              <c:showBubbleSize val="0"/>
            </c:dLbl>
            <c:dLbl>
              <c:idx val="6"/>
              <c:tx>
                <c:rich>
                  <a:bodyPr/>
                  <a:lstStyle/>
                  <a:p>
                    <a:pPr>
                      <a:defRPr sz="800">
                        <a:latin typeface="Nexa Book (Body)"/>
                      </a:defRPr>
                    </a:pPr>
                    <a:r>
                      <a:t>1</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dLbl>
              <c:idx val="12"/>
              <c:tx>
                <c:rich>
                  <a:bodyPr/>
                  <a:lstStyle/>
                  <a:p>
                    <a:pPr>
                      <a:defRPr sz="800">
                        <a:latin typeface="Nexa Book (Body)"/>
                      </a:defRPr>
                    </a:pPr>
                    <a:r>
                      <a:t>0</a:t>
                    </a:r>
                  </a:p>
                </c:rich>
              </c:tx>
              <c:showLegendKey val="0"/>
              <c:showVal val="1"/>
              <c:showCatName val="0"/>
              <c:showSerName val="0"/>
              <c:showPercent val="0"/>
              <c:showBubbleSize val="0"/>
            </c:dLbl>
            <c:dLbl>
              <c:idx val="1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Effervescents Sans Alcool</c:v>
                </c:pt>
                <c:pt idx="10">
                  <c:v>Mousseux Bourgogne</c:v>
                </c:pt>
                <c:pt idx="11">
                  <c:v>Mousseux Autres</c:v>
                </c:pt>
                <c:pt idx="12">
                  <c:v>Blanc De Noirs</c:v>
                </c:pt>
                <c:pt idx="13">
                  <c:v>Mousseux Alsace</c:v>
                </c:pt>
              </c:strCache>
            </c:strRef>
          </c:cat>
          <c:val>
            <c:numRef>
              <c:f>Sheet1!$B$2:$B$15</c:f>
              <c:numCache>
                <c:formatCode>General</c:formatCode>
                <c:ptCount val="14"/>
                <c:pt idx="0">
                  <c:v>15.039604</c:v>
                </c:pt>
                <c:pt idx="1">
                  <c:v>9.433797</c:v>
                </c:pt>
                <c:pt idx="2">
                  <c:v>1.724601</c:v>
                </c:pt>
                <c:pt idx="3">
                  <c:v>0.916766</c:v>
                </c:pt>
                <c:pt idx="4">
                  <c:v>0.63924</c:v>
                </c:pt>
                <c:pt idx="5">
                  <c:v>0.52027</c:v>
                </c:pt>
                <c:pt idx="6">
                  <c:v>0.502348</c:v>
                </c:pt>
                <c:pt idx="7">
                  <c:v>0.410953</c:v>
                </c:pt>
                <c:pt idx="8">
                  <c:v>0.255491</c:v>
                </c:pt>
                <c:pt idx="9">
                  <c:v>0.157868</c:v>
                </c:pt>
                <c:pt idx="10">
                  <c:v>0.111713</c:v>
                </c:pt>
                <c:pt idx="11">
                  <c:v>0.09301</c:v>
                </c:pt>
                <c:pt idx="12">
                  <c:v>0.083493</c:v>
                </c:pt>
                <c:pt idx="13">
                  <c:v>0.08156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dLbl>
              <c:idx val="12"/>
              <c:tx>
                <c:rich>
                  <a:bodyPr/>
                  <a:lstStyle/>
                  <a:p>
                    <a:pPr>
                      <a:defRPr sz="800">
                        <a:latin typeface="Nexa Book (Body)"/>
                      </a:defRPr>
                    </a:pPr>
                  </a:p>
                </c:rich>
              </c:tx>
              <c:showLegendKey val="0"/>
              <c:showVal val="1"/>
              <c:showCatName val="0"/>
              <c:showSerName val="0"/>
              <c:showPercent val="0"/>
              <c:showBubbleSize val="0"/>
            </c:dLbl>
            <c:dLbl>
              <c:idx val="1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Effervescents Sans Alcool</c:v>
                </c:pt>
                <c:pt idx="10">
                  <c:v>Mousseux Bourgogne</c:v>
                </c:pt>
                <c:pt idx="11">
                  <c:v>Mousseux Autres</c:v>
                </c:pt>
                <c:pt idx="12">
                  <c:v>Blanc De Noirs</c:v>
                </c:pt>
                <c:pt idx="13">
                  <c:v>Mousseux Alsace</c:v>
                </c:pt>
              </c:strCache>
            </c:strRef>
          </c:cat>
          <c:val>
            <c:numRef>
              <c:f>Sheet1!$B$2:$B$15</c:f>
              <c:numCache>
                <c:formatCode>General</c:formatCode>
                <c:ptCount val="14"/>
                <c:pt idx="0">
                  <c:v>1.311876</c:v>
                </c:pt>
                <c:pt idx="1">
                  <c:v>1.080677</c:v>
                </c:pt>
                <c:pt idx="2">
                  <c:v>0.113094</c:v>
                </c:pt>
                <c:pt idx="3">
                  <c:v>0.093973</c:v>
                </c:pt>
                <c:pt idx="4">
                  <c:v>0.0</c:v>
                </c:pt>
                <c:pt idx="5">
                  <c:v>0.0</c:v>
                </c:pt>
                <c:pt idx="6">
                  <c:v>0.0</c:v>
                </c:pt>
                <c:pt idx="7">
                  <c:v>0.0</c:v>
                </c:pt>
                <c:pt idx="8">
                  <c:v>0.0</c:v>
                </c:pt>
                <c:pt idx="9">
                  <c:v>0.0</c:v>
                </c:pt>
                <c:pt idx="10">
                  <c:v>0.0</c:v>
                </c:pt>
                <c:pt idx="11">
                  <c:v>0.0</c:v>
                </c:pt>
                <c:pt idx="12">
                  <c:v>0.0</c:v>
                </c:pt>
                <c:pt idx="1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1</a:t>
                    </a:r>
                  </a:p>
                </c:rich>
              </c:tx>
              <c:showLegendKey val="0"/>
              <c:showVal val="1"/>
              <c:showCatName val="0"/>
              <c:showSerName val="0"/>
              <c:showPercent val="0"/>
              <c:showBubbleSize val="0"/>
            </c:dLbl>
            <c:dLbl>
              <c:idx val="1"/>
              <c:tx>
                <c:rich>
                  <a:bodyPr/>
                  <a:lstStyle/>
                  <a:p>
                    <a:pPr>
                      <a:defRPr sz="800">
                        <a:latin typeface="Nexa Book (Body)"/>
                      </a:defRPr>
                    </a:pPr>
                    <a:r>
                      <a:t>7</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dLbl>
              <c:idx val="4"/>
              <c:tx>
                <c:rich>
                  <a:bodyPr/>
                  <a:lstStyle/>
                  <a:p>
                    <a:pPr>
                      <a:defRPr sz="800">
                        <a:latin typeface="Nexa Book (Body)"/>
                      </a:defRPr>
                    </a:pPr>
                    <a:r>
                      <a:t>1</a:t>
                    </a:r>
                  </a:p>
                </c:rich>
              </c:tx>
              <c:showLegendKey val="0"/>
              <c:showVal val="1"/>
              <c:showCatName val="0"/>
              <c:showSerName val="0"/>
              <c:showPercent val="0"/>
              <c:showBubbleSize val="0"/>
            </c:dLbl>
            <c:dLbl>
              <c:idx val="5"/>
              <c:tx>
                <c:rich>
                  <a:bodyPr/>
                  <a:lstStyle/>
                  <a:p>
                    <a:pPr>
                      <a:defRPr sz="800">
                        <a:latin typeface="Nexa Book (Body)"/>
                      </a:defRPr>
                    </a:pPr>
                    <a:r>
                      <a:t>0</a:t>
                    </a:r>
                  </a:p>
                </c:rich>
              </c:tx>
              <c:showLegendKey val="0"/>
              <c:showVal val="1"/>
              <c:showCatName val="0"/>
              <c:showSerName val="0"/>
              <c:showPercent val="0"/>
              <c:showBubbleSize val="0"/>
            </c:dLbl>
            <c:dLbl>
              <c:idx val="6"/>
              <c:tx>
                <c:rich>
                  <a:bodyPr/>
                  <a:lstStyle/>
                  <a:p>
                    <a:pPr>
                      <a:defRPr sz="800">
                        <a:latin typeface="Nexa Book (Body)"/>
                      </a:defRPr>
                    </a:pPr>
                    <a:r>
                      <a:t>0</a:t>
                    </a:r>
                  </a:p>
                </c:rich>
              </c:tx>
              <c:showLegendKey val="0"/>
              <c:showVal val="1"/>
              <c:showCatName val="0"/>
              <c:showSerName val="0"/>
              <c:showPercent val="0"/>
              <c:showBubbleSize val="0"/>
            </c:dLbl>
            <c:dLbl>
              <c:idx val="7"/>
              <c:tx>
                <c:rich>
                  <a:bodyPr/>
                  <a:lstStyle/>
                  <a:p>
                    <a:pPr>
                      <a:defRPr sz="800">
                        <a:latin typeface="Nexa Book (Body)"/>
                      </a:defRPr>
                    </a:pPr>
                    <a:r>
                      <a:t>0</a:t>
                    </a:r>
                  </a:p>
                </c:rich>
              </c:tx>
              <c:showLegendKey val="0"/>
              <c:showVal val="1"/>
              <c:showCatName val="0"/>
              <c:showSerName val="0"/>
              <c:showPercent val="0"/>
              <c:showBubbleSize val="0"/>
            </c:dLbl>
            <c:dLbl>
              <c:idx val="8"/>
              <c:tx>
                <c:rich>
                  <a:bodyPr/>
                  <a:lstStyle/>
                  <a:p>
                    <a:pPr>
                      <a:defRPr sz="800">
                        <a:latin typeface="Nexa Book (Body)"/>
                      </a:defRPr>
                    </a:pPr>
                    <a:r>
                      <a:t>0</a:t>
                    </a:r>
                  </a:p>
                </c:rich>
              </c:tx>
              <c:showLegendKey val="0"/>
              <c:showVal val="1"/>
              <c:showCatName val="0"/>
              <c:showSerName val="0"/>
              <c:showPercent val="0"/>
              <c:showBubbleSize val="0"/>
            </c:dLbl>
            <c:dLbl>
              <c:idx val="9"/>
              <c:tx>
                <c:rich>
                  <a:bodyPr/>
                  <a:lstStyle/>
                  <a:p>
                    <a:pPr>
                      <a:defRPr sz="800">
                        <a:latin typeface="Nexa Book (Body)"/>
                      </a:defRPr>
                    </a:pPr>
                    <a:r>
                      <a:t>0</a:t>
                    </a:r>
                  </a:p>
                </c:rich>
              </c:tx>
              <c:showLegendKey val="0"/>
              <c:showVal val="1"/>
              <c:showCatName val="0"/>
              <c:showSerName val="0"/>
              <c:showPercent val="0"/>
              <c:showBubbleSize val="0"/>
            </c:dLbl>
            <c:dLbl>
              <c:idx val="10"/>
              <c:tx>
                <c:rich>
                  <a:bodyPr/>
                  <a:lstStyle/>
                  <a:p>
                    <a:pPr>
                      <a:defRPr sz="800">
                        <a:latin typeface="Nexa Book (Body)"/>
                      </a:defRPr>
                    </a:pPr>
                    <a:r>
                      <a:t>0</a:t>
                    </a:r>
                  </a:p>
                </c:rich>
              </c:tx>
              <c:showLegendKey val="0"/>
              <c:showVal val="1"/>
              <c:showCatName val="0"/>
              <c:showSerName val="0"/>
              <c:showPercent val="0"/>
              <c:showBubbleSize val="0"/>
            </c:dLbl>
            <c:dLbl>
              <c:idx val="11"/>
              <c:tx>
                <c:rich>
                  <a:bodyPr/>
                  <a:lstStyle/>
                  <a:p>
                    <a:pPr>
                      <a:defRPr sz="800">
                        <a:latin typeface="Nexa Book (Body)"/>
                      </a:defRPr>
                    </a:pPr>
                    <a:r>
                      <a:t>0</a:t>
                    </a:r>
                  </a:p>
                </c:rich>
              </c:tx>
              <c:showLegendKey val="0"/>
              <c:showVal val="1"/>
              <c:showCatName val="0"/>
              <c:showSerName val="0"/>
              <c:showPercent val="0"/>
              <c:showBubbleSize val="0"/>
            </c:dLbl>
            <c:dLbl>
              <c:idx val="12"/>
              <c:tx>
                <c:rich>
                  <a:bodyPr/>
                  <a:lstStyle/>
                  <a:p>
                    <a:pPr>
                      <a:defRPr sz="800">
                        <a:latin typeface="Nexa Book (Body)"/>
                      </a:defRPr>
                    </a:pPr>
                    <a:r>
                      <a:t>0</a:t>
                    </a:r>
                  </a:p>
                </c:rich>
              </c:tx>
              <c:showLegendKey val="0"/>
              <c:showVal val="1"/>
              <c:showCatName val="0"/>
              <c:showSerName val="0"/>
              <c:showPercent val="0"/>
              <c:showBubbleSize val="0"/>
            </c:dLbl>
            <c:dLbl>
              <c:idx val="13"/>
              <c:tx>
                <c:rich>
                  <a:bodyPr/>
                  <a:lstStyle/>
                  <a:p>
                    <a:pPr>
                      <a:defRPr sz="800">
                        <a:latin typeface="Nexa Book (Body)"/>
                      </a:defRPr>
                    </a:pPr>
                    <a:r>
                      <a:t>0</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Mousseux Alsace</c:v>
                </c:pt>
                <c:pt idx="10">
                  <c:v>Effervescents Sans Alcool</c:v>
                </c:pt>
                <c:pt idx="11">
                  <c:v>Mousseux Autres</c:v>
                </c:pt>
                <c:pt idx="12">
                  <c:v>Mousseux Bourgogne</c:v>
                </c:pt>
                <c:pt idx="13">
                  <c:v>Blanc De Noirs</c:v>
                </c:pt>
              </c:strCache>
            </c:strRef>
          </c:cat>
          <c:val>
            <c:numRef>
              <c:f>Sheet1!$B$2:$B$15</c:f>
              <c:numCache>
                <c:formatCode>General</c:formatCode>
                <c:ptCount val="14"/>
                <c:pt idx="0">
                  <c:v>11.035236</c:v>
                </c:pt>
                <c:pt idx="1">
                  <c:v>6.923696</c:v>
                </c:pt>
                <c:pt idx="2">
                  <c:v>1.251245</c:v>
                </c:pt>
                <c:pt idx="3">
                  <c:v>0.636306</c:v>
                </c:pt>
                <c:pt idx="4">
                  <c:v>0.50588</c:v>
                </c:pt>
                <c:pt idx="5">
                  <c:v>0.344773</c:v>
                </c:pt>
                <c:pt idx="6">
                  <c:v>0.311626</c:v>
                </c:pt>
                <c:pt idx="7">
                  <c:v>0.253753</c:v>
                </c:pt>
                <c:pt idx="8">
                  <c:v>0.246433</c:v>
                </c:pt>
                <c:pt idx="9">
                  <c:v>0.115983</c:v>
                </c:pt>
                <c:pt idx="10">
                  <c:v>0.101781</c:v>
                </c:pt>
                <c:pt idx="11">
                  <c:v>0.101186</c:v>
                </c:pt>
                <c:pt idx="12">
                  <c:v>0.100469</c:v>
                </c:pt>
                <c:pt idx="13">
                  <c:v>0.059564</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r>
                      <a:t>0</a:t>
                    </a:r>
                  </a:p>
                </c:rich>
              </c:tx>
              <c:showLegendKey val="0"/>
              <c:showVal val="1"/>
              <c:showCatName val="0"/>
              <c:showSerName val="0"/>
              <c:showPercent val="0"/>
              <c:showBubbleSize val="0"/>
            </c:dLbl>
            <c:dLbl>
              <c:idx val="3"/>
              <c:tx>
                <c:rich>
                  <a:bodyPr/>
                  <a:lstStyle/>
                  <a:p>
                    <a:pPr>
                      <a:defRPr sz="800">
                        <a:latin typeface="Nexa Book (Body)"/>
                      </a:defRPr>
                    </a:pPr>
                    <a:r>
                      <a:t>0</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dLbl>
              <c:idx val="9"/>
              <c:tx>
                <c:rich>
                  <a:bodyPr/>
                  <a:lstStyle/>
                  <a:p>
                    <a:pPr>
                      <a:defRPr sz="800">
                        <a:latin typeface="Nexa Book (Body)"/>
                      </a:defRPr>
                    </a:pPr>
                  </a:p>
                </c:rich>
              </c:tx>
              <c:showLegendKey val="0"/>
              <c:showVal val="1"/>
              <c:showCatName val="0"/>
              <c:showSerName val="0"/>
              <c:showPercent val="0"/>
              <c:showBubbleSize val="0"/>
            </c:dLbl>
            <c:dLbl>
              <c:idx val="10"/>
              <c:tx>
                <c:rich>
                  <a:bodyPr/>
                  <a:lstStyle/>
                  <a:p>
                    <a:pPr>
                      <a:defRPr sz="800">
                        <a:latin typeface="Nexa Book (Body)"/>
                      </a:defRPr>
                    </a:pPr>
                  </a:p>
                </c:rich>
              </c:tx>
              <c:showLegendKey val="0"/>
              <c:showVal val="1"/>
              <c:showCatName val="0"/>
              <c:showSerName val="0"/>
              <c:showPercent val="0"/>
              <c:showBubbleSize val="0"/>
            </c:dLbl>
            <c:dLbl>
              <c:idx val="11"/>
              <c:tx>
                <c:rich>
                  <a:bodyPr/>
                  <a:lstStyle/>
                  <a:p>
                    <a:pPr>
                      <a:defRPr sz="800">
                        <a:latin typeface="Nexa Book (Body)"/>
                      </a:defRPr>
                    </a:pPr>
                  </a:p>
                </c:rich>
              </c:tx>
              <c:showLegendKey val="0"/>
              <c:showVal val="1"/>
              <c:showCatName val="0"/>
              <c:showSerName val="0"/>
              <c:showPercent val="0"/>
              <c:showBubbleSize val="0"/>
            </c:dLbl>
            <c:dLbl>
              <c:idx val="12"/>
              <c:tx>
                <c:rich>
                  <a:bodyPr/>
                  <a:lstStyle/>
                  <a:p>
                    <a:pPr>
                      <a:defRPr sz="800">
                        <a:latin typeface="Nexa Book (Body)"/>
                      </a:defRPr>
                    </a:pPr>
                  </a:p>
                </c:rich>
              </c:tx>
              <c:showLegendKey val="0"/>
              <c:showVal val="1"/>
              <c:showCatName val="0"/>
              <c:showSerName val="0"/>
              <c:showPercent val="0"/>
              <c:showBubbleSize val="0"/>
            </c:dLbl>
            <c:dLbl>
              <c:idx val="1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5</c:f>
              <c:strCache>
                <c:ptCount val="14"/>
                <c:pt idx="0">
                  <c:v>Grand</c:v>
                </c:pt>
                <c:pt idx="1">
                  <c:v>Bruts</c:v>
                </c:pt>
                <c:pt idx="2">
                  <c:v>Blanc De Blancs</c:v>
                </c:pt>
                <c:pt idx="3">
                  <c:v>Rosés</c:v>
                </c:pt>
                <c:pt idx="4">
                  <c:v>Crus</c:v>
                </c:pt>
                <c:pt idx="5">
                  <c:v>Extra Brut</c:v>
                </c:pt>
                <c:pt idx="6">
                  <c:v>Millesimes</c:v>
                </c:pt>
                <c:pt idx="7">
                  <c:v>Mousseux Italiens</c:v>
                </c:pt>
                <c:pt idx="8">
                  <c:v>Mousseux Val De Loire</c:v>
                </c:pt>
                <c:pt idx="9">
                  <c:v>Mousseux Alsace</c:v>
                </c:pt>
                <c:pt idx="10">
                  <c:v>Effervescents Sans Alcool</c:v>
                </c:pt>
                <c:pt idx="11">
                  <c:v>Mousseux Autres</c:v>
                </c:pt>
                <c:pt idx="12">
                  <c:v>Mousseux Bourgogne</c:v>
                </c:pt>
                <c:pt idx="13">
                  <c:v>Blanc De Noirs</c:v>
                </c:pt>
              </c:strCache>
            </c:strRef>
          </c:cat>
          <c:val>
            <c:numRef>
              <c:f>Sheet1!$B$2:$B$15</c:f>
              <c:numCache>
                <c:formatCode>General</c:formatCode>
                <c:ptCount val="14"/>
                <c:pt idx="0">
                  <c:v>1.047473</c:v>
                </c:pt>
                <c:pt idx="1">
                  <c:v>0.843512</c:v>
                </c:pt>
                <c:pt idx="2">
                  <c:v>0.103677</c:v>
                </c:pt>
                <c:pt idx="3">
                  <c:v>0.075116</c:v>
                </c:pt>
                <c:pt idx="4">
                  <c:v>0.0</c:v>
                </c:pt>
                <c:pt idx="5">
                  <c:v>0.0</c:v>
                </c:pt>
                <c:pt idx="6">
                  <c:v>0.0</c:v>
                </c:pt>
                <c:pt idx="7">
                  <c:v>0.0</c:v>
                </c:pt>
                <c:pt idx="8">
                  <c:v>0.0</c:v>
                </c:pt>
                <c:pt idx="9">
                  <c:v>0.0</c:v>
                </c:pt>
                <c:pt idx="10">
                  <c:v>0.0</c:v>
                </c:pt>
                <c:pt idx="11">
                  <c:v>0.0</c:v>
                </c:pt>
                <c:pt idx="12">
                  <c:v>0.0</c:v>
                </c:pt>
                <c:pt idx="1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712294396431559</c:v>
                </c:pt>
                <c:pt idx="1">
                  <c:v>0.2277669361583496</c:v>
                </c:pt>
                <c:pt idx="2">
                  <c:v>0.14106495678840256</c:v>
                </c:pt>
                <c:pt idx="3">
                  <c:v>0.049344856425982714</c:v>
                </c:pt>
                <c:pt idx="4">
                  <c:v>0.01059381098410928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0 %</a:t>
                    </a:r>
                  </a:p>
                </c:rich>
              </c:tx>
              <c:dLblPos val="ctr"/>
              <c:showLegendKey val="0"/>
              <c:showVal val="1"/>
              <c:showCatName val="0"/>
              <c:showSerName val="0"/>
              <c:showPercent val="0"/>
              <c:showBubbleSize val="0"/>
            </c:dLbl>
            <c:dLbl>
              <c:idx val="2"/>
              <c:tx>
                <c:rich>
                  <a:bodyPr/>
                  <a:lstStyle/>
                  <a:p>
                    <a:pPr>
                      <a:defRPr sz="800">
                        <a:latin typeface="Nexa Book"/>
                      </a:defRPr>
                    </a:pPr>
                    <a:r>
                      <a:t>50.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NICOLAS</c:v>
                </c:pt>
                <c:pt idx="2">
                  <c:v>HMSM</c:v>
                </c:pt>
              </c:strCache>
            </c:strRef>
          </c:cat>
          <c:val>
            <c:numRef>
              <c:f>Sheet1!$B$2:$B$4</c:f>
              <c:numCache>
                <c:formatCode>General</c:formatCode>
                <c:ptCount val="3"/>
                <c:pt idx="0">
                  <c:v>1.0</c:v>
                </c:pt>
                <c:pt idx="1">
                  <c:v>0.5001</c:v>
                </c:pt>
                <c:pt idx="2">
                  <c:v>0.49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00.0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NICOLAS</c:v>
                </c:pt>
                <c:pt idx="2">
                  <c:v>HMSM</c:v>
                </c:pt>
              </c:strCache>
            </c:strRef>
          </c:cat>
          <c:val>
            <c:numRef>
              <c:f>Sheet1!$B$2:$B$4</c:f>
              <c:numCache>
                <c:formatCode>General</c:formatCode>
                <c:ptCount val="3"/>
                <c:pt idx="0">
                  <c:v>1.0</c:v>
                </c:pt>
                <c:pt idx="1">
                  <c:v>1.0</c:v>
                </c:pt>
                <c:pt idx="2">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6</a:t>
                    </a:r>
                  </a:p>
                </c:rich>
              </c:tx>
              <c:dLblPos val="ctr"/>
              <c:showLegendKey val="0"/>
              <c:showVal val="1"/>
              <c:showCatName val="0"/>
              <c:showSerName val="0"/>
              <c:showPercent val="0"/>
              <c:showBubbleSize val="0"/>
            </c:dLbl>
            <c:dLbl>
              <c:idx val="1"/>
              <c:tx>
                <c:rich>
                  <a:bodyPr/>
                  <a:lstStyle/>
                  <a:p>
                    <a:pPr>
                      <a:defRPr sz="800">
                        <a:latin typeface="Nexa Book"/>
                      </a:defRPr>
                    </a:pPr>
                    <a:r>
                      <a:t>8</a:t>
                    </a:r>
                  </a:p>
                </c:rich>
              </c:tx>
              <c:dLblPos val="ctr"/>
              <c:showLegendKey val="0"/>
              <c:showVal val="1"/>
              <c:showCatName val="0"/>
              <c:showSerName val="0"/>
              <c:showPercent val="0"/>
              <c:showBubbleSize val="0"/>
            </c:dLbl>
            <c:dLbl>
              <c:idx val="2"/>
              <c:tx>
                <c:rich>
                  <a:bodyPr/>
                  <a:lstStyle/>
                  <a:p>
                    <a:pPr>
                      <a:defRPr sz="800">
                        <a:latin typeface="Nexa Book"/>
                      </a:defRPr>
                    </a:pPr>
                    <a:r>
                      <a:t>8</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NICOLAS</c:v>
                </c:pt>
                <c:pt idx="2">
                  <c:v>HMSM</c:v>
                </c:pt>
              </c:strCache>
            </c:strRef>
          </c:cat>
          <c:val>
            <c:numRef>
              <c:f>Sheet1!$B$2:$B$4</c:f>
              <c:numCache>
                <c:formatCode>General</c:formatCode>
                <c:ptCount val="3"/>
                <c:pt idx="0">
                  <c:v>16233548.0</c:v>
                </c:pt>
                <c:pt idx="1">
                  <c:v>8118748.0</c:v>
                </c:pt>
                <c:pt idx="2">
                  <c:v>811480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NICOLAS</c:v>
                </c:pt>
                <c:pt idx="2">
                  <c:v>HMSM</c:v>
                </c:pt>
              </c:strCache>
            </c:strRef>
          </c:cat>
          <c:val>
            <c:numRef>
              <c:f>Sheet1!$B$2:$B$4</c:f>
              <c:numCache>
                <c:formatCode>General</c:formatCode>
                <c:ptCount val="3"/>
                <c:pt idx="0">
                  <c:v>510814.0</c:v>
                </c:pt>
                <c:pt idx="1">
                  <c:v>510814.0</c:v>
                </c:pt>
                <c:pt idx="2">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2%</a:t>
                    </a:r>
                  </a:p>
                </c:rich>
              </c:tx>
              <c:dLblPos val="ctr"/>
              <c:showLegendKey val="0"/>
              <c:showVal val="1"/>
              <c:showCatName val="0"/>
              <c:showSerName val="0"/>
              <c:showPercent val="0"/>
              <c:showBubbleSize val="0"/>
            </c:dLbl>
            <c:dLbl>
              <c:idx val="2"/>
              <c:tx>
                <c:rich>
                  <a:bodyPr/>
                  <a:lstStyle/>
                  <a:p>
                    <a:pPr>
                      <a:defRPr sz="800">
                        <a:latin typeface="Nexa Book"/>
                      </a:defRPr>
                    </a:pPr>
                    <a:r>
                      <a:t>+16.2%</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NICOLAS</c:v>
                </c:pt>
                <c:pt idx="2">
                  <c:v>HMSM</c:v>
                </c:pt>
              </c:strCache>
            </c:strRef>
          </c:cat>
          <c:val>
            <c:numRef>
              <c:f>Sheet1!$B$2:$B$4</c:f>
              <c:numCache>
                <c:formatCode>General</c:formatCode>
                <c:ptCount val="3"/>
                <c:pt idx="0">
                  <c:v>0.0</c:v>
                </c:pt>
                <c:pt idx="1">
                  <c:v>-0.1622</c:v>
                </c:pt>
                <c:pt idx="2">
                  <c:v>0.162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11072677972667089</c:v>
                </c:pt>
                <c:pt idx="1">
                  <c:v>0.04522097541489631</c:v>
                </c:pt>
                <c:pt idx="2">
                  <c:v>0.06550580431177445</c:v>
                </c:pt>
                <c:pt idx="3">
                  <c:v>0.0</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NICOLAS</c:v>
                </c:pt>
                <c:pt idx="2">
                  <c:v>HMSM</c:v>
                </c:pt>
              </c:strCache>
            </c:strRef>
          </c:cat>
          <c:val>
            <c:numRef>
              <c:f>Sheet1!$B$2:$B$4</c:f>
              <c:numCache>
                <c:formatCode>General</c:formatCode>
                <c:ptCount val="3"/>
                <c:pt idx="0">
                  <c:v>0.0</c:v>
                </c:pt>
                <c:pt idx="1">
                  <c:v>0.0</c:v>
                </c:pt>
                <c:pt idx="2">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91.2 %</a:t>
                    </a:r>
                  </a:p>
                </c:rich>
              </c:tx>
              <c:dLblPos val="ctr"/>
              <c:showLegendKey val="0"/>
              <c:showVal val="1"/>
              <c:showCatName val="0"/>
              <c:showSerName val="0"/>
              <c:showPercent val="0"/>
              <c:showBubbleSize val="0"/>
            </c:dLbl>
            <c:dLbl>
              <c:idx val="2"/>
              <c:tx>
                <c:rich>
                  <a:bodyPr/>
                  <a:lstStyle/>
                  <a:p>
                    <a:pPr>
                      <a:defRPr sz="800">
                        <a:latin typeface="Nexa Book"/>
                      </a:defRPr>
                    </a:pPr>
                    <a:r>
                      <a:t>8.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HMSM</c:v>
                </c:pt>
                <c:pt idx="2">
                  <c:v>NICOLAS</c:v>
                </c:pt>
              </c:strCache>
            </c:strRef>
          </c:cat>
          <c:val>
            <c:numRef>
              <c:f>Sheet1!$B$2:$B$4</c:f>
              <c:numCache>
                <c:formatCode>General</c:formatCode>
                <c:ptCount val="3"/>
                <c:pt idx="0">
                  <c:v>1.0</c:v>
                </c:pt>
                <c:pt idx="1">
                  <c:v>0.9118</c:v>
                </c:pt>
                <c:pt idx="2">
                  <c:v>0.088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100.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HMSM</c:v>
                </c:pt>
                <c:pt idx="2">
                  <c:v>NICOLAS</c:v>
                </c:pt>
              </c:strCache>
            </c:strRef>
          </c:cat>
          <c:val>
            <c:numRef>
              <c:f>Sheet1!$B$2:$B$4</c:f>
              <c:numCache>
                <c:formatCode>General</c:formatCode>
                <c:ptCount val="3"/>
                <c:pt idx="0">
                  <c:v>1.0</c:v>
                </c:pt>
                <c:pt idx="1">
                  <c:v>0.0</c:v>
                </c:pt>
                <c:pt idx="2">
                  <c:v>1.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76</a:t>
                    </a:r>
                  </a:p>
                </c:rich>
              </c:tx>
              <c:dLblPos val="ctr"/>
              <c:showLegendKey val="0"/>
              <c:showVal val="1"/>
              <c:showCatName val="0"/>
              <c:showSerName val="0"/>
              <c:showPercent val="0"/>
              <c:showBubbleSize val="0"/>
            </c:dLbl>
            <c:dLbl>
              <c:idx val="1"/>
              <c:tx>
                <c:rich>
                  <a:bodyPr/>
                  <a:lstStyle/>
                  <a:p>
                    <a:pPr>
                      <a:defRPr sz="800">
                        <a:latin typeface="Nexa Book"/>
                      </a:defRPr>
                    </a:pPr>
                    <a:r>
                      <a:t>434</a:t>
                    </a:r>
                  </a:p>
                </c:rich>
              </c:tx>
              <c:dLblPos val="ctr"/>
              <c:showLegendKey val="0"/>
              <c:showVal val="1"/>
              <c:showCatName val="0"/>
              <c:showSerName val="0"/>
              <c:showPercent val="0"/>
              <c:showBubbleSize val="0"/>
            </c:dLbl>
            <c:dLbl>
              <c:idx val="2"/>
              <c:tx>
                <c:rich>
                  <a:bodyPr/>
                  <a:lstStyle/>
                  <a:p>
                    <a:pPr>
                      <a:defRPr sz="800">
                        <a:latin typeface="Nexa Book"/>
                      </a:defRPr>
                    </a:pPr>
                    <a:r>
                      <a:t>4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HMSM</c:v>
                </c:pt>
                <c:pt idx="2">
                  <c:v>NICOLAS</c:v>
                </c:pt>
              </c:strCache>
            </c:strRef>
          </c:cat>
          <c:val>
            <c:numRef>
              <c:f>Sheet1!$B$2:$B$4</c:f>
              <c:numCache>
                <c:formatCode>General</c:formatCode>
                <c:ptCount val="3"/>
                <c:pt idx="0">
                  <c:v>475566087.0</c:v>
                </c:pt>
                <c:pt idx="1">
                  <c:v>433602077.0</c:v>
                </c:pt>
                <c:pt idx="2">
                  <c:v>4196401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a:t>
                    </a: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HMSM</c:v>
                </c:pt>
                <c:pt idx="2">
                  <c:v>NICOLAS</c:v>
                </c:pt>
              </c:strCache>
            </c:strRef>
          </c:cat>
          <c:val>
            <c:numRef>
              <c:f>Sheet1!$B$2:$B$4</c:f>
              <c:numCache>
                <c:formatCode>General</c:formatCode>
                <c:ptCount val="3"/>
                <c:pt idx="0">
                  <c:v>4648693.0</c:v>
                </c:pt>
                <c:pt idx="1">
                  <c:v>0.0</c:v>
                </c:pt>
                <c:pt idx="2">
                  <c:v>464869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6%</a:t>
                    </a:r>
                  </a:p>
                </c:rich>
              </c:tx>
              <c:dLblPos val="ctr"/>
              <c:showLegendKey val="0"/>
              <c:showVal val="1"/>
              <c:showCatName val="0"/>
              <c:showSerName val="0"/>
              <c:showPercent val="0"/>
              <c:showBubbleSize val="0"/>
            </c:dLbl>
            <c:dLbl>
              <c:idx val="2"/>
              <c:tx>
                <c:rich>
                  <a:bodyPr/>
                  <a:lstStyle/>
                  <a:p>
                    <a:pPr>
                      <a:defRPr sz="800">
                        <a:latin typeface="Nexa Book"/>
                      </a:defRPr>
                    </a:pPr>
                    <a:r>
                      <a:t>-1.6%</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HMSM</c:v>
                </c:pt>
                <c:pt idx="2">
                  <c:v>NICOLAS</c:v>
                </c:pt>
              </c:strCache>
            </c:strRef>
          </c:cat>
          <c:val>
            <c:numRef>
              <c:f>Sheet1!$B$2:$B$4</c:f>
              <c:numCache>
                <c:formatCode>General</c:formatCode>
                <c:ptCount val="3"/>
                <c:pt idx="0">
                  <c:v>0.0</c:v>
                </c:pt>
                <c:pt idx="1">
                  <c:v>0.016200000000000103</c:v>
                </c:pt>
                <c:pt idx="2">
                  <c:v>-0.0162000000000000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HMSM</c:v>
                </c:pt>
                <c:pt idx="2">
                  <c:v>NICOLAS</c:v>
                </c:pt>
              </c:strCache>
            </c:strRef>
          </c:cat>
          <c:val>
            <c:numRef>
              <c:f>Sheet1!$B$2:$B$4</c:f>
              <c:numCache>
                <c:formatCode>General</c:formatCode>
                <c:ptCount val="3"/>
                <c:pt idx="0">
                  <c:v>0.0</c:v>
                </c:pt>
                <c:pt idx="1">
                  <c:v>0.0</c:v>
                </c:pt>
                <c:pt idx="2">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712294396431559</c:v>
                </c:pt>
                <c:pt idx="1">
                  <c:v>0.2277669361583496</c:v>
                </c:pt>
                <c:pt idx="2">
                  <c:v>0.201003624198494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3024776915490053</c:v>
                </c:pt>
                <c:pt idx="1">
                  <c:v>0.11726067595149058</c:v>
                </c:pt>
                <c:pt idx="2">
                  <c:v>0.1252783481874227</c:v>
                </c:pt>
                <c:pt idx="3">
                  <c:v>0.049344856425982714</c:v>
                </c:pt>
                <c:pt idx="4">
                  <c:v>0.0105938109841092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208359535154676</c:v>
                </c:pt>
                <c:pt idx="1">
                  <c:v>0.115394810068587</c:v>
                </c:pt>
                <c:pt idx="2">
                  <c:v>0.09718437849520846</c:v>
                </c:pt>
                <c:pt idx="3">
                  <c:v>0.06691670948758459</c:v>
                </c:pt>
                <c:pt idx="4">
                  <c:v>0.05390626214791171</c:v>
                </c:pt>
                <c:pt idx="5">
                  <c:v>0.04093414570731899</c:v>
                </c:pt>
                <c:pt idx="6">
                  <c:v>0.03952819725803891</c:v>
                </c:pt>
                <c:pt idx="7">
                  <c:v>0.03185370036012965</c:v>
                </c:pt>
                <c:pt idx="8">
                  <c:v>0.030116876697091517</c:v>
                </c:pt>
                <c:pt idx="9">
                  <c:v>0.242081324426582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3024776915490053</c:v>
                </c:pt>
                <c:pt idx="1">
                  <c:v>0.11726067595149058</c:v>
                </c:pt>
                <c:pt idx="2">
                  <c:v>0.185217015597514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5092544786806036</c:v>
                </c:pt>
                <c:pt idx="1">
                  <c:v>0.2727879360564231</c:v>
                </c:pt>
                <c:pt idx="2">
                  <c:v>0.1051162654768979</c:v>
                </c:pt>
                <c:pt idx="3">
                  <c:v>0.06334447117960508</c:v>
                </c:pt>
                <c:pt idx="4">
                  <c:v>0.049496848606470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30178544190993195</c:v>
                </c:pt>
                <c:pt idx="1">
                  <c:v>-0.3326799000770285</c:v>
                </c:pt>
                <c:pt idx="2">
                  <c:v>-0.01442101255223461</c:v>
                </c:pt>
                <c:pt idx="3">
                  <c:v>0.04531547071933116</c:v>
                </c:pt>
                <c:pt idx="4">
                  <c:v>0.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4</c:f>
              <c:numCache>
                <c:formatCode>General</c:formatCode>
                <c:ptCount val="3"/>
                <c:pt idx="0">
                  <c:v>0.5092544786806036</c:v>
                </c:pt>
                <c:pt idx="1">
                  <c:v>0.2727879360564231</c:v>
                </c:pt>
                <c:pt idx="2">
                  <c:v>0.2179575852629733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7.1 %</a:t>
                    </a:r>
                  </a:p>
                </c:rich>
              </c:tx>
              <c:dLblPos val="ctr"/>
              <c:showLegendKey val="0"/>
              <c:showVal val="1"/>
              <c:showCatName val="0"/>
              <c:showSerName val="0"/>
              <c:showPercent val="0"/>
              <c:showBubbleSize val="0"/>
            </c:dLbl>
            <c:dLbl>
              <c:idx val="2"/>
              <c:tx>
                <c:rich>
                  <a:bodyPr/>
                  <a:lstStyle/>
                  <a:p>
                    <a:pPr>
                      <a:defRPr sz="800">
                        <a:latin typeface="Nexa Book"/>
                      </a:defRPr>
                    </a:pPr>
                    <a:r>
                      <a:t>10.8 %</a:t>
                    </a:r>
                  </a:p>
                </c:rich>
              </c:tx>
              <c:dLblPos val="ctr"/>
              <c:showLegendKey val="0"/>
              <c:showVal val="1"/>
              <c:showCatName val="0"/>
              <c:showSerName val="0"/>
              <c:showPercent val="0"/>
              <c:showBubbleSize val="0"/>
            </c:dLbl>
            <c:dLbl>
              <c:idx val="3"/>
              <c:tx>
                <c:rich>
                  <a:bodyPr/>
                  <a:lstStyle/>
                  <a:p>
                    <a:pPr>
                      <a:defRPr sz="800">
                        <a:latin typeface="Nexa Book"/>
                      </a:defRPr>
                    </a:pPr>
                    <a:r>
                      <a:t>6.1 %</a:t>
                    </a:r>
                  </a:p>
                </c:rich>
              </c:tx>
              <c:dLblPos val="ctr"/>
              <c:showLegendKey val="0"/>
              <c:showVal val="1"/>
              <c:showCatName val="0"/>
              <c:showSerName val="0"/>
              <c:showPercent val="0"/>
              <c:showBubbleSize val="0"/>
            </c:dLbl>
            <c:dLbl>
              <c:idx val="4"/>
              <c:tx>
                <c:rich>
                  <a:bodyPr/>
                  <a:lstStyle/>
                  <a:p>
                    <a:pPr>
                      <a:defRPr sz="800">
                        <a:latin typeface="Nexa Book"/>
                      </a:defRPr>
                    </a:pPr>
                    <a:r>
                      <a:t>6.0 %</a:t>
                    </a:r>
                  </a:p>
                </c:rich>
              </c:tx>
              <c:dLblPos val="ctr"/>
              <c:showLegendKey val="0"/>
              <c:showVal val="1"/>
              <c:showCatName val="0"/>
              <c:showSerName val="0"/>
              <c:showPercent val="0"/>
              <c:showBubbleSize val="0"/>
            </c:dLbl>
            <c:dLbl>
              <c:idx val="5"/>
              <c:tx>
                <c:rich>
                  <a:bodyPr/>
                  <a:lstStyle/>
                  <a:p>
                    <a:pPr>
                      <a:defRPr sz="800">
                        <a:latin typeface="Nexa Book"/>
                      </a:defRPr>
                    </a:pPr>
                    <a:r>
                      <a:t>3.6 %</a:t>
                    </a:r>
                  </a:p>
                </c:rich>
              </c:tx>
              <c:dLblPos val="ctr"/>
              <c:showLegendKey val="0"/>
              <c:showVal val="1"/>
              <c:showCatName val="0"/>
              <c:showSerName val="0"/>
              <c:showPercent val="0"/>
              <c:showBubbleSize val="0"/>
            </c:dLbl>
            <c:dLbl>
              <c:idx val="6"/>
              <c:tx>
                <c:rich>
                  <a:bodyPr/>
                  <a:lstStyle/>
                  <a:p>
                    <a:pPr>
                      <a:defRPr sz="800">
                        <a:latin typeface="Nexa Book"/>
                      </a:defRPr>
                    </a:pPr>
                    <a:r>
                      <a:t>2.4 %</a:t>
                    </a:r>
                  </a:p>
                </c:rich>
              </c:tx>
              <c:dLblPos val="ctr"/>
              <c:showLegendKey val="0"/>
              <c:showVal val="1"/>
              <c:showCatName val="0"/>
              <c:showSerName val="0"/>
              <c:showPercent val="0"/>
              <c:showBubbleSize val="0"/>
            </c:dLbl>
            <c:dLbl>
              <c:idx val="7"/>
              <c:tx>
                <c:rich>
                  <a:bodyPr/>
                  <a:lstStyle/>
                  <a:p>
                    <a:pPr>
                      <a:defRPr sz="800">
                        <a:latin typeface="Nexa Book"/>
                      </a:defRPr>
                    </a:pPr>
                    <a:r>
                      <a:t>1.9 %</a:t>
                    </a:r>
                  </a:p>
                </c:rich>
              </c:tx>
              <c:dLblPos val="ctr"/>
              <c:showLegendKey val="0"/>
              <c:showVal val="1"/>
              <c:showCatName val="0"/>
              <c:showSerName val="0"/>
              <c:showPercent val="0"/>
              <c:showBubbleSize val="0"/>
            </c:dLbl>
            <c:dLbl>
              <c:idx val="8"/>
              <c:tx>
                <c:rich>
                  <a:bodyPr/>
                  <a:lstStyle/>
                  <a:p>
                    <a:pPr>
                      <a:defRPr sz="800">
                        <a:latin typeface="Nexa Book"/>
                      </a:defRPr>
                    </a:pPr>
                    <a:r>
                      <a:t>1.2 %</a:t>
                    </a:r>
                  </a:p>
                </c:rich>
              </c:tx>
              <c:dLblPos val="ctr"/>
              <c:showLegendKey val="0"/>
              <c:showVal val="1"/>
              <c:showCatName val="0"/>
              <c:showSerName val="0"/>
              <c:showPercent val="0"/>
              <c:showBubbleSize val="0"/>
            </c:dLbl>
            <c:dLbl>
              <c:idx val="9"/>
              <c:tx>
                <c:rich>
                  <a:bodyPr/>
                  <a:lstStyle/>
                  <a:p>
                    <a:pPr>
                      <a:defRPr sz="800">
                        <a:latin typeface="Nexa Book"/>
                      </a:defRPr>
                    </a:pPr>
                    <a:r>
                      <a:t>1.0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1.0</c:v>
                </c:pt>
                <c:pt idx="1">
                  <c:v>0.1708</c:v>
                </c:pt>
                <c:pt idx="2">
                  <c:v>0.1082</c:v>
                </c:pt>
                <c:pt idx="3">
                  <c:v>0.0609</c:v>
                </c:pt>
                <c:pt idx="4">
                  <c:v>0.0599</c:v>
                </c:pt>
                <c:pt idx="5">
                  <c:v>0.0364</c:v>
                </c:pt>
                <c:pt idx="6">
                  <c:v>0.0236</c:v>
                </c:pt>
                <c:pt idx="7">
                  <c:v>0.0189</c:v>
                </c:pt>
                <c:pt idx="8">
                  <c:v>0.0119</c:v>
                </c:pt>
                <c:pt idx="9">
                  <c:v>0.00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3.6 %</a:t>
                    </a:r>
                  </a:p>
                </c:rich>
              </c:tx>
              <c:dLblPos val="ctr"/>
              <c:showLegendKey val="0"/>
              <c:showVal val="1"/>
              <c:showCatName val="0"/>
              <c:showSerName val="0"/>
              <c:showPercent val="0"/>
              <c:showBubbleSize val="0"/>
            </c:dLbl>
            <c:dLbl>
              <c:idx val="2"/>
              <c:tx>
                <c:rich>
                  <a:bodyPr/>
                  <a:lstStyle/>
                  <a:p>
                    <a:pPr>
                      <a:defRPr sz="800">
                        <a:latin typeface="Nexa Book"/>
                      </a:defRPr>
                    </a:pPr>
                    <a:r>
                      <a:t>23.8 %</a:t>
                    </a:r>
                  </a:p>
                </c:rich>
              </c:tx>
              <c:dLblPos val="ctr"/>
              <c:showLegendKey val="0"/>
              <c:showVal val="1"/>
              <c:showCatName val="0"/>
              <c:showSerName val="0"/>
              <c:showPercent val="0"/>
              <c:showBubbleSize val="0"/>
            </c:dLbl>
            <c:dLbl>
              <c:idx val="3"/>
              <c:tx>
                <c:rich>
                  <a:bodyPr/>
                  <a:lstStyle/>
                  <a:p>
                    <a:pPr>
                      <a:defRPr sz="800">
                        <a:latin typeface="Nexa Book"/>
                      </a:defRPr>
                    </a:pPr>
                    <a:r>
                      <a:t>8.8 %</a:t>
                    </a:r>
                  </a:p>
                </c:rich>
              </c:tx>
              <c:dLblPos val="ctr"/>
              <c:showLegendKey val="0"/>
              <c:showVal val="1"/>
              <c:showCatName val="0"/>
              <c:showSerName val="0"/>
              <c:showPercent val="0"/>
              <c:showBubbleSize val="0"/>
            </c:dLbl>
            <c:dLbl>
              <c:idx val="4"/>
              <c:tx>
                <c:rich>
                  <a:bodyPr/>
                  <a:lstStyle/>
                  <a:p>
                    <a:pPr>
                      <a:defRPr sz="800">
                        <a:latin typeface="Nexa Book"/>
                      </a:defRPr>
                    </a:pPr>
                    <a:r>
                      <a:t>6.1 %</a:t>
                    </a:r>
                  </a:p>
                </c:rich>
              </c:tx>
              <c:dLblPos val="ctr"/>
              <c:showLegendKey val="0"/>
              <c:showVal val="1"/>
              <c:showCatName val="0"/>
              <c:showSerName val="0"/>
              <c:showPercent val="0"/>
              <c:showBubbleSize val="0"/>
            </c:dLbl>
            <c:dLbl>
              <c:idx val="5"/>
              <c:tx>
                <c:rich>
                  <a:bodyPr/>
                  <a:lstStyle/>
                  <a:p>
                    <a:pPr>
                      <a:defRPr sz="800">
                        <a:latin typeface="Nexa Book"/>
                      </a:defRPr>
                    </a:pPr>
                    <a:r>
                      <a:t>5.0 %</a:t>
                    </a:r>
                  </a:p>
                </c:rich>
              </c:tx>
              <c:dLblPos val="ctr"/>
              <c:showLegendKey val="0"/>
              <c:showVal val="1"/>
              <c:showCatName val="0"/>
              <c:showSerName val="0"/>
              <c:showPercent val="0"/>
              <c:showBubbleSize val="0"/>
            </c:dLbl>
            <c:dLbl>
              <c:idx val="6"/>
              <c:tx>
                <c:rich>
                  <a:bodyPr/>
                  <a:lstStyle/>
                  <a:p>
                    <a:pPr>
                      <a:defRPr sz="800">
                        <a:latin typeface="Nexa Book"/>
                      </a:defRPr>
                    </a:pPr>
                    <a:r>
                      <a:t>5.2 %</a:t>
                    </a:r>
                  </a:p>
                </c:rich>
              </c:tx>
              <c:dLblPos val="ctr"/>
              <c:showLegendKey val="0"/>
              <c:showVal val="1"/>
              <c:showCatName val="0"/>
              <c:showSerName val="0"/>
              <c:showPercent val="0"/>
              <c:showBubbleSize val="0"/>
            </c:dLbl>
            <c:dLbl>
              <c:idx val="7"/>
              <c:tx>
                <c:rich>
                  <a:bodyPr/>
                  <a:lstStyle/>
                  <a:p>
                    <a:pPr>
                      <a:defRPr sz="800">
                        <a:latin typeface="Nexa Book"/>
                      </a:defRPr>
                    </a:pPr>
                    <a:r>
                      <a:t>3.3 %</a:t>
                    </a:r>
                  </a:p>
                </c:rich>
              </c:tx>
              <c:dLblPos val="ctr"/>
              <c:showLegendKey val="0"/>
              <c:showVal val="1"/>
              <c:showCatName val="0"/>
              <c:showSerName val="0"/>
              <c:showPercent val="0"/>
              <c:showBubbleSize val="0"/>
            </c:dLbl>
            <c:dLbl>
              <c:idx val="8"/>
              <c:tx>
                <c:rich>
                  <a:bodyPr/>
                  <a:lstStyle/>
                  <a:p>
                    <a:pPr>
                      <a:defRPr sz="800">
                        <a:latin typeface="Nexa Book"/>
                      </a:defRPr>
                    </a:pPr>
                    <a:r>
                      <a:t>2.3 %</a:t>
                    </a:r>
                  </a:p>
                </c:rich>
              </c:tx>
              <c:dLblPos val="ctr"/>
              <c:showLegendKey val="0"/>
              <c:showVal val="1"/>
              <c:showCatName val="0"/>
              <c:showSerName val="0"/>
              <c:showPercent val="0"/>
              <c:showBubbleSize val="0"/>
            </c:dLbl>
            <c:dLbl>
              <c:idx val="9"/>
              <c:tx>
                <c:rich>
                  <a:bodyPr/>
                  <a:lstStyle/>
                  <a:p>
                    <a:pPr>
                      <a:defRPr sz="800">
                        <a:latin typeface="Nexa Book"/>
                      </a:defRPr>
                    </a:pPr>
                    <a:r>
                      <a:t>1.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1.0</c:v>
                </c:pt>
                <c:pt idx="1">
                  <c:v>0.4363</c:v>
                </c:pt>
                <c:pt idx="2">
                  <c:v>0.2377</c:v>
                </c:pt>
                <c:pt idx="3">
                  <c:v>0.0877</c:v>
                </c:pt>
                <c:pt idx="4">
                  <c:v>0.0612</c:v>
                </c:pt>
                <c:pt idx="5">
                  <c:v>0.0498</c:v>
                </c:pt>
                <c:pt idx="6">
                  <c:v>0.0525</c:v>
                </c:pt>
                <c:pt idx="7">
                  <c:v>0.0331</c:v>
                </c:pt>
                <c:pt idx="8">
                  <c:v>0.023</c:v>
                </c:pt>
                <c:pt idx="9">
                  <c:v>0.01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6</a:t>
                    </a:r>
                  </a:p>
                </c:rich>
              </c:tx>
              <c:dLblPos val="ctr"/>
              <c:showLegendKey val="0"/>
              <c:showVal val="1"/>
              <c:showCatName val="0"/>
              <c:showSerName val="0"/>
              <c:showPercent val="0"/>
              <c:showBubbleSize val="0"/>
            </c:dLbl>
            <c:dLbl>
              <c:idx val="1"/>
              <c:tx>
                <c:rich>
                  <a:bodyPr/>
                  <a:lstStyle/>
                  <a:p>
                    <a:pPr>
                      <a:defRPr sz="800">
                        <a:latin typeface="Nexa Book"/>
                      </a:defRPr>
                    </a:pPr>
                    <a:r>
                      <a:t>3</a:t>
                    </a:r>
                  </a:p>
                </c:rich>
              </c:tx>
              <c:dLblPos val="ctr"/>
              <c:showLegendKey val="0"/>
              <c:showVal val="1"/>
              <c:showCatName val="0"/>
              <c:showSerName val="0"/>
              <c:showPercent val="0"/>
              <c:showBubbleSize val="0"/>
            </c:dLbl>
            <c:dLbl>
              <c:idx val="2"/>
              <c:tx>
                <c:rich>
                  <a:bodyPr/>
                  <a:lstStyle/>
                  <a:p>
                    <a:pPr>
                      <a:defRPr sz="800">
                        <a:latin typeface="Nexa Book"/>
                      </a:defRPr>
                    </a:pPr>
                    <a:r>
                      <a:t>2</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p>
                </c:rich>
              </c:tx>
              <c:dLblPos val="ctr"/>
              <c:showLegendKey val="0"/>
              <c:showVal val="1"/>
              <c:showCatName val="0"/>
              <c:showSerName val="0"/>
              <c:showPercent val="0"/>
              <c:showBubbleSize val="0"/>
            </c:dLbl>
            <c:dLbl>
              <c:idx val="8"/>
              <c:tx>
                <c:rich>
                  <a:bodyPr/>
                  <a:lstStyle/>
                  <a:p>
                    <a:pPr>
                      <a:defRPr sz="800">
                        <a:latin typeface="Nexa Book"/>
                      </a:defRPr>
                    </a:pP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16233548.0</c:v>
                </c:pt>
                <c:pt idx="1">
                  <c:v>2773327.0</c:v>
                </c:pt>
                <c:pt idx="2">
                  <c:v>1756592.0</c:v>
                </c:pt>
                <c:pt idx="3">
                  <c:v>988827.0</c:v>
                </c:pt>
                <c:pt idx="4">
                  <c:v>971917.0</c:v>
                </c:pt>
                <c:pt idx="5">
                  <c:v>590603.0</c:v>
                </c:pt>
                <c:pt idx="6">
                  <c:v>382659.0</c:v>
                </c:pt>
                <c:pt idx="7">
                  <c:v>306611.0</c:v>
                </c:pt>
                <c:pt idx="8">
                  <c:v>192695.0</c:v>
                </c:pt>
                <c:pt idx="9">
                  <c:v>155517.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a:t>
                    </a:r>
                  </a:p>
                </c:rich>
              </c:tx>
              <c:dLblPos val="ctr"/>
              <c:showLegendKey val="0"/>
              <c:showVal val="1"/>
              <c:showCatName val="0"/>
              <c:showSerName val="0"/>
              <c:showPercent val="0"/>
              <c:showBubbleSize val="0"/>
            </c:dLbl>
            <c:dLbl>
              <c:idx val="1"/>
              <c:tx>
                <c:rich>
                  <a:bodyPr/>
                  <a:lstStyle/>
                  <a:p>
                    <a:pPr>
                      <a:defRPr sz="800">
                        <a:latin typeface="Nexa Book"/>
                      </a:defRPr>
                    </a:pPr>
                    <a:r>
                      <a:t>0.2</a:t>
                    </a:r>
                  </a:p>
                </c:rich>
              </c:tx>
              <c:dLblPos val="ctr"/>
              <c:showLegendKey val="0"/>
              <c:showVal val="1"/>
              <c:showCatName val="0"/>
              <c:showSerName val="0"/>
              <c:showPercent val="0"/>
              <c:showBubbleSize val="0"/>
            </c:dLbl>
            <c:dLbl>
              <c:idx val="2"/>
              <c:tx>
                <c:rich>
                  <a:bodyPr/>
                  <a:lstStyle/>
                  <a:p>
                    <a:pPr>
                      <a:defRPr sz="800">
                        <a:latin typeface="Nexa Book"/>
                      </a:defRPr>
                    </a:pPr>
                    <a:r>
                      <a:t>0.1</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dLbl>
              <c:idx val="7"/>
              <c:tx>
                <c:rich>
                  <a:bodyPr/>
                  <a:lstStyle/>
                  <a:p>
                    <a:pPr>
                      <a:defRPr sz="800">
                        <a:latin typeface="Nexa Book"/>
                      </a:defRPr>
                    </a:pPr>
                    <a:r>
                      <a:t>0.0</a:t>
                    </a:r>
                  </a:p>
                </c:rich>
              </c:tx>
              <c:dLblPos val="ctr"/>
              <c:showLegendKey val="0"/>
              <c:showVal val="1"/>
              <c:showCatName val="0"/>
              <c:showSerName val="0"/>
              <c:showPercent val="0"/>
              <c:showBubbleSize val="0"/>
            </c:dLbl>
            <c:dLbl>
              <c:idx val="8"/>
              <c:tx>
                <c:rich>
                  <a:bodyPr/>
                  <a:lstStyle/>
                  <a:p>
                    <a:pPr>
                      <a:defRPr sz="800">
                        <a:latin typeface="Nexa Book"/>
                      </a:defRPr>
                    </a:pPr>
                    <a:r>
                      <a:t>0.0</a:t>
                    </a:r>
                  </a:p>
                </c:rich>
              </c:tx>
              <c:dLblPos val="ctr"/>
              <c:showLegendKey val="0"/>
              <c:showVal val="1"/>
              <c:showCatName val="0"/>
              <c:showSerName val="0"/>
              <c:showPercent val="0"/>
              <c:showBubbleSize val="0"/>
            </c:dLbl>
            <c:dLbl>
              <c:idx val="9"/>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510814.0</c:v>
                </c:pt>
                <c:pt idx="1">
                  <c:v>222872.0</c:v>
                </c:pt>
                <c:pt idx="2">
                  <c:v>121406.0</c:v>
                </c:pt>
                <c:pt idx="3">
                  <c:v>44783.0</c:v>
                </c:pt>
                <c:pt idx="4">
                  <c:v>31264.0</c:v>
                </c:pt>
                <c:pt idx="5">
                  <c:v>25425.0</c:v>
                </c:pt>
                <c:pt idx="6">
                  <c:v>26813.0</c:v>
                </c:pt>
                <c:pt idx="7">
                  <c:v>16923.0</c:v>
                </c:pt>
                <c:pt idx="8">
                  <c:v>11766.0</c:v>
                </c:pt>
                <c:pt idx="9">
                  <c:v>9562.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5.3%</a:t>
                    </a:r>
                  </a:p>
                </c:rich>
              </c:tx>
              <c:dLblPos val="ctr"/>
              <c:showLegendKey val="0"/>
              <c:showVal val="1"/>
              <c:showCatName val="0"/>
              <c:showSerName val="0"/>
              <c:showPercent val="0"/>
              <c:showBubbleSize val="0"/>
            </c:dLbl>
            <c:dLbl>
              <c:idx val="2"/>
              <c:tx>
                <c:rich>
                  <a:bodyPr/>
                  <a:lstStyle/>
                  <a:p>
                    <a:pPr>
                      <a:defRPr sz="800">
                        <a:latin typeface="Nexa Book"/>
                      </a:defRPr>
                    </a:pPr>
                    <a:r>
                      <a:t>-4.6%</a:t>
                    </a:r>
                  </a:p>
                </c:rich>
              </c:tx>
              <c:dLblPos val="ctr"/>
              <c:showLegendKey val="0"/>
              <c:showVal val="1"/>
              <c:showCatName val="0"/>
              <c:showSerName val="0"/>
              <c:showPercent val="0"/>
              <c:showBubbleSize val="0"/>
            </c:dLbl>
            <c:dLbl>
              <c:idx val="3"/>
              <c:tx>
                <c:rich>
                  <a:bodyPr/>
                  <a:lstStyle/>
                  <a:p>
                    <a:pPr>
                      <a:defRPr sz="800">
                        <a:latin typeface="Nexa Book"/>
                      </a:defRPr>
                    </a:pPr>
                    <a:r>
                      <a:t>-1.2%</a:t>
                    </a:r>
                  </a:p>
                </c:rich>
              </c:tx>
              <c:dLblPos val="ctr"/>
              <c:showLegendKey val="0"/>
              <c:showVal val="1"/>
              <c:showCatName val="0"/>
              <c:showSerName val="0"/>
              <c:showPercent val="0"/>
              <c:showBubbleSize val="0"/>
            </c:dLbl>
            <c:dLbl>
              <c:idx val="4"/>
              <c:tx>
                <c:rich>
                  <a:bodyPr/>
                  <a:lstStyle/>
                  <a:p>
                    <a:pPr>
                      <a:defRPr sz="800">
                        <a:latin typeface="Nexa Book"/>
                      </a:defRPr>
                    </a:pPr>
                    <a:r>
                      <a:t>-2.7%</a:t>
                    </a:r>
                  </a:p>
                </c:rich>
              </c:tx>
              <c:dLblPos val="ctr"/>
              <c:showLegendKey val="0"/>
              <c:showVal val="1"/>
              <c:showCatName val="0"/>
              <c:showSerName val="0"/>
              <c:showPercent val="0"/>
              <c:showBubbleSize val="0"/>
            </c:dLbl>
            <c:dLbl>
              <c:idx val="5"/>
              <c:tx>
                <c:rich>
                  <a:bodyPr/>
                  <a:lstStyle/>
                  <a:p>
                    <a:pPr>
                      <a:defRPr sz="800">
                        <a:latin typeface="Nexa Book"/>
                      </a:defRPr>
                    </a:pPr>
                    <a:r>
                      <a:t>-1.3%</a:t>
                    </a:r>
                  </a:p>
                </c:rich>
              </c:tx>
              <c:dLblPos val="ctr"/>
              <c:showLegendKey val="0"/>
              <c:showVal val="1"/>
              <c:showCatName val="0"/>
              <c:showSerName val="0"/>
              <c:showPercent val="0"/>
              <c:showBubbleSize val="0"/>
            </c:dLbl>
            <c:dLbl>
              <c:idx val="6"/>
              <c:tx>
                <c:rich>
                  <a:bodyPr/>
                  <a:lstStyle/>
                  <a:p>
                    <a:pPr>
                      <a:defRPr sz="800">
                        <a:latin typeface="Nexa Book"/>
                      </a:defRPr>
                    </a:pPr>
                    <a:r>
                      <a:t>-0.3%</a:t>
                    </a:r>
                  </a:p>
                </c:rich>
              </c:tx>
              <c:dLblPos val="ctr"/>
              <c:showLegendKey val="0"/>
              <c:showVal val="1"/>
              <c:showCatName val="0"/>
              <c:showSerName val="0"/>
              <c:showPercent val="0"/>
              <c:showBubbleSize val="0"/>
            </c:dLbl>
            <c:dLbl>
              <c:idx val="7"/>
              <c:tx>
                <c:rich>
                  <a:bodyPr/>
                  <a:lstStyle/>
                  <a:p>
                    <a:pPr>
                      <a:defRPr sz="800">
                        <a:latin typeface="Nexa Book"/>
                      </a:defRPr>
                    </a:pPr>
                    <a:r>
                      <a:t>-0.4%</a:t>
                    </a:r>
                  </a:p>
                </c:rich>
              </c:tx>
              <c:dLblPos val="ctr"/>
              <c:showLegendKey val="0"/>
              <c:showVal val="1"/>
              <c:showCatName val="0"/>
              <c:showSerName val="0"/>
              <c:showPercent val="0"/>
              <c:showBubbleSize val="0"/>
            </c:dLbl>
            <c:dLbl>
              <c:idx val="8"/>
              <c:tx>
                <c:rich>
                  <a:bodyPr/>
                  <a:lstStyle/>
                  <a:p>
                    <a:pPr>
                      <a:defRPr sz="800">
                        <a:latin typeface="Nexa Book"/>
                      </a:defRPr>
                    </a:pPr>
                    <a:r>
                      <a:t>-0.2%</a:t>
                    </a:r>
                  </a:p>
                </c:rich>
              </c:tx>
              <c:dLblPos val="ctr"/>
              <c:showLegendKey val="0"/>
              <c:showVal val="1"/>
              <c:showCatName val="0"/>
              <c:showSerName val="0"/>
              <c:showPercent val="0"/>
              <c:showBubbleSize val="0"/>
            </c:dLbl>
            <c:dLbl>
              <c:idx val="9"/>
              <c:tx>
                <c:rich>
                  <a:bodyPr/>
                  <a:lstStyle/>
                  <a:p>
                    <a:pPr>
                      <a:defRPr sz="800">
                        <a:latin typeface="Nexa Book"/>
                      </a:defRPr>
                    </a:pPr>
                    <a:r>
                      <a:t>-0.2%</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rand Tot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0.0</c:v>
                </c:pt>
                <c:pt idx="1">
                  <c:v>-0.0529</c:v>
                </c:pt>
                <c:pt idx="2">
                  <c:v>-0.046299999999999994</c:v>
                </c:pt>
                <c:pt idx="3">
                  <c:v>-0.012099999999999993</c:v>
                </c:pt>
                <c:pt idx="4">
                  <c:v>-0.026799999999999997</c:v>
                </c:pt>
                <c:pt idx="5">
                  <c:v>-0.012699999999999996</c:v>
                </c:pt>
                <c:pt idx="6">
                  <c:v>-0.0034999999999999996</c:v>
                </c:pt>
                <c:pt idx="7">
                  <c:v>-0.004</c:v>
                </c:pt>
                <c:pt idx="8">
                  <c:v>-0.001899999999999999</c:v>
                </c:pt>
                <c:pt idx="9">
                  <c:v>-0.001800000000000001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1%</a:t>
                    </a:r>
                  </a:p>
                </c:rich>
              </c:tx>
              <c:dLblPos val="ctr"/>
              <c:showLegendKey val="0"/>
              <c:showVal val="1"/>
              <c:showCatName val="0"/>
              <c:showSerName val="0"/>
              <c:showPercent val="0"/>
              <c:showBubbleSize val="0"/>
            </c:dLbl>
            <c:dLbl>
              <c:idx val="2"/>
              <c:tx>
                <c:rich>
                  <a:bodyPr/>
                  <a:lstStyle/>
                  <a:p>
                    <a:pPr>
                      <a:defRPr sz="800">
                        <a:latin typeface="Nexa Book"/>
                      </a:defRPr>
                    </a:pPr>
                    <a:r>
                      <a:t>-0.8%</a:t>
                    </a:r>
                  </a:p>
                </c:rich>
              </c:tx>
              <c:dLblPos val="ctr"/>
              <c:showLegendKey val="0"/>
              <c:showVal val="1"/>
              <c:showCatName val="0"/>
              <c:showSerName val="0"/>
              <c:showPercent val="0"/>
              <c:showBubbleSize val="0"/>
            </c:dLbl>
            <c:dLbl>
              <c:idx val="3"/>
              <c:tx>
                <c:rich>
                  <a:bodyPr/>
                  <a:lstStyle/>
                  <a:p>
                    <a:pPr>
                      <a:defRPr sz="800">
                        <a:latin typeface="Nexa Book"/>
                      </a:defRPr>
                    </a:pPr>
                    <a:r>
                      <a:t>+0.6%</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0.6%</a:t>
                    </a:r>
                  </a:p>
                </c:rich>
              </c:tx>
              <c:dLblPos val="ctr"/>
              <c:showLegendKey val="0"/>
              <c:showVal val="1"/>
              <c:showCatName val="0"/>
              <c:showSerName val="0"/>
              <c:showPercent val="0"/>
              <c:showBubbleSize val="0"/>
            </c:dLbl>
            <c:dLbl>
              <c:idx val="6"/>
              <c:tx>
                <c:rich>
                  <a:bodyPr/>
                  <a:lstStyle/>
                  <a:p>
                    <a:pPr>
                      <a:defRPr sz="800">
                        <a:latin typeface="Nexa Book"/>
                      </a:defRPr>
                    </a:pPr>
                    <a:r>
                      <a:t>+1.1%</a:t>
                    </a:r>
                  </a:p>
                </c:rich>
              </c:tx>
              <c:dLblPos val="ctr"/>
              <c:showLegendKey val="0"/>
              <c:showVal val="1"/>
              <c:showCatName val="0"/>
              <c:showSerName val="0"/>
              <c:showPercent val="0"/>
              <c:showBubbleSize val="0"/>
            </c:dLbl>
            <c:dLbl>
              <c:idx val="7"/>
              <c:tx>
                <c:rich>
                  <a:bodyPr/>
                  <a:lstStyle/>
                  <a:p>
                    <a:pPr>
                      <a:defRPr sz="800">
                        <a:latin typeface="Nexa Book"/>
                      </a:defRPr>
                    </a:pPr>
                    <a:r>
                      <a:t>-0.3%</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r>
                      <a:t>-0.3%</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rand Total</c:v>
                </c:pt>
                <c:pt idx="1">
                  <c:v>NICOLAS QCN</c:v>
                </c:pt>
                <c:pt idx="2">
                  <c:v>NICOLAS VCN</c:v>
                </c:pt>
                <c:pt idx="3">
                  <c:v>NICOLAS QCT</c:v>
                </c:pt>
                <c:pt idx="4">
                  <c:v>NICOLAS QCA</c:v>
                </c:pt>
                <c:pt idx="5">
                  <c:v>NICOLAS CCP</c:v>
                </c:pt>
                <c:pt idx="6">
                  <c:v>NICOLAS RN</c:v>
                </c:pt>
                <c:pt idx="7">
                  <c:v>NICOLAS VCT</c:v>
                </c:pt>
                <c:pt idx="8">
                  <c:v>NICOLAS CCC</c:v>
                </c:pt>
                <c:pt idx="9">
                  <c:v>NICOLAS CCQ</c:v>
                </c:pt>
              </c:strCache>
            </c:strRef>
          </c:cat>
          <c:val>
            <c:numRef>
              <c:f>Sheet1!$B$2:$B$11</c:f>
              <c:numCache>
                <c:formatCode>General</c:formatCode>
                <c:ptCount val="10"/>
                <c:pt idx="0">
                  <c:v>0.0</c:v>
                </c:pt>
                <c:pt idx="1">
                  <c:v>0.0009000000000000119</c:v>
                </c:pt>
                <c:pt idx="2">
                  <c:v>-0.007700000000000012</c:v>
                </c:pt>
                <c:pt idx="3">
                  <c:v>0.0063</c:v>
                </c:pt>
                <c:pt idx="4">
                  <c:v>0.001799999999999996</c:v>
                </c:pt>
                <c:pt idx="5">
                  <c:v>-0.006400000000000003</c:v>
                </c:pt>
                <c:pt idx="6">
                  <c:v>0.010700000000000001</c:v>
                </c:pt>
                <c:pt idx="7">
                  <c:v>-0.0033000000000000043</c:v>
                </c:pt>
                <c:pt idx="8">
                  <c:v>0.0006999999999999992</c:v>
                </c:pt>
                <c:pt idx="9">
                  <c:v>-0.003099999999999998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8040199620814686</c:v>
                </c:pt>
                <c:pt idx="1">
                  <c:v>-0.25566749390494475</c:v>
                </c:pt>
                <c:pt idx="2">
                  <c:v>0.07799328650994983</c:v>
                </c:pt>
                <c:pt idx="3">
                  <c:v>0.04777536258037772</c:v>
                </c:pt>
                <c:pt idx="4">
                  <c:v>0.0494968486064703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4</c:f>
              <c:numCache>
                <c:formatCode>General</c:formatCode>
                <c:ptCount val="3"/>
                <c:pt idx="0">
                  <c:v>0.08040199620814686</c:v>
                </c:pt>
                <c:pt idx="1">
                  <c:v>-0.25566749390494475</c:v>
                </c:pt>
                <c:pt idx="2">
                  <c:v>0.175265497696797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9.4 %</a:t>
                    </a:r>
                  </a:p>
                </c:rich>
              </c:tx>
              <c:dLblPos val="ctr"/>
              <c:showLegendKey val="0"/>
              <c:showVal val="1"/>
              <c:showCatName val="0"/>
              <c:showSerName val="0"/>
              <c:showPercent val="0"/>
              <c:showBubbleSize val="0"/>
            </c:dLbl>
            <c:dLbl>
              <c:idx val="2"/>
              <c:tx>
                <c:rich>
                  <a:bodyPr/>
                  <a:lstStyle/>
                  <a:p>
                    <a:pPr>
                      <a:defRPr sz="800">
                        <a:latin typeface="Nexa Book"/>
                      </a:defRPr>
                    </a:pPr>
                    <a:r>
                      <a:t>19.1 %</a:t>
                    </a:r>
                  </a:p>
                </c:rich>
              </c:tx>
              <c:dLblPos val="ctr"/>
              <c:showLegendKey val="0"/>
              <c:showVal val="1"/>
              <c:showCatName val="0"/>
              <c:showSerName val="0"/>
              <c:showPercent val="0"/>
              <c:showBubbleSize val="0"/>
            </c:dLbl>
            <c:dLbl>
              <c:idx val="3"/>
              <c:tx>
                <c:rich>
                  <a:bodyPr/>
                  <a:lstStyle/>
                  <a:p>
                    <a:pPr>
                      <a:defRPr sz="800">
                        <a:latin typeface="Nexa Book"/>
                      </a:defRPr>
                    </a:pPr>
                    <a:r>
                      <a:t>12.2 %</a:t>
                    </a:r>
                  </a:p>
                </c:rich>
              </c:tx>
              <c:dLblPos val="ctr"/>
              <c:showLegendKey val="0"/>
              <c:showVal val="1"/>
              <c:showCatName val="0"/>
              <c:showSerName val="0"/>
              <c:showPercent val="0"/>
              <c:showBubbleSize val="0"/>
            </c:dLbl>
            <c:dLbl>
              <c:idx val="4"/>
              <c:tx>
                <c:rich>
                  <a:bodyPr/>
                  <a:lstStyle/>
                  <a:p>
                    <a:pPr>
                      <a:defRPr sz="800">
                        <a:latin typeface="Nexa Book"/>
                      </a:defRPr>
                    </a:pPr>
                    <a:r>
                      <a:t>6.1 %</a:t>
                    </a:r>
                  </a:p>
                </c:rich>
              </c:tx>
              <c:dLblPos val="ctr"/>
              <c:showLegendKey val="0"/>
              <c:showVal val="1"/>
              <c:showCatName val="0"/>
              <c:showSerName val="0"/>
              <c:showPercent val="0"/>
              <c:showBubbleSize val="0"/>
            </c:dLbl>
            <c:dLbl>
              <c:idx val="5"/>
              <c:tx>
                <c:rich>
                  <a:bodyPr/>
                  <a:lstStyle/>
                  <a:p>
                    <a:pPr>
                      <a:defRPr sz="800">
                        <a:latin typeface="Nexa Book"/>
                      </a:defRPr>
                    </a:pPr>
                    <a:r>
                      <a:t>3.7 %</a:t>
                    </a:r>
                  </a:p>
                </c:rich>
              </c:tx>
              <c:dLblPos val="ctr"/>
              <c:showLegendKey val="0"/>
              <c:showVal val="1"/>
              <c:showCatName val="0"/>
              <c:showSerName val="0"/>
              <c:showPercent val="0"/>
              <c:showBubbleSize val="0"/>
            </c:dLbl>
            <c:dLbl>
              <c:idx val="6"/>
              <c:tx>
                <c:rich>
                  <a:bodyPr/>
                  <a:lstStyle/>
                  <a:p>
                    <a:pPr>
                      <a:defRPr sz="800">
                        <a:latin typeface="Nexa Book"/>
                      </a:defRPr>
                    </a:pPr>
                    <a:r>
                      <a:t>3.6 %</a:t>
                    </a:r>
                  </a:p>
                </c:rich>
              </c:tx>
              <c:dLblPos val="ctr"/>
              <c:showLegendKey val="0"/>
              <c:showVal val="1"/>
              <c:showCatName val="0"/>
              <c:showSerName val="0"/>
              <c:showPercent val="0"/>
              <c:showBubbleSize val="0"/>
            </c:dLbl>
            <c:dLbl>
              <c:idx val="7"/>
              <c:tx>
                <c:rich>
                  <a:bodyPr/>
                  <a:lstStyle/>
                  <a:p>
                    <a:pPr>
                      <a:defRPr sz="800">
                        <a:latin typeface="Nexa Book"/>
                      </a:defRPr>
                    </a:pPr>
                    <a:r>
                      <a:t>3.0 %</a:t>
                    </a:r>
                  </a:p>
                </c:rich>
              </c:tx>
              <c:dLblPos val="ctr"/>
              <c:showLegendKey val="0"/>
              <c:showVal val="1"/>
              <c:showCatName val="0"/>
              <c:showSerName val="0"/>
              <c:showPercent val="0"/>
              <c:showBubbleSize val="0"/>
            </c:dLbl>
            <c:dLbl>
              <c:idx val="8"/>
              <c:tx>
                <c:rich>
                  <a:bodyPr/>
                  <a:lstStyle/>
                  <a:p>
                    <a:pPr>
                      <a:defRPr sz="800">
                        <a:latin typeface="Nexa Book"/>
                      </a:defRPr>
                    </a:pPr>
                    <a:r>
                      <a:t>1.8 %</a:t>
                    </a:r>
                  </a:p>
                </c:rich>
              </c:tx>
              <c:dLblPos val="ctr"/>
              <c:showLegendKey val="0"/>
              <c:showVal val="1"/>
              <c:showCatName val="0"/>
              <c:showSerName val="0"/>
              <c:showPercent val="0"/>
              <c:showBubbleSize val="0"/>
            </c:dLbl>
            <c:dLbl>
              <c:idx val="9"/>
              <c:tx>
                <c:rich>
                  <a:bodyPr/>
                  <a:lstStyle/>
                  <a:p>
                    <a:pPr>
                      <a:defRPr sz="800">
                        <a:latin typeface="Nexa Book"/>
                      </a:defRPr>
                    </a:pPr>
                    <a:r>
                      <a:t>1.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1.0</c:v>
                </c:pt>
                <c:pt idx="1">
                  <c:v>0.4935</c:v>
                </c:pt>
                <c:pt idx="2">
                  <c:v>0.1912</c:v>
                </c:pt>
                <c:pt idx="3">
                  <c:v>0.1218</c:v>
                </c:pt>
                <c:pt idx="4">
                  <c:v>0.0611</c:v>
                </c:pt>
                <c:pt idx="5">
                  <c:v>0.0366</c:v>
                </c:pt>
                <c:pt idx="6">
                  <c:v>0.0358</c:v>
                </c:pt>
                <c:pt idx="7">
                  <c:v>0.0303</c:v>
                </c:pt>
                <c:pt idx="8">
                  <c:v>0.0183</c:v>
                </c:pt>
                <c:pt idx="9">
                  <c:v>0.01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1.3 %</a:t>
                    </a:r>
                  </a:p>
                </c:rich>
              </c:tx>
              <c:dLblPos val="ctr"/>
              <c:showLegendKey val="0"/>
              <c:showVal val="1"/>
              <c:showCatName val="0"/>
              <c:showSerName val="0"/>
              <c:showPercent val="0"/>
              <c:showBubbleSize val="0"/>
            </c:dLbl>
            <c:dLbl>
              <c:idx val="2"/>
              <c:tx>
                <c:rich>
                  <a:bodyPr/>
                  <a:lstStyle/>
                  <a:p>
                    <a:pPr>
                      <a:defRPr sz="800">
                        <a:latin typeface="Nexa Book"/>
                      </a:defRPr>
                    </a:pPr>
                    <a:r>
                      <a:t>25.4 %</a:t>
                    </a:r>
                  </a:p>
                </c:rich>
              </c:tx>
              <c:dLblPos val="ctr"/>
              <c:showLegendKey val="0"/>
              <c:showVal val="1"/>
              <c:showCatName val="0"/>
              <c:showSerName val="0"/>
              <c:showPercent val="0"/>
              <c:showBubbleSize val="0"/>
            </c:dLbl>
            <c:dLbl>
              <c:idx val="3"/>
              <c:tx>
                <c:rich>
                  <a:bodyPr/>
                  <a:lstStyle/>
                  <a:p>
                    <a:pPr>
                      <a:defRPr sz="800">
                        <a:latin typeface="Nexa Book"/>
                      </a:defRPr>
                    </a:pPr>
                    <a:r>
                      <a:t>10.4 %</a:t>
                    </a:r>
                  </a:p>
                </c:rich>
              </c:tx>
              <c:dLblPos val="ctr"/>
              <c:showLegendKey val="0"/>
              <c:showVal val="1"/>
              <c:showCatName val="0"/>
              <c:showSerName val="0"/>
              <c:showPercent val="0"/>
              <c:showBubbleSize val="0"/>
            </c:dLbl>
            <c:dLbl>
              <c:idx val="4"/>
              <c:tx>
                <c:rich>
                  <a:bodyPr/>
                  <a:lstStyle/>
                  <a:p>
                    <a:pPr>
                      <a:defRPr sz="800">
                        <a:latin typeface="Nexa Book"/>
                      </a:defRPr>
                    </a:pPr>
                    <a:r>
                      <a:t>6.9 %</a:t>
                    </a:r>
                  </a:p>
                </c:rich>
              </c:tx>
              <c:dLblPos val="ctr"/>
              <c:showLegendKey val="0"/>
              <c:showVal val="1"/>
              <c:showCatName val="0"/>
              <c:showSerName val="0"/>
              <c:showPercent val="0"/>
              <c:showBubbleSize val="0"/>
            </c:dLbl>
            <c:dLbl>
              <c:idx val="5"/>
              <c:tx>
                <c:rich>
                  <a:bodyPr/>
                  <a:lstStyle/>
                  <a:p>
                    <a:pPr>
                      <a:defRPr sz="800">
                        <a:latin typeface="Nexa Book"/>
                      </a:defRPr>
                    </a:pPr>
                    <a:r>
                      <a:t>3.6 %</a:t>
                    </a:r>
                  </a:p>
                </c:rich>
              </c:tx>
              <c:dLblPos val="ctr"/>
              <c:showLegendKey val="0"/>
              <c:showVal val="1"/>
              <c:showCatName val="0"/>
              <c:showSerName val="0"/>
              <c:showPercent val="0"/>
              <c:showBubbleSize val="0"/>
            </c:dLbl>
            <c:dLbl>
              <c:idx val="6"/>
              <c:tx>
                <c:rich>
                  <a:bodyPr/>
                  <a:lstStyle/>
                  <a:p>
                    <a:pPr>
                      <a:defRPr sz="800">
                        <a:latin typeface="Nexa Book"/>
                      </a:defRPr>
                    </a:pPr>
                    <a:r>
                      <a:t>3.7 %</a:t>
                    </a:r>
                  </a:p>
                </c:rich>
              </c:tx>
              <c:dLblPos val="ctr"/>
              <c:showLegendKey val="0"/>
              <c:showVal val="1"/>
              <c:showCatName val="0"/>
              <c:showSerName val="0"/>
              <c:showPercent val="0"/>
              <c:showBubbleSize val="0"/>
            </c:dLbl>
            <c:dLbl>
              <c:idx val="7"/>
              <c:tx>
                <c:rich>
                  <a:bodyPr/>
                  <a:lstStyle/>
                  <a:p>
                    <a:pPr>
                      <a:defRPr sz="800">
                        <a:latin typeface="Nexa Book"/>
                      </a:defRPr>
                    </a:pPr>
                    <a:r>
                      <a:t>5.5 %</a:t>
                    </a:r>
                  </a:p>
                </c:rich>
              </c:tx>
              <c:dLblPos val="ctr"/>
              <c:showLegendKey val="0"/>
              <c:showVal val="1"/>
              <c:showCatName val="0"/>
              <c:showSerName val="0"/>
              <c:showPercent val="0"/>
              <c:showBubbleSize val="0"/>
            </c:dLbl>
            <c:dLbl>
              <c:idx val="8"/>
              <c:tx>
                <c:rich>
                  <a:bodyPr/>
                  <a:lstStyle/>
                  <a:p>
                    <a:pPr>
                      <a:defRPr sz="800">
                        <a:latin typeface="Nexa Book"/>
                      </a:defRPr>
                    </a:pPr>
                    <a:r>
                      <a:t>2.2 %</a:t>
                    </a:r>
                  </a:p>
                </c:rich>
              </c:tx>
              <c:dLblPos val="ctr"/>
              <c:showLegendKey val="0"/>
              <c:showVal val="1"/>
              <c:showCatName val="0"/>
              <c:showSerName val="0"/>
              <c:showPercent val="0"/>
              <c:showBubbleSize val="0"/>
            </c:dLbl>
            <c:dLbl>
              <c:idx val="9"/>
              <c:tx>
                <c:rich>
                  <a:bodyPr/>
                  <a:lstStyle/>
                  <a:p>
                    <a:pPr>
                      <a:defRPr sz="800">
                        <a:latin typeface="Nexa Book"/>
                      </a:defRPr>
                    </a:pPr>
                    <a:r>
                      <a:t>1.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1.0</c:v>
                </c:pt>
                <c:pt idx="1">
                  <c:v>0.4126</c:v>
                </c:pt>
                <c:pt idx="2">
                  <c:v>0.2539</c:v>
                </c:pt>
                <c:pt idx="3">
                  <c:v>0.1041</c:v>
                </c:pt>
                <c:pt idx="4">
                  <c:v>0.0691</c:v>
                </c:pt>
                <c:pt idx="5">
                  <c:v>0.0359</c:v>
                </c:pt>
                <c:pt idx="6">
                  <c:v>0.0369</c:v>
                </c:pt>
                <c:pt idx="7">
                  <c:v>0.0547</c:v>
                </c:pt>
                <c:pt idx="8">
                  <c:v>0.0222</c:v>
                </c:pt>
                <c:pt idx="9">
                  <c:v>0.01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p>
                </c:rich>
              </c:tx>
              <c:dLblPos val="ctr"/>
              <c:showLegendKey val="0"/>
              <c:showVal val="1"/>
              <c:showCatName val="0"/>
              <c:showSerName val="0"/>
              <c:showPercent val="0"/>
              <c:showBubbleSize val="0"/>
            </c:dLbl>
            <c:dLbl>
              <c:idx val="8"/>
              <c:tx>
                <c:rich>
                  <a:bodyPr/>
                  <a:lstStyle/>
                  <a:p>
                    <a:pPr>
                      <a:defRPr sz="800">
                        <a:latin typeface="Nexa Book"/>
                      </a:defRPr>
                    </a:pP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2889115.0</c:v>
                </c:pt>
                <c:pt idx="1">
                  <c:v>1425828.0</c:v>
                </c:pt>
                <c:pt idx="2">
                  <c:v>552330.0</c:v>
                </c:pt>
                <c:pt idx="3">
                  <c:v>351913.0</c:v>
                </c:pt>
                <c:pt idx="4">
                  <c:v>176492.0</c:v>
                </c:pt>
                <c:pt idx="5">
                  <c:v>105700.0</c:v>
                </c:pt>
                <c:pt idx="6">
                  <c:v>103497.0</c:v>
                </c:pt>
                <c:pt idx="7">
                  <c:v>87594.0</c:v>
                </c:pt>
                <c:pt idx="8">
                  <c:v>52787.0</c:v>
                </c:pt>
                <c:pt idx="9">
                  <c:v>32974.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1</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dLbl>
              <c:idx val="7"/>
              <c:tx>
                <c:rich>
                  <a:bodyPr/>
                  <a:lstStyle/>
                  <a:p>
                    <a:pPr>
                      <a:defRPr sz="800">
                        <a:latin typeface="Nexa Book"/>
                      </a:defRPr>
                    </a:pPr>
                    <a:r>
                      <a:t>0.0</a:t>
                    </a:r>
                  </a:p>
                </c:rich>
              </c:tx>
              <c:dLblPos val="ctr"/>
              <c:showLegendKey val="0"/>
              <c:showVal val="1"/>
              <c:showCatName val="0"/>
              <c:showSerName val="0"/>
              <c:showPercent val="0"/>
              <c:showBubbleSize val="0"/>
            </c:dLbl>
            <c:dLbl>
              <c:idx val="8"/>
              <c:tx>
                <c:rich>
                  <a:bodyPr/>
                  <a:lstStyle/>
                  <a:p>
                    <a:pPr>
                      <a:defRPr sz="800">
                        <a:latin typeface="Nexa Book"/>
                      </a:defRPr>
                    </a:pPr>
                    <a:r>
                      <a:t>0.0</a:t>
                    </a:r>
                  </a:p>
                </c:rich>
              </c:tx>
              <c:dLblPos val="ctr"/>
              <c:showLegendKey val="0"/>
              <c:showVal val="1"/>
              <c:showCatName val="0"/>
              <c:showSerName val="0"/>
              <c:showPercent val="0"/>
              <c:showBubbleSize val="0"/>
            </c:dLbl>
            <c:dLbl>
              <c:idx val="9"/>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Grand Tot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70054.0</c:v>
                </c:pt>
                <c:pt idx="1">
                  <c:v>28903.0</c:v>
                </c:pt>
                <c:pt idx="2">
                  <c:v>17790.0</c:v>
                </c:pt>
                <c:pt idx="3">
                  <c:v>7293.0</c:v>
                </c:pt>
                <c:pt idx="4">
                  <c:v>4840.0</c:v>
                </c:pt>
                <c:pt idx="5">
                  <c:v>2515.0</c:v>
                </c:pt>
                <c:pt idx="6">
                  <c:v>2582.0</c:v>
                </c:pt>
                <c:pt idx="7">
                  <c:v>3834.0</c:v>
                </c:pt>
                <c:pt idx="8">
                  <c:v>1552.0</c:v>
                </c:pt>
                <c:pt idx="9">
                  <c:v>74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r>
                      <a:t>-0.4%</a:t>
                    </a:r>
                  </a:p>
                </c:rich>
              </c:tx>
              <c:dLblPos val="ctr"/>
              <c:showLegendKey val="0"/>
              <c:showVal val="1"/>
              <c:showCatName val="0"/>
              <c:showSerName val="0"/>
              <c:showPercent val="0"/>
              <c:showBubbleSize val="0"/>
            </c:dLbl>
            <c:dLbl>
              <c:idx val="3"/>
              <c:tx>
                <c:rich>
                  <a:bodyPr/>
                  <a:lstStyle/>
                  <a:p>
                    <a:pPr>
                      <a:defRPr sz="800">
                        <a:latin typeface="Nexa Book"/>
                      </a:defRPr>
                    </a:pPr>
                    <a:r>
                      <a:t>+0.8%</a:t>
                    </a:r>
                  </a:p>
                </c:rich>
              </c:tx>
              <c:dLblPos val="ctr"/>
              <c:showLegendKey val="0"/>
              <c:showVal val="1"/>
              <c:showCatName val="0"/>
              <c:showSerName val="0"/>
              <c:showPercent val="0"/>
              <c:showBubbleSize val="0"/>
            </c:dLbl>
            <c:dLbl>
              <c:idx val="4"/>
              <c:tx>
                <c:rich>
                  <a:bodyPr/>
                  <a:lstStyle/>
                  <a:p>
                    <a:pPr>
                      <a:defRPr sz="800">
                        <a:latin typeface="Nexa Book"/>
                      </a:defRPr>
                    </a:pPr>
                    <a:r>
                      <a:t>-0.1%</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r>
                      <a:t>-0.3%</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r>
                      <a:t>+0.1%</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rand Tot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0.0</c:v>
                </c:pt>
                <c:pt idx="1">
                  <c:v>-0.00030000000000002247</c:v>
                </c:pt>
                <c:pt idx="2">
                  <c:v>-0.003699999999999981</c:v>
                </c:pt>
                <c:pt idx="3">
                  <c:v>0.007700000000000012</c:v>
                </c:pt>
                <c:pt idx="4">
                  <c:v>-0.0013999999999999985</c:v>
                </c:pt>
                <c:pt idx="5">
                  <c:v>0.0001999999999999988</c:v>
                </c:pt>
                <c:pt idx="6">
                  <c:v>0.0</c:v>
                </c:pt>
                <c:pt idx="7">
                  <c:v>-0.002799999999999997</c:v>
                </c:pt>
                <c:pt idx="8">
                  <c:v>-0.0005000000000000004</c:v>
                </c:pt>
                <c:pt idx="9">
                  <c:v>0.000899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4.1%</a:t>
                    </a:r>
                  </a:p>
                </c:rich>
              </c:tx>
              <c:dLblPos val="ctr"/>
              <c:showLegendKey val="0"/>
              <c:showVal val="1"/>
              <c:showCatName val="0"/>
              <c:showSerName val="0"/>
              <c:showPercent val="0"/>
              <c:showBubbleSize val="0"/>
            </c:dLbl>
            <c:dLbl>
              <c:idx val="2"/>
              <c:tx>
                <c:rich>
                  <a:bodyPr/>
                  <a:lstStyle/>
                  <a:p>
                    <a:pPr>
                      <a:defRPr sz="800">
                        <a:latin typeface="Nexa Book"/>
                      </a:defRPr>
                    </a:pPr>
                    <a:r>
                      <a:t>+4.2%</a:t>
                    </a:r>
                  </a:p>
                </c:rich>
              </c:tx>
              <c:dLblPos val="ctr"/>
              <c:showLegendKey val="0"/>
              <c:showVal val="1"/>
              <c:showCatName val="0"/>
              <c:showSerName val="0"/>
              <c:showPercent val="0"/>
              <c:showBubbleSize val="0"/>
            </c:dLbl>
            <c:dLbl>
              <c:idx val="3"/>
              <c:tx>
                <c:rich>
                  <a:bodyPr/>
                  <a:lstStyle/>
                  <a:p>
                    <a:pPr>
                      <a:defRPr sz="800">
                        <a:latin typeface="Nexa Book"/>
                      </a:defRPr>
                    </a:pPr>
                    <a:r>
                      <a:t>+0.5%</a:t>
                    </a:r>
                  </a:p>
                </c:rich>
              </c:tx>
              <c:dLblPos val="ctr"/>
              <c:showLegendKey val="0"/>
              <c:showVal val="1"/>
              <c:showCatName val="0"/>
              <c:showSerName val="0"/>
              <c:showPercent val="0"/>
              <c:showBubbleSize val="0"/>
            </c:dLbl>
            <c:dLbl>
              <c:idx val="4"/>
              <c:tx>
                <c:rich>
                  <a:bodyPr/>
                  <a:lstStyle/>
                  <a:p>
                    <a:pPr>
                      <a:defRPr sz="800">
                        <a:latin typeface="Nexa Book"/>
                      </a:defRPr>
                    </a:pPr>
                    <a:r>
                      <a:t>+1.4%</a:t>
                    </a:r>
                  </a:p>
                </c:rich>
              </c:tx>
              <c:dLblPos val="ctr"/>
              <c:showLegendKey val="0"/>
              <c:showVal val="1"/>
              <c:showCatName val="0"/>
              <c:showSerName val="0"/>
              <c:showPercent val="0"/>
              <c:showBubbleSize val="0"/>
            </c:dLbl>
            <c:dLbl>
              <c:idx val="5"/>
              <c:tx>
                <c:rich>
                  <a:bodyPr/>
                  <a:lstStyle/>
                  <a:p>
                    <a:pPr>
                      <a:defRPr sz="800">
                        <a:latin typeface="Nexa Book"/>
                      </a:defRPr>
                    </a:pPr>
                    <a:r>
                      <a:t>-2.2%</a:t>
                    </a:r>
                  </a:p>
                </c:rich>
              </c:tx>
              <c:dLblPos val="ctr"/>
              <c:showLegendKey val="0"/>
              <c:showVal val="1"/>
              <c:showCatName val="0"/>
              <c:showSerName val="0"/>
              <c:showPercent val="0"/>
              <c:showBubbleSize val="0"/>
            </c:dLbl>
            <c:dLbl>
              <c:idx val="6"/>
              <c:tx>
                <c:rich>
                  <a:bodyPr/>
                  <a:lstStyle/>
                  <a:p>
                    <a:pPr>
                      <a:defRPr sz="800">
                        <a:latin typeface="Nexa Book"/>
                      </a:defRPr>
                    </a:pPr>
                    <a:r>
                      <a:t>-0.8%</a:t>
                    </a:r>
                  </a:p>
                </c:rich>
              </c:tx>
              <c:dLblPos val="ctr"/>
              <c:showLegendKey val="0"/>
              <c:showVal val="1"/>
              <c:showCatName val="0"/>
              <c:showSerName val="0"/>
              <c:showPercent val="0"/>
              <c:showBubbleSize val="0"/>
            </c:dLbl>
            <c:dLbl>
              <c:idx val="7"/>
              <c:tx>
                <c:rich>
                  <a:bodyPr/>
                  <a:lstStyle/>
                  <a:p>
                    <a:pPr>
                      <a:defRPr sz="800">
                        <a:latin typeface="Nexa Book"/>
                      </a:defRPr>
                    </a:pPr>
                    <a:r>
                      <a:t>+1.6%</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r>
                      <a:t>-0.4%</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rand Total</c:v>
                </c:pt>
                <c:pt idx="1">
                  <c:v>NICOLAS QCN</c:v>
                </c:pt>
                <c:pt idx="2">
                  <c:v>NICOLAS VCN</c:v>
                </c:pt>
                <c:pt idx="3">
                  <c:v>NICOLAS QCT</c:v>
                </c:pt>
                <c:pt idx="4">
                  <c:v>NICOLAS QCA</c:v>
                </c:pt>
                <c:pt idx="5">
                  <c:v>NICOLAS VCT</c:v>
                </c:pt>
                <c:pt idx="6">
                  <c:v>NICOLAS CCP</c:v>
                </c:pt>
                <c:pt idx="7">
                  <c:v>NICOLAS RN</c:v>
                </c:pt>
                <c:pt idx="8">
                  <c:v>NICOLAS CCQ</c:v>
                </c:pt>
                <c:pt idx="9">
                  <c:v>NICOLAS CCC</c:v>
                </c:pt>
              </c:strCache>
            </c:strRef>
          </c:cat>
          <c:val>
            <c:numRef>
              <c:f>Sheet1!$B$2:$B$11</c:f>
              <c:numCache>
                <c:formatCode>General</c:formatCode>
                <c:ptCount val="10"/>
                <c:pt idx="0">
                  <c:v>0.0</c:v>
                </c:pt>
                <c:pt idx="1">
                  <c:v>-0.04119999999999996</c:v>
                </c:pt>
                <c:pt idx="2">
                  <c:v>0.04150000000000001</c:v>
                </c:pt>
                <c:pt idx="3">
                  <c:v>0.005400000000000002</c:v>
                </c:pt>
                <c:pt idx="4">
                  <c:v>0.013799999999999993</c:v>
                </c:pt>
                <c:pt idx="5">
                  <c:v>-0.0221</c:v>
                </c:pt>
                <c:pt idx="6">
                  <c:v>-0.0077999999999999944</c:v>
                </c:pt>
                <c:pt idx="7">
                  <c:v>0.016099999999999996</c:v>
                </c:pt>
                <c:pt idx="8">
                  <c:v>-0.0013999999999999985</c:v>
                </c:pt>
                <c:pt idx="9">
                  <c:v>-0.004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5 %</a:t>
                    </a:r>
                  </a:p>
                </c:rich>
              </c:tx>
              <c:dLblPos val="ctr"/>
              <c:showLegendKey val="0"/>
              <c:showVal val="1"/>
              <c:showCatName val="0"/>
              <c:showSerName val="0"/>
              <c:showPercent val="0"/>
              <c:showBubbleSize val="0"/>
            </c:dLbl>
            <c:dLbl>
              <c:idx val="2"/>
              <c:tx>
                <c:rich>
                  <a:bodyPr/>
                  <a:lstStyle/>
                  <a:p>
                    <a:pPr>
                      <a:defRPr sz="800">
                        <a:latin typeface="Nexa Book"/>
                      </a:defRPr>
                    </a:pPr>
                    <a:r>
                      <a:t>10.0 %</a:t>
                    </a:r>
                  </a:p>
                </c:rich>
              </c:tx>
              <c:dLblPos val="ctr"/>
              <c:showLegendKey val="0"/>
              <c:showVal val="1"/>
              <c:showCatName val="0"/>
              <c:showSerName val="0"/>
              <c:showPercent val="0"/>
              <c:showBubbleSize val="0"/>
            </c:dLbl>
            <c:dLbl>
              <c:idx val="3"/>
              <c:tx>
                <c:rich>
                  <a:bodyPr/>
                  <a:lstStyle/>
                  <a:p>
                    <a:pPr>
                      <a:defRPr sz="800">
                        <a:latin typeface="Nexa Book"/>
                      </a:defRPr>
                    </a:pPr>
                    <a:r>
                      <a:t>5.5 %</a:t>
                    </a:r>
                  </a:p>
                </c:rich>
              </c:tx>
              <c:dLblPos val="ctr"/>
              <c:showLegendKey val="0"/>
              <c:showVal val="1"/>
              <c:showCatName val="0"/>
              <c:showSerName val="0"/>
              <c:showPercent val="0"/>
              <c:showBubbleSize val="0"/>
            </c:dLbl>
            <c:dLbl>
              <c:idx val="4"/>
              <c:tx>
                <c:rich>
                  <a:bodyPr/>
                  <a:lstStyle/>
                  <a:p>
                    <a:pPr>
                      <a:defRPr sz="800">
                        <a:latin typeface="Nexa Book"/>
                      </a:defRPr>
                    </a:pPr>
                    <a:r>
                      <a:t>2.9 %</a:t>
                    </a:r>
                  </a:p>
                </c:rich>
              </c:tx>
              <c:dLblPos val="ctr"/>
              <c:showLegendKey val="0"/>
              <c:showVal val="1"/>
              <c:showCatName val="0"/>
              <c:showSerName val="0"/>
              <c:showPercent val="0"/>
              <c:showBubbleSize val="0"/>
            </c:dLbl>
            <c:dLbl>
              <c:idx val="5"/>
              <c:tx>
                <c:rich>
                  <a:bodyPr/>
                  <a:lstStyle/>
                  <a:p>
                    <a:pPr>
                      <a:defRPr sz="800">
                        <a:latin typeface="Nexa Book"/>
                      </a:defRPr>
                    </a:pPr>
                    <a:r>
                      <a:t>2.5 %</a:t>
                    </a:r>
                  </a:p>
                </c:rich>
              </c:tx>
              <c:dLblPos val="ctr"/>
              <c:showLegendKey val="0"/>
              <c:showVal val="1"/>
              <c:showCatName val="0"/>
              <c:showSerName val="0"/>
              <c:showPercent val="0"/>
              <c:showBubbleSize val="0"/>
            </c:dLbl>
            <c:dLbl>
              <c:idx val="6"/>
              <c:tx>
                <c:rich>
                  <a:bodyPr/>
                  <a:lstStyle/>
                  <a:p>
                    <a:pPr>
                      <a:defRPr sz="800">
                        <a:latin typeface="Nexa Book"/>
                      </a:defRPr>
                    </a:pPr>
                    <a:r>
                      <a:t>2.5 %</a:t>
                    </a:r>
                  </a:p>
                </c:rich>
              </c:tx>
              <c:dLblPos val="ctr"/>
              <c:showLegendKey val="0"/>
              <c:showVal val="1"/>
              <c:showCatName val="0"/>
              <c:showSerName val="0"/>
              <c:showPercent val="0"/>
              <c:showBubbleSize val="0"/>
            </c:dLbl>
            <c:dLbl>
              <c:idx val="7"/>
              <c:tx>
                <c:rich>
                  <a:bodyPr/>
                  <a:lstStyle/>
                  <a:p>
                    <a:pPr>
                      <a:defRPr sz="800">
                        <a:latin typeface="Nexa Book"/>
                      </a:defRPr>
                    </a:pPr>
                    <a:r>
                      <a:t>2.0 %</a:t>
                    </a:r>
                  </a:p>
                </c:rich>
              </c:tx>
              <c:dLblPos val="ctr"/>
              <c:showLegendKey val="0"/>
              <c:showVal val="1"/>
              <c:showCatName val="0"/>
              <c:showSerName val="0"/>
              <c:showPercent val="0"/>
              <c:showBubbleSize val="0"/>
            </c:dLbl>
            <c:dLbl>
              <c:idx val="8"/>
              <c:tx>
                <c:rich>
                  <a:bodyPr/>
                  <a:lstStyle/>
                  <a:p>
                    <a:pPr>
                      <a:defRPr sz="800">
                        <a:latin typeface="Nexa Book"/>
                      </a:defRPr>
                    </a:pPr>
                    <a:r>
                      <a:t>1.7 %</a:t>
                    </a:r>
                  </a:p>
                </c:rich>
              </c:tx>
              <c:dLblPos val="ctr"/>
              <c:showLegendKey val="0"/>
              <c:showVal val="1"/>
              <c:showCatName val="0"/>
              <c:showSerName val="0"/>
              <c:showPercent val="0"/>
              <c:showBubbleSize val="0"/>
            </c:dLbl>
            <c:dLbl>
              <c:idx val="9"/>
              <c:tx>
                <c:rich>
                  <a:bodyPr/>
                  <a:lstStyle/>
                  <a:p>
                    <a:pPr>
                      <a:defRPr sz="800">
                        <a:latin typeface="Nexa Book"/>
                      </a:defRPr>
                    </a:pPr>
                    <a:r>
                      <a:t>1.1 %</a:t>
                    </a:r>
                  </a:p>
                </c:rich>
              </c:tx>
              <c:dLblPos val="ctr"/>
              <c:showLegendKey val="0"/>
              <c:showVal val="1"/>
              <c:showCatName val="0"/>
              <c:showSerName val="0"/>
              <c:showPercent val="0"/>
              <c:showBubbleSize val="0"/>
            </c:dLbl>
            <c:dLbl>
              <c:idx val="10"/>
              <c:tx>
                <c:rich>
                  <a:bodyPr/>
                  <a:lstStyle/>
                  <a:p>
                    <a:pPr>
                      <a:defRPr sz="800">
                        <a:latin typeface="Nexa Book"/>
                      </a:defRPr>
                    </a:pPr>
                    <a:r>
                      <a:t>1.1 %</a:t>
                    </a:r>
                  </a:p>
                </c:rich>
              </c:tx>
              <c:dLblPos val="ctr"/>
              <c:showLegendKey val="0"/>
              <c:showVal val="1"/>
              <c:showCatName val="0"/>
              <c:showSerName val="0"/>
              <c:showPercent val="0"/>
              <c:showBubbleSize val="0"/>
            </c:dLbl>
            <c:dLbl>
              <c:idx val="11"/>
              <c:tx>
                <c:rich>
                  <a:bodyPr/>
                  <a:lstStyle/>
                  <a:p>
                    <a:pPr>
                      <a:defRPr sz="800">
                        <a:latin typeface="Nexa Book"/>
                      </a:defRPr>
                    </a:pPr>
                    <a:r>
                      <a:t>0.6 %</a:t>
                    </a:r>
                  </a:p>
                </c:rich>
              </c:tx>
              <c:dLblPos val="ctr"/>
              <c:showLegendKey val="0"/>
              <c:showVal val="1"/>
              <c:showCatName val="0"/>
              <c:showSerName val="0"/>
              <c:showPercent val="0"/>
              <c:showBubbleSize val="0"/>
            </c:dLbl>
            <c:dLbl>
              <c:idx val="12"/>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c:v>
                </c:pt>
                <c:pt idx="1">
                  <c:v>0.6945</c:v>
                </c:pt>
                <c:pt idx="2">
                  <c:v>0.0997</c:v>
                </c:pt>
                <c:pt idx="3">
                  <c:v>0.0555</c:v>
                </c:pt>
                <c:pt idx="4">
                  <c:v>0.0293</c:v>
                </c:pt>
                <c:pt idx="5">
                  <c:v>0.0255</c:v>
                </c:pt>
                <c:pt idx="6">
                  <c:v>0.0247</c:v>
                </c:pt>
                <c:pt idx="7">
                  <c:v>0.0196</c:v>
                </c:pt>
                <c:pt idx="8">
                  <c:v>0.0167</c:v>
                </c:pt>
                <c:pt idx="9">
                  <c:v>0.0115</c:v>
                </c:pt>
                <c:pt idx="10">
                  <c:v>0.0109</c:v>
                </c:pt>
                <c:pt idx="11">
                  <c:v>0.0064</c:v>
                </c:pt>
                <c:pt idx="12">
                  <c:v>0.005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6.5 %</a:t>
                    </a:r>
                  </a:p>
                </c:rich>
              </c:tx>
              <c:dLblPos val="ctr"/>
              <c:showLegendKey val="0"/>
              <c:showVal val="1"/>
              <c:showCatName val="0"/>
              <c:showSerName val="0"/>
              <c:showPercent val="0"/>
              <c:showBubbleSize val="0"/>
            </c:dLbl>
            <c:dLbl>
              <c:idx val="2"/>
              <c:tx>
                <c:rich>
                  <a:bodyPr/>
                  <a:lstStyle/>
                  <a:p>
                    <a:pPr>
                      <a:defRPr sz="800">
                        <a:latin typeface="Nexa Book"/>
                      </a:defRPr>
                    </a:pPr>
                    <a:r>
                      <a:t>11.0 %</a:t>
                    </a:r>
                  </a:p>
                </c:rich>
              </c:tx>
              <c:dLblPos val="ctr"/>
              <c:showLegendKey val="0"/>
              <c:showVal val="1"/>
              <c:showCatName val="0"/>
              <c:showSerName val="0"/>
              <c:showPercent val="0"/>
              <c:showBubbleSize val="0"/>
            </c:dLbl>
            <c:dLbl>
              <c:idx val="3"/>
              <c:tx>
                <c:rich>
                  <a:bodyPr/>
                  <a:lstStyle/>
                  <a:p>
                    <a:pPr>
                      <a:defRPr sz="800">
                        <a:latin typeface="Nexa Book"/>
                      </a:defRPr>
                    </a:pPr>
                    <a:r>
                      <a:t>4.9 %</a:t>
                    </a:r>
                  </a:p>
                </c:rich>
              </c:tx>
              <c:dLblPos val="ctr"/>
              <c:showLegendKey val="0"/>
              <c:showVal val="1"/>
              <c:showCatName val="0"/>
              <c:showSerName val="0"/>
              <c:showPercent val="0"/>
              <c:showBubbleSize val="0"/>
            </c:dLbl>
            <c:dLbl>
              <c:idx val="4"/>
              <c:tx>
                <c:rich>
                  <a:bodyPr/>
                  <a:lstStyle/>
                  <a:p>
                    <a:pPr>
                      <a:defRPr sz="800">
                        <a:latin typeface="Nexa Book"/>
                      </a:defRPr>
                    </a:pPr>
                    <a:r>
                      <a:t>3.8 %</a:t>
                    </a:r>
                  </a:p>
                </c:rich>
              </c:tx>
              <c:dLblPos val="ctr"/>
              <c:showLegendKey val="0"/>
              <c:showVal val="1"/>
              <c:showCatName val="0"/>
              <c:showSerName val="0"/>
              <c:showPercent val="0"/>
              <c:showBubbleSize val="0"/>
            </c:dLbl>
            <c:dLbl>
              <c:idx val="5"/>
              <c:tx>
                <c:rich>
                  <a:bodyPr/>
                  <a:lstStyle/>
                  <a:p>
                    <a:pPr>
                      <a:defRPr sz="800">
                        <a:latin typeface="Nexa Book"/>
                      </a:defRPr>
                    </a:pPr>
                    <a:r>
                      <a:t>2.7 %</a:t>
                    </a:r>
                  </a:p>
                </c:rich>
              </c:tx>
              <c:dLblPos val="ctr"/>
              <c:showLegendKey val="0"/>
              <c:showVal val="1"/>
              <c:showCatName val="0"/>
              <c:showSerName val="0"/>
              <c:showPercent val="0"/>
              <c:showBubbleSize val="0"/>
            </c:dLbl>
            <c:dLbl>
              <c:idx val="6"/>
              <c:tx>
                <c:rich>
                  <a:bodyPr/>
                  <a:lstStyle/>
                  <a:p>
                    <a:pPr>
                      <a:defRPr sz="800">
                        <a:latin typeface="Nexa Book"/>
                      </a:defRPr>
                    </a:pPr>
                    <a:r>
                      <a:t>2.8 %</a:t>
                    </a:r>
                  </a:p>
                </c:rich>
              </c:tx>
              <c:dLblPos val="ctr"/>
              <c:showLegendKey val="0"/>
              <c:showVal val="1"/>
              <c:showCatName val="0"/>
              <c:showSerName val="0"/>
              <c:showPercent val="0"/>
              <c:showBubbleSize val="0"/>
            </c:dLbl>
            <c:dLbl>
              <c:idx val="7"/>
              <c:tx>
                <c:rich>
                  <a:bodyPr/>
                  <a:lstStyle/>
                  <a:p>
                    <a:pPr>
                      <a:defRPr sz="800">
                        <a:latin typeface="Nexa Book"/>
                      </a:defRPr>
                    </a:pPr>
                    <a:r>
                      <a:t>2.9 %</a:t>
                    </a:r>
                  </a:p>
                </c:rich>
              </c:tx>
              <c:dLblPos val="ctr"/>
              <c:showLegendKey val="0"/>
              <c:showVal val="1"/>
              <c:showCatName val="0"/>
              <c:showSerName val="0"/>
              <c:showPercent val="0"/>
              <c:showBubbleSize val="0"/>
            </c:dLbl>
            <c:dLbl>
              <c:idx val="8"/>
              <c:tx>
                <c:rich>
                  <a:bodyPr/>
                  <a:lstStyle/>
                  <a:p>
                    <a:pPr>
                      <a:defRPr sz="800">
                        <a:latin typeface="Nexa Book"/>
                      </a:defRPr>
                    </a:pPr>
                    <a:r>
                      <a:t>2.0 %</a:t>
                    </a:r>
                  </a:p>
                </c:rich>
              </c:tx>
              <c:dLblPos val="ctr"/>
              <c:showLegendKey val="0"/>
              <c:showVal val="1"/>
              <c:showCatName val="0"/>
              <c:showSerName val="0"/>
              <c:showPercent val="0"/>
              <c:showBubbleSize val="0"/>
            </c:dLbl>
            <c:dLbl>
              <c:idx val="9"/>
              <c:tx>
                <c:rich>
                  <a:bodyPr/>
                  <a:lstStyle/>
                  <a:p>
                    <a:pPr>
                      <a:defRPr sz="800">
                        <a:latin typeface="Nexa Book"/>
                      </a:defRPr>
                    </a:pPr>
                    <a:r>
                      <a:t>1.5 %</a:t>
                    </a:r>
                  </a:p>
                </c:rich>
              </c:tx>
              <c:dLblPos val="ctr"/>
              <c:showLegendKey val="0"/>
              <c:showVal val="1"/>
              <c:showCatName val="0"/>
              <c:showSerName val="0"/>
              <c:showPercent val="0"/>
              <c:showBubbleSize val="0"/>
            </c:dLbl>
            <c:dLbl>
              <c:idx val="10"/>
              <c:tx>
                <c:rich>
                  <a:bodyPr/>
                  <a:lstStyle/>
                  <a:p>
                    <a:pPr>
                      <a:defRPr sz="800">
                        <a:latin typeface="Nexa Book"/>
                      </a:defRPr>
                    </a:pPr>
                    <a:r>
                      <a:t>1.0 %</a:t>
                    </a:r>
                  </a:p>
                </c:rich>
              </c:tx>
              <c:dLblPos val="ctr"/>
              <c:showLegendKey val="0"/>
              <c:showVal val="1"/>
              <c:showCatName val="0"/>
              <c:showSerName val="0"/>
              <c:showPercent val="0"/>
              <c:showBubbleSize val="0"/>
            </c:dLbl>
            <c:dLbl>
              <c:idx val="11"/>
              <c:tx>
                <c:rich>
                  <a:bodyPr/>
                  <a:lstStyle/>
                  <a:p>
                    <a:pPr>
                      <a:defRPr sz="800">
                        <a:latin typeface="Nexa Book"/>
                      </a:defRPr>
                    </a:pPr>
                    <a:r>
                      <a:t>0.5 %</a:t>
                    </a:r>
                  </a:p>
                </c:rich>
              </c:tx>
              <c:dLblPos val="ctr"/>
              <c:showLegendKey val="0"/>
              <c:showVal val="1"/>
              <c:showCatName val="0"/>
              <c:showSerName val="0"/>
              <c:showPercent val="0"/>
              <c:showBubbleSize val="0"/>
            </c:dLbl>
            <c:dLbl>
              <c:idx val="12"/>
              <c:tx>
                <c:rich>
                  <a:bodyPr/>
                  <a:lstStyle/>
                  <a:p>
                    <a:pPr>
                      <a:defRPr sz="800">
                        <a:latin typeface="Nexa Book"/>
                      </a:defRPr>
                    </a:pPr>
                    <a:r>
                      <a:t>0.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c:v>
                </c:pt>
                <c:pt idx="1">
                  <c:v>0.6647</c:v>
                </c:pt>
                <c:pt idx="2">
                  <c:v>0.1104</c:v>
                </c:pt>
                <c:pt idx="3">
                  <c:v>0.0488</c:v>
                </c:pt>
                <c:pt idx="4">
                  <c:v>0.038</c:v>
                </c:pt>
                <c:pt idx="5">
                  <c:v>0.0266</c:v>
                </c:pt>
                <c:pt idx="6">
                  <c:v>0.0275</c:v>
                </c:pt>
                <c:pt idx="7">
                  <c:v>0.0289</c:v>
                </c:pt>
                <c:pt idx="8">
                  <c:v>0.0202</c:v>
                </c:pt>
                <c:pt idx="9">
                  <c:v>0.0147</c:v>
                </c:pt>
                <c:pt idx="10">
                  <c:v>0.0098</c:v>
                </c:pt>
                <c:pt idx="11">
                  <c:v>0.0052</c:v>
                </c:pt>
                <c:pt idx="12">
                  <c:v>0.00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3</a:t>
                    </a:r>
                  </a:p>
                </c:rich>
              </c:tx>
              <c:dLblPos val="ctr"/>
              <c:showLegendKey val="0"/>
              <c:showVal val="1"/>
              <c:showCatName val="0"/>
              <c:showSerName val="0"/>
              <c:showPercent val="0"/>
              <c:showBubbleSize val="0"/>
            </c:dLbl>
            <c:dLbl>
              <c:idx val="1"/>
              <c:tx>
                <c:rich>
                  <a:bodyPr/>
                  <a:lstStyle/>
                  <a:p>
                    <a:pPr>
                      <a:defRPr sz="800">
                        <a:latin typeface="Nexa Book"/>
                      </a:defRPr>
                    </a:pPr>
                    <a:r>
                      <a:t>44</a:t>
                    </a:r>
                  </a:p>
                </c:rich>
              </c:tx>
              <c:dLblPos val="ctr"/>
              <c:showLegendKey val="0"/>
              <c:showVal val="1"/>
              <c:showCatName val="0"/>
              <c:showSerName val="0"/>
              <c:showPercent val="0"/>
              <c:showBubbleSize val="0"/>
            </c:dLbl>
            <c:dLbl>
              <c:idx val="2"/>
              <c:tx>
                <c:rich>
                  <a:bodyPr/>
                  <a:lstStyle/>
                  <a:p>
                    <a:pPr>
                      <a:defRPr sz="800">
                        <a:latin typeface="Nexa Book"/>
                      </a:defRPr>
                    </a:pPr>
                    <a:r>
                      <a:t>6</a:t>
                    </a:r>
                  </a:p>
                </c:rich>
              </c:tx>
              <c:dLblPos val="ctr"/>
              <c:showLegendKey val="0"/>
              <c:showVal val="1"/>
              <c:showCatName val="0"/>
              <c:showSerName val="0"/>
              <c:showPercent val="0"/>
              <c:showBubbleSize val="0"/>
            </c:dLbl>
            <c:dLbl>
              <c:idx val="3"/>
              <c:tx>
                <c:rich>
                  <a:bodyPr/>
                  <a:lstStyle/>
                  <a:p>
                    <a:pPr>
                      <a:defRPr sz="800">
                        <a:latin typeface="Nexa Book"/>
                      </a:defRPr>
                    </a:pPr>
                    <a:r>
                      <a:t>3</a:t>
                    </a:r>
                  </a:p>
                </c:rich>
              </c:tx>
              <c:dLblPos val="ctr"/>
              <c:showLegendKey val="0"/>
              <c:showVal val="1"/>
              <c:showCatName val="0"/>
              <c:showSerName val="0"/>
              <c:showPercent val="0"/>
              <c:showBubbleSize val="0"/>
            </c:dLbl>
            <c:dLbl>
              <c:idx val="4"/>
              <c:tx>
                <c:rich>
                  <a:bodyPr/>
                  <a:lstStyle/>
                  <a:p>
                    <a:pPr>
                      <a:defRPr sz="800">
                        <a:latin typeface="Nexa Book"/>
                      </a:defRPr>
                    </a:pPr>
                    <a:r>
                      <a:t>2</a:t>
                    </a:r>
                  </a:p>
                </c:rich>
              </c:tx>
              <c:dLblPos val="ctr"/>
              <c:showLegendKey val="0"/>
              <c:showVal val="1"/>
              <c:showCatName val="0"/>
              <c:showSerName val="0"/>
              <c:showPercent val="0"/>
              <c:showBubbleSize val="0"/>
            </c:dLbl>
            <c:dLbl>
              <c:idx val="5"/>
              <c:tx>
                <c:rich>
                  <a:bodyPr/>
                  <a:lstStyle/>
                  <a:p>
                    <a:pPr>
                      <a:defRPr sz="800">
                        <a:latin typeface="Nexa Book"/>
                      </a:defRPr>
                    </a:pPr>
                    <a:r>
                      <a:t>2</a:t>
                    </a:r>
                  </a:p>
                </c:rich>
              </c:tx>
              <c:dLblPos val="ctr"/>
              <c:showLegendKey val="0"/>
              <c:showVal val="1"/>
              <c:showCatName val="0"/>
              <c:showSerName val="0"/>
              <c:showPercent val="0"/>
              <c:showBubbleSize val="0"/>
            </c:dLbl>
            <c:dLbl>
              <c:idx val="6"/>
              <c:tx>
                <c:rich>
                  <a:bodyPr/>
                  <a:lstStyle/>
                  <a:p>
                    <a:pPr>
                      <a:defRPr sz="800">
                        <a:latin typeface="Nexa Book"/>
                      </a:defRPr>
                    </a:pPr>
                    <a:r>
                      <a:t>2</a:t>
                    </a:r>
                  </a:p>
                </c:rich>
              </c:tx>
              <c:dLblPos val="ctr"/>
              <c:showLegendKey val="0"/>
              <c:showVal val="1"/>
              <c:showCatName val="0"/>
              <c:showSerName val="0"/>
              <c:showPercent val="0"/>
              <c:showBubbleSize val="0"/>
            </c:dLbl>
            <c:dLbl>
              <c:idx val="7"/>
              <c:tx>
                <c:rich>
                  <a:bodyPr/>
                  <a:lstStyle/>
                  <a:p>
                    <a:pPr>
                      <a:defRPr sz="800">
                        <a:latin typeface="Nexa Book"/>
                      </a:defRPr>
                    </a:pPr>
                    <a:r>
                      <a:t>1</a:t>
                    </a:r>
                  </a:p>
                </c:rich>
              </c:tx>
              <c:dLblPos val="ctr"/>
              <c:showLegendKey val="0"/>
              <c:showVal val="1"/>
              <c:showCatName val="0"/>
              <c:showSerName val="0"/>
              <c:showPercent val="0"/>
              <c:showBubbleSize val="0"/>
            </c:dLbl>
            <c:dLbl>
              <c:idx val="8"/>
              <c:tx>
                <c:rich>
                  <a:bodyPr/>
                  <a:lstStyle/>
                  <a:p>
                    <a:pPr>
                      <a:defRPr sz="800">
                        <a:latin typeface="Nexa Book"/>
                      </a:defRPr>
                    </a:pPr>
                    <a:r>
                      <a:t>1</a:t>
                    </a:r>
                  </a:p>
                </c:rich>
              </c:tx>
              <c:dLblPos val="ctr"/>
              <c:showLegendKey val="0"/>
              <c:showVal val="1"/>
              <c:showCatName val="0"/>
              <c:showSerName val="0"/>
              <c:showPercent val="0"/>
              <c:showBubbleSize val="0"/>
            </c:dLbl>
            <c:dLbl>
              <c:idx val="9"/>
              <c:tx>
                <c:rich>
                  <a:bodyPr/>
                  <a:lstStyle/>
                  <a:p>
                    <a:pPr>
                      <a:defRPr sz="800">
                        <a:latin typeface="Nexa Book"/>
                      </a:defRPr>
                    </a:pPr>
                    <a:r>
                      <a:t>1</a:t>
                    </a:r>
                  </a:p>
                </c:rich>
              </c:tx>
              <c:dLblPos val="ctr"/>
              <c:showLegendKey val="0"/>
              <c:showVal val="1"/>
              <c:showCatName val="0"/>
              <c:showSerName val="0"/>
              <c:showPercent val="0"/>
              <c:showBubbleSize val="0"/>
            </c:dLbl>
            <c:dLbl>
              <c:idx val="10"/>
              <c:tx>
                <c:rich>
                  <a:bodyPr/>
                  <a:lstStyle/>
                  <a:p>
                    <a:pPr>
                      <a:defRPr sz="800">
                        <a:latin typeface="Nexa Book"/>
                      </a:defRPr>
                    </a:pPr>
                    <a:r>
                      <a:t>1</a:t>
                    </a:r>
                  </a:p>
                </c:rich>
              </c:tx>
              <c:dLblPos val="ctr"/>
              <c:showLegendKey val="0"/>
              <c:showVal val="1"/>
              <c:showCatName val="0"/>
              <c:showSerName val="0"/>
              <c:showPercent val="0"/>
              <c:showBubbleSize val="0"/>
            </c:dLbl>
            <c:dLbl>
              <c:idx val="11"/>
              <c:tx>
                <c:rich>
                  <a:bodyPr/>
                  <a:lstStyle/>
                  <a:p>
                    <a:pPr>
                      <a:defRPr sz="800">
                        <a:latin typeface="Nexa Book"/>
                      </a:defRPr>
                    </a:pPr>
                  </a:p>
                </c:rich>
              </c:tx>
              <c:dLblPos val="ctr"/>
              <c:showLegendKey val="0"/>
              <c:showVal val="1"/>
              <c:showCatName val="0"/>
              <c:showSerName val="0"/>
              <c:showPercent val="0"/>
              <c:showBubbleSize val="0"/>
            </c:dLbl>
            <c:dLbl>
              <c:idx val="12"/>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62901332.0</c:v>
                </c:pt>
                <c:pt idx="1">
                  <c:v>43684616.0</c:v>
                </c:pt>
                <c:pt idx="2">
                  <c:v>6269130.0</c:v>
                </c:pt>
                <c:pt idx="3">
                  <c:v>3490185.0</c:v>
                </c:pt>
                <c:pt idx="4">
                  <c:v>1844044.0</c:v>
                </c:pt>
                <c:pt idx="5">
                  <c:v>1604073.0</c:v>
                </c:pt>
                <c:pt idx="6">
                  <c:v>1554442.0</c:v>
                </c:pt>
                <c:pt idx="7">
                  <c:v>1234371.0</c:v>
                </c:pt>
                <c:pt idx="8">
                  <c:v>1052164.0</c:v>
                </c:pt>
                <c:pt idx="9">
                  <c:v>721285.0</c:v>
                </c:pt>
                <c:pt idx="10">
                  <c:v>687083.0</c:v>
                </c:pt>
                <c:pt idx="11">
                  <c:v>400577.0</c:v>
                </c:pt>
                <c:pt idx="12">
                  <c:v>35936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612031181314911</c:v>
                </c:pt>
                <c:pt idx="1">
                  <c:v>0.0019130310998419081</c:v>
                </c:pt>
                <c:pt idx="2">
                  <c:v>0.012863731174342155</c:v>
                </c:pt>
                <c:pt idx="3">
                  <c:v>-0.016423025875211425</c:v>
                </c:pt>
                <c:pt idx="4">
                  <c:v>-0.004768877693195235</c:v>
                </c:pt>
                <c:pt idx="5">
                  <c:v>-0.005626345486822559</c:v>
                </c:pt>
                <c:pt idx="6">
                  <c:v>-0.010304558383864106</c:v>
                </c:pt>
                <c:pt idx="7">
                  <c:v>-0.008062121090531754</c:v>
                </c:pt>
                <c:pt idx="8">
                  <c:v>-0.0026071779337268307</c:v>
                </c:pt>
                <c:pt idx="9">
                  <c:v>0.00724568160637674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a:t>
                    </a:r>
                  </a:p>
                </c:rich>
              </c:tx>
              <c:dLblPos val="ctr"/>
              <c:showLegendKey val="0"/>
              <c:showVal val="1"/>
              <c:showCatName val="0"/>
              <c:showSerName val="0"/>
              <c:showPercent val="0"/>
              <c:showBubbleSize val="0"/>
            </c:dLbl>
            <c:dLbl>
              <c:idx val="1"/>
              <c:tx>
                <c:rich>
                  <a:bodyPr/>
                  <a:lstStyle/>
                  <a:p>
                    <a:pPr>
                      <a:defRPr sz="800">
                        <a:latin typeface="Nexa Book"/>
                      </a:defRPr>
                    </a:pPr>
                    <a:r>
                      <a:t>4</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0.3</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0.2</a:t>
                    </a:r>
                  </a:p>
                </c:rich>
              </c:tx>
              <c:dLblPos val="ctr"/>
              <c:showLegendKey val="0"/>
              <c:showVal val="1"/>
              <c:showCatName val="0"/>
              <c:showSerName val="0"/>
              <c:showPercent val="0"/>
              <c:showBubbleSize val="0"/>
            </c:dLbl>
            <c:dLbl>
              <c:idx val="6"/>
              <c:tx>
                <c:rich>
                  <a:bodyPr/>
                  <a:lstStyle/>
                  <a:p>
                    <a:pPr>
                      <a:defRPr sz="800">
                        <a:latin typeface="Nexa Book"/>
                      </a:defRPr>
                    </a:pPr>
                    <a:r>
                      <a:t>0.2</a:t>
                    </a:r>
                  </a:p>
                </c:rich>
              </c:tx>
              <c:dLblPos val="ctr"/>
              <c:showLegendKey val="0"/>
              <c:showVal val="1"/>
              <c:showCatName val="0"/>
              <c:showSerName val="0"/>
              <c:showPercent val="0"/>
              <c:showBubbleSize val="0"/>
            </c:dLbl>
            <c:dLbl>
              <c:idx val="7"/>
              <c:tx>
                <c:rich>
                  <a:bodyPr/>
                  <a:lstStyle/>
                  <a:p>
                    <a:pPr>
                      <a:defRPr sz="800">
                        <a:latin typeface="Nexa Book"/>
                      </a:defRPr>
                    </a:pPr>
                    <a:r>
                      <a:t>0.2</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r>
                      <a:t>0.1</a:t>
                    </a:r>
                  </a:p>
                </c:rich>
              </c:tx>
              <c:dLblPos val="ctr"/>
              <c:showLegendKey val="0"/>
              <c:showVal val="1"/>
              <c:showCatName val="0"/>
              <c:showSerName val="0"/>
              <c:showPercent val="0"/>
              <c:showBubbleSize val="0"/>
            </c:dLbl>
            <c:dLbl>
              <c:idx val="10"/>
              <c:tx>
                <c:rich>
                  <a:bodyPr/>
                  <a:lstStyle/>
                  <a:p>
                    <a:pPr>
                      <a:defRPr sz="800">
                        <a:latin typeface="Nexa Book"/>
                      </a:defRPr>
                    </a:pPr>
                    <a:r>
                      <a:t>0.1</a:t>
                    </a:r>
                  </a:p>
                </c:rich>
              </c:tx>
              <c:dLblPos val="ctr"/>
              <c:showLegendKey val="0"/>
              <c:showVal val="1"/>
              <c:showCatName val="0"/>
              <c:showSerName val="0"/>
              <c:showPercent val="0"/>
              <c:showBubbleSize val="0"/>
            </c:dLbl>
            <c:dLbl>
              <c:idx val="11"/>
              <c:tx>
                <c:rich>
                  <a:bodyPr/>
                  <a:lstStyle/>
                  <a:p>
                    <a:pPr>
                      <a:defRPr sz="800">
                        <a:latin typeface="Nexa Book"/>
                      </a:defRPr>
                    </a:pPr>
                    <a:r>
                      <a:t>0.0</a:t>
                    </a:r>
                  </a:p>
                </c:rich>
              </c:tx>
              <c:dLblPos val="ctr"/>
              <c:showLegendKey val="0"/>
              <c:showVal val="1"/>
              <c:showCatName val="0"/>
              <c:showSerName val="0"/>
              <c:showPercent val="0"/>
              <c:showBubbleSize val="0"/>
            </c:dLbl>
            <c:dLbl>
              <c:idx val="12"/>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5682190.0</c:v>
                </c:pt>
                <c:pt idx="1">
                  <c:v>3777041.0</c:v>
                </c:pt>
                <c:pt idx="2">
                  <c:v>627165.0</c:v>
                </c:pt>
                <c:pt idx="3">
                  <c:v>277285.0</c:v>
                </c:pt>
                <c:pt idx="4">
                  <c:v>215798.0</c:v>
                </c:pt>
                <c:pt idx="5">
                  <c:v>151005.0</c:v>
                </c:pt>
                <c:pt idx="6">
                  <c:v>156347.0</c:v>
                </c:pt>
                <c:pt idx="7">
                  <c:v>164433.0</c:v>
                </c:pt>
                <c:pt idx="8">
                  <c:v>114538.0</c:v>
                </c:pt>
                <c:pt idx="9">
                  <c:v>83561.0</c:v>
                </c:pt>
                <c:pt idx="10">
                  <c:v>55617.0</c:v>
                </c:pt>
                <c:pt idx="11">
                  <c:v>29574.0</c:v>
                </c:pt>
                <c:pt idx="12">
                  <c:v>2982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7%</a:t>
                    </a:r>
                  </a:p>
                </c:rich>
              </c:tx>
              <c:dLblPos val="ctr"/>
              <c:showLegendKey val="0"/>
              <c:showVal val="1"/>
              <c:showCatName val="0"/>
              <c:showSerName val="0"/>
              <c:showPercent val="0"/>
              <c:showBubbleSize val="0"/>
            </c:dLbl>
            <c:dLbl>
              <c:idx val="2"/>
              <c:tx>
                <c:rich>
                  <a:bodyPr/>
                  <a:lstStyle/>
                  <a:p>
                    <a:pPr>
                      <a:defRPr sz="800">
                        <a:latin typeface="Nexa Book"/>
                      </a:defRPr>
                    </a:pPr>
                    <a:r>
                      <a:t>+0.5%</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r>
                      <a:t>+0.1%</a:t>
                    </a:r>
                  </a:p>
                </c:rich>
              </c:tx>
              <c:dLblPos val="ctr"/>
              <c:showLegendKey val="0"/>
              <c:showVal val="1"/>
              <c:showCatName val="0"/>
              <c:showSerName val="0"/>
              <c:showPercent val="0"/>
              <c:showBubbleSize val="0"/>
            </c:dLbl>
            <c:dLbl>
              <c:idx val="5"/>
              <c:tx>
                <c:rich>
                  <a:bodyPr/>
                  <a:lstStyle/>
                  <a:p>
                    <a:pPr>
                      <a:defRPr sz="800">
                        <a:latin typeface="Nexa Book"/>
                      </a:defRPr>
                    </a:pPr>
                    <a:r>
                      <a:t>+0.2%</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r>
                      <a:t>+0.1%</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r>
                      <a:t>-0.1%</a:t>
                    </a:r>
                  </a:p>
                </c:rich>
              </c:tx>
              <c:dLblPos val="ctr"/>
              <c:showLegendKey val="0"/>
              <c:showVal val="1"/>
              <c:showCatName val="0"/>
              <c:showSerName val="0"/>
              <c:showPercent val="0"/>
              <c:showBubbleSize val="0"/>
            </c:dLbl>
            <c:dLbl>
              <c:idx val="11"/>
              <c:tx>
                <c:rich>
                  <a:bodyPr/>
                  <a:lstStyle/>
                  <a:p>
                    <a:pPr>
                      <a:defRPr sz="800">
                        <a:latin typeface="Nexa Book"/>
                      </a:defRPr>
                    </a:pPr>
                  </a:p>
                </c:rich>
              </c:tx>
              <c:dLblPos val="ctr"/>
              <c:showLegendKey val="0"/>
              <c:showVal val="1"/>
              <c:showCatName val="0"/>
              <c:showSerName val="0"/>
              <c:showPercent val="0"/>
              <c:showBubbleSize val="0"/>
            </c:dLbl>
            <c:dLbl>
              <c:idx val="12"/>
              <c:tx>
                <c:rich>
                  <a:bodyPr/>
                  <a:lstStyle/>
                  <a:p>
                    <a:pPr>
                      <a:defRPr sz="800">
                        <a:latin typeface="Nexa Book"/>
                      </a:defRPr>
                    </a:pPr>
                    <a:r>
                      <a:t>-0.1%</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0.0</c:v>
                </c:pt>
                <c:pt idx="1">
                  <c:v>-0.007000000000000006</c:v>
                </c:pt>
                <c:pt idx="2">
                  <c:v>0.004599999999999993</c:v>
                </c:pt>
                <c:pt idx="3">
                  <c:v>0.0003999999999999976</c:v>
                </c:pt>
                <c:pt idx="4">
                  <c:v>0.0011000000000000003</c:v>
                </c:pt>
                <c:pt idx="5">
                  <c:v>0.0017999999999999995</c:v>
                </c:pt>
                <c:pt idx="6">
                  <c:v>0.0001999999999999988</c:v>
                </c:pt>
                <c:pt idx="7">
                  <c:v>0.0005000000000000004</c:v>
                </c:pt>
                <c:pt idx="8">
                  <c:v>0.0005000000000000004</c:v>
                </c:pt>
                <c:pt idx="9">
                  <c:v>-0.0002999999999999999</c:v>
                </c:pt>
                <c:pt idx="10">
                  <c:v>-0.0010000000000000009</c:v>
                </c:pt>
                <c:pt idx="11">
                  <c:v>0.00010000000000000026</c:v>
                </c:pt>
                <c:pt idx="12">
                  <c:v>-0.000799999999999999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2%</a:t>
                    </a:r>
                  </a:p>
                </c:rich>
              </c:tx>
              <c:dLblPos val="ctr"/>
              <c:showLegendKey val="0"/>
              <c:showVal val="1"/>
              <c:showCatName val="0"/>
              <c:showSerName val="0"/>
              <c:showPercent val="0"/>
              <c:showBubbleSize val="0"/>
            </c:dLbl>
            <c:dLbl>
              <c:idx val="2"/>
              <c:tx>
                <c:rich>
                  <a:bodyPr/>
                  <a:lstStyle/>
                  <a:p>
                    <a:pPr>
                      <a:defRPr sz="800">
                        <a:latin typeface="Nexa Book"/>
                      </a:defRPr>
                    </a:pPr>
                    <a:r>
                      <a:t>-0.4%</a:t>
                    </a:r>
                  </a:p>
                </c:rich>
              </c:tx>
              <c:dLblPos val="ctr"/>
              <c:showLegendKey val="0"/>
              <c:showVal val="1"/>
              <c:showCatName val="0"/>
              <c:showSerName val="0"/>
              <c:showPercent val="0"/>
              <c:showBubbleSize val="0"/>
            </c:dLbl>
            <c:dLbl>
              <c:idx val="3"/>
              <c:tx>
                <c:rich>
                  <a:bodyPr/>
                  <a:lstStyle/>
                  <a:p>
                    <a:pPr>
                      <a:defRPr sz="800">
                        <a:latin typeface="Nexa Book"/>
                      </a:defRPr>
                    </a:pPr>
                    <a:r>
                      <a:t>+0.1%</a:t>
                    </a: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r>
                      <a:t>+0.1%</a:t>
                    </a: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r>
                      <a:t>+0.3%</a:t>
                    </a:r>
                  </a:p>
                </c:rich>
              </c:tx>
              <c:dLblPos val="ctr"/>
              <c:showLegendKey val="0"/>
              <c:showVal val="1"/>
              <c:showCatName val="0"/>
              <c:showSerName val="0"/>
              <c:showPercent val="0"/>
              <c:showBubbleSize val="0"/>
            </c:dLbl>
            <c:dLbl>
              <c:idx val="8"/>
              <c:tx>
                <c:rich>
                  <a:bodyPr/>
                  <a:lstStyle/>
                  <a:p>
                    <a:pPr>
                      <a:defRPr sz="800">
                        <a:latin typeface="Nexa Book"/>
                      </a:defRPr>
                    </a:pP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p>
                </c:rich>
              </c:tx>
              <c:dLblPos val="ctr"/>
              <c:showLegendKey val="0"/>
              <c:showVal val="1"/>
              <c:showCatName val="0"/>
              <c:showSerName val="0"/>
              <c:showPercent val="0"/>
              <c:showBubbleSize val="0"/>
            </c:dLbl>
            <c:dLbl>
              <c:idx val="11"/>
              <c:tx>
                <c:rich>
                  <a:bodyPr/>
                  <a:lstStyle/>
                  <a:p>
                    <a:pPr>
                      <a:defRPr sz="800">
                        <a:latin typeface="Nexa Book"/>
                      </a:defRPr>
                    </a:pPr>
                    <a:r>
                      <a:t>-0.1%</a:t>
                    </a:r>
                  </a:p>
                </c:rich>
              </c:tx>
              <c:dLblPos val="ctr"/>
              <c:showLegendKey val="0"/>
              <c:showVal val="1"/>
              <c:showCatName val="0"/>
              <c:showSerName val="0"/>
              <c:showPercent val="0"/>
              <c:showBubbleSize val="0"/>
            </c:dLbl>
            <c:dLbl>
              <c:idx val="12"/>
              <c:tx>
                <c:rich>
                  <a:bodyPr/>
                  <a:lstStyle/>
                  <a:p>
                    <a:pPr>
                      <a:defRPr sz="800">
                        <a:latin typeface="Nexa Book"/>
                      </a:defRPr>
                    </a:pPr>
                    <a:r>
                      <a:t>+0.1%</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0.0</c:v>
                </c:pt>
                <c:pt idx="1">
                  <c:v>-0.0017000000000000348</c:v>
                </c:pt>
                <c:pt idx="2">
                  <c:v>-0.003500000000000003</c:v>
                </c:pt>
                <c:pt idx="3">
                  <c:v>0.0005000000000000004</c:v>
                </c:pt>
                <c:pt idx="4">
                  <c:v>-0.00030000000000000165</c:v>
                </c:pt>
                <c:pt idx="5">
                  <c:v>0.0006999999999999992</c:v>
                </c:pt>
                <c:pt idx="6">
                  <c:v>0.0001999999999999988</c:v>
                </c:pt>
                <c:pt idx="7">
                  <c:v>0.0034999999999999996</c:v>
                </c:pt>
                <c:pt idx="8">
                  <c:v>-0.00020000000000000226</c:v>
                </c:pt>
                <c:pt idx="9">
                  <c:v>0.0001999999999999988</c:v>
                </c:pt>
                <c:pt idx="10">
                  <c:v>0.00020000000000000052</c:v>
                </c:pt>
                <c:pt idx="11">
                  <c:v>-0.0009000000000000006</c:v>
                </c:pt>
                <c:pt idx="12">
                  <c:v>0.001199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8.0 %</a:t>
                    </a:r>
                  </a:p>
                </c:rich>
              </c:tx>
              <c:dLblPos val="ctr"/>
              <c:showLegendKey val="0"/>
              <c:showVal val="1"/>
              <c:showCatName val="0"/>
              <c:showSerName val="0"/>
              <c:showPercent val="0"/>
              <c:showBubbleSize val="0"/>
            </c:dLbl>
            <c:dLbl>
              <c:idx val="2"/>
              <c:tx>
                <c:rich>
                  <a:bodyPr/>
                  <a:lstStyle/>
                  <a:p>
                    <a:pPr>
                      <a:defRPr sz="800">
                        <a:latin typeface="Nexa Book"/>
                      </a:defRPr>
                    </a:pPr>
                    <a:r>
                      <a:t>11.8 %</a:t>
                    </a:r>
                  </a:p>
                </c:rich>
              </c:tx>
              <c:dLblPos val="ctr"/>
              <c:showLegendKey val="0"/>
              <c:showVal val="1"/>
              <c:showCatName val="0"/>
              <c:showSerName val="0"/>
              <c:showPercent val="0"/>
              <c:showBubbleSize val="0"/>
            </c:dLbl>
            <c:dLbl>
              <c:idx val="3"/>
              <c:tx>
                <c:rich>
                  <a:bodyPr/>
                  <a:lstStyle/>
                  <a:p>
                    <a:pPr>
                      <a:defRPr sz="800">
                        <a:latin typeface="Nexa Book"/>
                      </a:defRPr>
                    </a:pPr>
                    <a:r>
                      <a:t>5.4 %</a:t>
                    </a:r>
                  </a:p>
                </c:rich>
              </c:tx>
              <c:dLblPos val="ctr"/>
              <c:showLegendKey val="0"/>
              <c:showVal val="1"/>
              <c:showCatName val="0"/>
              <c:showSerName val="0"/>
              <c:showPercent val="0"/>
              <c:showBubbleSize val="0"/>
            </c:dLbl>
            <c:dLbl>
              <c:idx val="4"/>
              <c:tx>
                <c:rich>
                  <a:bodyPr/>
                  <a:lstStyle/>
                  <a:p>
                    <a:pPr>
                      <a:defRPr sz="800">
                        <a:latin typeface="Nexa Book"/>
                      </a:defRPr>
                    </a:pPr>
                    <a:r>
                      <a:t>3.1 %</a:t>
                    </a:r>
                  </a:p>
                </c:rich>
              </c:tx>
              <c:dLblPos val="ctr"/>
              <c:showLegendKey val="0"/>
              <c:showVal val="1"/>
              <c:showCatName val="0"/>
              <c:showSerName val="0"/>
              <c:showPercent val="0"/>
              <c:showBubbleSize val="0"/>
            </c:dLbl>
            <c:dLbl>
              <c:idx val="5"/>
              <c:tx>
                <c:rich>
                  <a:bodyPr/>
                  <a:lstStyle/>
                  <a:p>
                    <a:pPr>
                      <a:defRPr sz="800">
                        <a:latin typeface="Nexa Book"/>
                      </a:defRPr>
                    </a:pPr>
                    <a:r>
                      <a:t>2.4 %</a:t>
                    </a:r>
                  </a:p>
                </c:rich>
              </c:tx>
              <c:dLblPos val="ctr"/>
              <c:showLegendKey val="0"/>
              <c:showVal val="1"/>
              <c:showCatName val="0"/>
              <c:showSerName val="0"/>
              <c:showPercent val="0"/>
              <c:showBubbleSize val="0"/>
            </c:dLbl>
            <c:dLbl>
              <c:idx val="6"/>
              <c:tx>
                <c:rich>
                  <a:bodyPr/>
                  <a:lstStyle/>
                  <a:p>
                    <a:pPr>
                      <a:defRPr sz="800">
                        <a:latin typeface="Nexa Book"/>
                      </a:defRPr>
                    </a:pPr>
                    <a:r>
                      <a:t>2.2 %</a:t>
                    </a:r>
                  </a:p>
                </c:rich>
              </c:tx>
              <c:dLblPos val="ctr"/>
              <c:showLegendKey val="0"/>
              <c:showVal val="1"/>
              <c:showCatName val="0"/>
              <c:showSerName val="0"/>
              <c:showPercent val="0"/>
              <c:showBubbleSize val="0"/>
            </c:dLbl>
            <c:dLbl>
              <c:idx val="7"/>
              <c:tx>
                <c:rich>
                  <a:bodyPr/>
                  <a:lstStyle/>
                  <a:p>
                    <a:pPr>
                      <a:defRPr sz="800">
                        <a:latin typeface="Nexa Book"/>
                      </a:defRPr>
                    </a:pPr>
                    <a:r>
                      <a:t>2.1 %</a:t>
                    </a:r>
                  </a:p>
                </c:rich>
              </c:tx>
              <c:dLblPos val="ctr"/>
              <c:showLegendKey val="0"/>
              <c:showVal val="1"/>
              <c:showCatName val="0"/>
              <c:showSerName val="0"/>
              <c:showPercent val="0"/>
              <c:showBubbleSize val="0"/>
            </c:dLbl>
            <c:dLbl>
              <c:idx val="8"/>
              <c:tx>
                <c:rich>
                  <a:bodyPr/>
                  <a:lstStyle/>
                  <a:p>
                    <a:pPr>
                      <a:defRPr sz="800">
                        <a:latin typeface="Nexa Book"/>
                      </a:defRPr>
                    </a:pPr>
                    <a:r>
                      <a:t>1.6 %</a:t>
                    </a:r>
                  </a:p>
                </c:rich>
              </c:tx>
              <c:dLblPos val="ctr"/>
              <c:showLegendKey val="0"/>
              <c:showVal val="1"/>
              <c:showCatName val="0"/>
              <c:showSerName val="0"/>
              <c:showPercent val="0"/>
              <c:showBubbleSize val="0"/>
            </c:dLbl>
            <c:dLbl>
              <c:idx val="9"/>
              <c:tx>
                <c:rich>
                  <a:bodyPr/>
                  <a:lstStyle/>
                  <a:p>
                    <a:pPr>
                      <a:defRPr sz="800">
                        <a:latin typeface="Nexa Book"/>
                      </a:defRPr>
                    </a:pPr>
                    <a:r>
                      <a:t>1.1 %</a:t>
                    </a:r>
                  </a:p>
                </c:rich>
              </c:tx>
              <c:dLblPos val="ctr"/>
              <c:showLegendKey val="0"/>
              <c:showVal val="1"/>
              <c:showCatName val="0"/>
              <c:showSerName val="0"/>
              <c:showPercent val="0"/>
              <c:showBubbleSize val="0"/>
            </c:dLbl>
            <c:dLbl>
              <c:idx val="10"/>
              <c:tx>
                <c:rich>
                  <a:bodyPr/>
                  <a:lstStyle/>
                  <a:p>
                    <a:pPr>
                      <a:defRPr sz="800">
                        <a:latin typeface="Nexa Book"/>
                      </a:defRPr>
                    </a:pPr>
                    <a:r>
                      <a:t>0.9 %</a:t>
                    </a:r>
                  </a:p>
                </c:rich>
              </c:tx>
              <c:dLblPos val="ctr"/>
              <c:showLegendKey val="0"/>
              <c:showVal val="1"/>
              <c:showCatName val="0"/>
              <c:showSerName val="0"/>
              <c:showPercent val="0"/>
              <c:showBubbleSize val="0"/>
            </c:dLbl>
            <c:dLbl>
              <c:idx val="11"/>
              <c:tx>
                <c:rich>
                  <a:bodyPr/>
                  <a:lstStyle/>
                  <a:p>
                    <a:pPr>
                      <a:defRPr sz="800">
                        <a:latin typeface="Nexa Book"/>
                      </a:defRPr>
                    </a:pPr>
                    <a:r>
                      <a:t>0.9 %</a:t>
                    </a:r>
                  </a:p>
                </c:rich>
              </c:tx>
              <c:dLblPos val="ctr"/>
              <c:showLegendKey val="0"/>
              <c:showVal val="1"/>
              <c:showCatName val="0"/>
              <c:showSerName val="0"/>
              <c:showPercent val="0"/>
              <c:showBubbleSize val="0"/>
            </c:dLbl>
            <c:dLbl>
              <c:idx val="12"/>
              <c:tx>
                <c:rich>
                  <a:bodyPr/>
                  <a:lstStyle/>
                  <a:p>
                    <a:pPr>
                      <a:defRPr sz="800">
                        <a:latin typeface="Nexa Book"/>
                      </a:defRPr>
                    </a:pPr>
                    <a:r>
                      <a:t>0.4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EST</c:v>
                </c:pt>
                <c:pt idx="5">
                  <c:v>NICOLAS AQU</c:v>
                </c:pt>
                <c:pt idx="6">
                  <c:v>NICOLAS OCC</c:v>
                </c:pt>
                <c:pt idx="7">
                  <c:v>NICOLAS HAU</c:v>
                </c:pt>
                <c:pt idx="8">
                  <c:v>NICOLAS NDI</c:v>
                </c:pt>
                <c:pt idx="9">
                  <c:v>NICOLAS BOU</c:v>
                </c:pt>
                <c:pt idx="10">
                  <c:v>NICOLAS BRE</c:v>
                </c:pt>
                <c:pt idx="11">
                  <c:v>NICOLAS LOI</c:v>
                </c:pt>
                <c:pt idx="12">
                  <c:v>NICOLAS CEN</c:v>
                </c:pt>
              </c:strCache>
            </c:strRef>
          </c:cat>
          <c:val>
            <c:numRef>
              <c:f>Sheet1!$B$2:$B$14</c:f>
              <c:numCache>
                <c:formatCode>General</c:formatCode>
                <c:ptCount val="13"/>
                <c:pt idx="0">
                  <c:v>1.0</c:v>
                </c:pt>
                <c:pt idx="1">
                  <c:v>0.6805</c:v>
                </c:pt>
                <c:pt idx="2">
                  <c:v>0.1176</c:v>
                </c:pt>
                <c:pt idx="3">
                  <c:v>0.0541</c:v>
                </c:pt>
                <c:pt idx="4">
                  <c:v>0.0307</c:v>
                </c:pt>
                <c:pt idx="5">
                  <c:v>0.0243</c:v>
                </c:pt>
                <c:pt idx="6">
                  <c:v>0.0224</c:v>
                </c:pt>
                <c:pt idx="7">
                  <c:v>0.0214</c:v>
                </c:pt>
                <c:pt idx="8">
                  <c:v>0.0157</c:v>
                </c:pt>
                <c:pt idx="9">
                  <c:v>0.0107</c:v>
                </c:pt>
                <c:pt idx="10">
                  <c:v>0.0091</c:v>
                </c:pt>
                <c:pt idx="11">
                  <c:v>0.0091</c:v>
                </c:pt>
                <c:pt idx="12">
                  <c:v>0.00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8.0 %</a:t>
                    </a:r>
                  </a:p>
                </c:rich>
              </c:tx>
              <c:dLblPos val="ctr"/>
              <c:showLegendKey val="0"/>
              <c:showVal val="1"/>
              <c:showCatName val="0"/>
              <c:showSerName val="0"/>
              <c:showPercent val="0"/>
              <c:showBubbleSize val="0"/>
            </c:dLbl>
            <c:dLbl>
              <c:idx val="2"/>
              <c:tx>
                <c:rich>
                  <a:bodyPr/>
                  <a:lstStyle/>
                  <a:p>
                    <a:pPr>
                      <a:defRPr sz="800">
                        <a:latin typeface="Nexa Book"/>
                      </a:defRPr>
                    </a:pPr>
                    <a:r>
                      <a:t>11.1 %</a:t>
                    </a:r>
                  </a:p>
                </c:rich>
              </c:tx>
              <c:dLblPos val="ctr"/>
              <c:showLegendKey val="0"/>
              <c:showVal val="1"/>
              <c:showCatName val="0"/>
              <c:showSerName val="0"/>
              <c:showPercent val="0"/>
              <c:showBubbleSize val="0"/>
            </c:dLbl>
            <c:dLbl>
              <c:idx val="3"/>
              <c:tx>
                <c:rich>
                  <a:bodyPr/>
                  <a:lstStyle/>
                  <a:p>
                    <a:pPr>
                      <a:defRPr sz="800">
                        <a:latin typeface="Nexa Book"/>
                      </a:defRPr>
                    </a:pPr>
                    <a:r>
                      <a:t>4.9 %</a:t>
                    </a:r>
                  </a:p>
                </c:rich>
              </c:tx>
              <c:dLblPos val="ctr"/>
              <c:showLegendKey val="0"/>
              <c:showVal val="1"/>
              <c:showCatName val="0"/>
              <c:showSerName val="0"/>
              <c:showPercent val="0"/>
              <c:showBubbleSize val="0"/>
            </c:dLbl>
            <c:dLbl>
              <c:idx val="4"/>
              <c:tx>
                <c:rich>
                  <a:bodyPr/>
                  <a:lstStyle/>
                  <a:p>
                    <a:pPr>
                      <a:defRPr sz="800">
                        <a:latin typeface="Nexa Book"/>
                      </a:defRPr>
                    </a:pPr>
                    <a:r>
                      <a:t>2.4 %</a:t>
                    </a:r>
                  </a:p>
                </c:rich>
              </c:tx>
              <c:dLblPos val="ctr"/>
              <c:showLegendKey val="0"/>
              <c:showVal val="1"/>
              <c:showCatName val="0"/>
              <c:showSerName val="0"/>
              <c:showPercent val="0"/>
              <c:showBubbleSize val="0"/>
            </c:dLbl>
            <c:dLbl>
              <c:idx val="5"/>
              <c:tx>
                <c:rich>
                  <a:bodyPr/>
                  <a:lstStyle/>
                  <a:p>
                    <a:pPr>
                      <a:defRPr sz="800">
                        <a:latin typeface="Nexa Book"/>
                      </a:defRPr>
                    </a:pPr>
                    <a:r>
                      <a:t>2.3 %</a:t>
                    </a:r>
                  </a:p>
                </c:rich>
              </c:tx>
              <c:dLblPos val="ctr"/>
              <c:showLegendKey val="0"/>
              <c:showVal val="1"/>
              <c:showCatName val="0"/>
              <c:showSerName val="0"/>
              <c:showPercent val="0"/>
              <c:showBubbleSize val="0"/>
            </c:dLbl>
            <c:dLbl>
              <c:idx val="6"/>
              <c:tx>
                <c:rich>
                  <a:bodyPr/>
                  <a:lstStyle/>
                  <a:p>
                    <a:pPr>
                      <a:defRPr sz="800">
                        <a:latin typeface="Nexa Book"/>
                      </a:defRPr>
                    </a:pPr>
                    <a:r>
                      <a:t>2.6 %</a:t>
                    </a:r>
                  </a:p>
                </c:rich>
              </c:tx>
              <c:dLblPos val="ctr"/>
              <c:showLegendKey val="0"/>
              <c:showVal val="1"/>
              <c:showCatName val="0"/>
              <c:showSerName val="0"/>
              <c:showPercent val="0"/>
              <c:showBubbleSize val="0"/>
            </c:dLbl>
            <c:dLbl>
              <c:idx val="7"/>
              <c:tx>
                <c:rich>
                  <a:bodyPr/>
                  <a:lstStyle/>
                  <a:p>
                    <a:pPr>
                      <a:defRPr sz="800">
                        <a:latin typeface="Nexa Book"/>
                      </a:defRPr>
                    </a:pPr>
                    <a:r>
                      <a:t>3.9 %</a:t>
                    </a:r>
                  </a:p>
                </c:rich>
              </c:tx>
              <c:dLblPos val="ctr"/>
              <c:showLegendKey val="0"/>
              <c:showVal val="1"/>
              <c:showCatName val="0"/>
              <c:showSerName val="0"/>
              <c:showPercent val="0"/>
              <c:showBubbleSize val="0"/>
            </c:dLbl>
            <c:dLbl>
              <c:idx val="8"/>
              <c:tx>
                <c:rich>
                  <a:bodyPr/>
                  <a:lstStyle/>
                  <a:p>
                    <a:pPr>
                      <a:defRPr sz="800">
                        <a:latin typeface="Nexa Book"/>
                      </a:defRPr>
                    </a:pPr>
                    <a:r>
                      <a:t>1.9 %</a:t>
                    </a:r>
                  </a:p>
                </c:rich>
              </c:tx>
              <c:dLblPos val="ctr"/>
              <c:showLegendKey val="0"/>
              <c:showVal val="1"/>
              <c:showCatName val="0"/>
              <c:showSerName val="0"/>
              <c:showPercent val="0"/>
              <c:showBubbleSize val="0"/>
            </c:dLbl>
            <c:dLbl>
              <c:idx val="9"/>
              <c:tx>
                <c:rich>
                  <a:bodyPr/>
                  <a:lstStyle/>
                  <a:p>
                    <a:pPr>
                      <a:defRPr sz="800">
                        <a:latin typeface="Nexa Book"/>
                      </a:defRPr>
                    </a:pPr>
                    <a:r>
                      <a:t>0.3 %</a:t>
                    </a:r>
                  </a:p>
                </c:rich>
              </c:tx>
              <c:dLblPos val="ctr"/>
              <c:showLegendKey val="0"/>
              <c:showVal val="1"/>
              <c:showCatName val="0"/>
              <c:showSerName val="0"/>
              <c:showPercent val="0"/>
              <c:showBubbleSize val="0"/>
            </c:dLbl>
            <c:dLbl>
              <c:idx val="10"/>
              <c:tx>
                <c:rich>
                  <a:bodyPr/>
                  <a:lstStyle/>
                  <a:p>
                    <a:pPr>
                      <a:defRPr sz="800">
                        <a:latin typeface="Nexa Book"/>
                      </a:defRPr>
                    </a:pPr>
                    <a:r>
                      <a:t>0.8 %</a:t>
                    </a:r>
                  </a:p>
                </c:rich>
              </c:tx>
              <c:dLblPos val="ctr"/>
              <c:showLegendKey val="0"/>
              <c:showVal val="1"/>
              <c:showCatName val="0"/>
              <c:showSerName val="0"/>
              <c:showPercent val="0"/>
              <c:showBubbleSize val="0"/>
            </c:dLbl>
            <c:dLbl>
              <c:idx val="11"/>
              <c:tx>
                <c:rich>
                  <a:bodyPr/>
                  <a:lstStyle/>
                  <a:p>
                    <a:pPr>
                      <a:defRPr sz="800">
                        <a:latin typeface="Nexa Book"/>
                      </a:defRPr>
                    </a:pPr>
                    <a:r>
                      <a:t>1.1 %</a:t>
                    </a:r>
                  </a:p>
                </c:rich>
              </c:tx>
              <c:dLblPos val="ctr"/>
              <c:showLegendKey val="0"/>
              <c:showVal val="1"/>
              <c:showCatName val="0"/>
              <c:showSerName val="0"/>
              <c:showPercent val="0"/>
              <c:showBubbleSize val="0"/>
            </c:dLbl>
            <c:dLbl>
              <c:idx val="12"/>
              <c:tx>
                <c:rich>
                  <a:bodyPr/>
                  <a:lstStyle/>
                  <a:p>
                    <a:pPr>
                      <a:defRPr sz="800">
                        <a:latin typeface="Nexa Book"/>
                      </a:defRPr>
                    </a:pPr>
                    <a:r>
                      <a:t>0.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EST</c:v>
                </c:pt>
                <c:pt idx="5">
                  <c:v>NICOLAS AQU</c:v>
                </c:pt>
                <c:pt idx="6">
                  <c:v>NICOLAS OCC</c:v>
                </c:pt>
                <c:pt idx="7">
                  <c:v>NICOLAS HAU</c:v>
                </c:pt>
                <c:pt idx="8">
                  <c:v>NICOLAS NDI</c:v>
                </c:pt>
                <c:pt idx="9">
                  <c:v>NICOLAS BOU</c:v>
                </c:pt>
                <c:pt idx="10">
                  <c:v>NICOLAS BRE</c:v>
                </c:pt>
                <c:pt idx="11">
                  <c:v>NICOLAS LOI</c:v>
                </c:pt>
                <c:pt idx="12">
                  <c:v>NICOLAS CEN</c:v>
                </c:pt>
              </c:strCache>
            </c:strRef>
          </c:cat>
          <c:val>
            <c:numRef>
              <c:f>Sheet1!$B$2:$B$14</c:f>
              <c:numCache>
                <c:formatCode>General</c:formatCode>
                <c:ptCount val="13"/>
                <c:pt idx="0">
                  <c:v>1.0</c:v>
                </c:pt>
                <c:pt idx="1">
                  <c:v>0.68</c:v>
                </c:pt>
                <c:pt idx="2">
                  <c:v>0.1114</c:v>
                </c:pt>
                <c:pt idx="3">
                  <c:v>0.0491</c:v>
                </c:pt>
                <c:pt idx="4">
                  <c:v>0.0236</c:v>
                </c:pt>
                <c:pt idx="5">
                  <c:v>0.0227</c:v>
                </c:pt>
                <c:pt idx="6">
                  <c:v>0.0261</c:v>
                </c:pt>
                <c:pt idx="7">
                  <c:v>0.0392</c:v>
                </c:pt>
                <c:pt idx="8">
                  <c:v>0.0193</c:v>
                </c:pt>
                <c:pt idx="9">
                  <c:v>0.0033</c:v>
                </c:pt>
                <c:pt idx="10">
                  <c:v>0.008</c:v>
                </c:pt>
                <c:pt idx="11">
                  <c:v>0.0109</c:v>
                </c:pt>
                <c:pt idx="12">
                  <c:v>0.006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8</a:t>
                    </a:r>
                  </a:p>
                </c:rich>
              </c:tx>
              <c:dLblPos val="ctr"/>
              <c:showLegendKey val="0"/>
              <c:showVal val="1"/>
              <c:showCatName val="0"/>
              <c:showSerName val="0"/>
              <c:showPercent val="0"/>
              <c:showBubbleSize val="0"/>
            </c:dLbl>
            <c:dLbl>
              <c:idx val="1"/>
              <c:tx>
                <c:rich>
                  <a:bodyPr/>
                  <a:lstStyle/>
                  <a:p>
                    <a:pPr>
                      <a:defRPr sz="800">
                        <a:latin typeface="Nexa Book"/>
                      </a:defRPr>
                    </a:pPr>
                    <a:r>
                      <a:t>6</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p>
                </c:rich>
              </c:tx>
              <c:dLblPos val="ctr"/>
              <c:showLegendKey val="0"/>
              <c:showVal val="1"/>
              <c:showCatName val="0"/>
              <c:showSerName val="0"/>
              <c:showPercent val="0"/>
              <c:showBubbleSize val="0"/>
            </c:dLbl>
            <c:dLbl>
              <c:idx val="8"/>
              <c:tx>
                <c:rich>
                  <a:bodyPr/>
                  <a:lstStyle/>
                  <a:p>
                    <a:pPr>
                      <a:defRPr sz="800">
                        <a:latin typeface="Nexa Book"/>
                      </a:defRPr>
                    </a:pP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p>
                </c:rich>
              </c:tx>
              <c:dLblPos val="ctr"/>
              <c:showLegendKey val="0"/>
              <c:showVal val="1"/>
              <c:showCatName val="0"/>
              <c:showSerName val="0"/>
              <c:showPercent val="0"/>
              <c:showBubbleSize val="0"/>
            </c:dLbl>
            <c:dLbl>
              <c:idx val="11"/>
              <c:tx>
                <c:rich>
                  <a:bodyPr/>
                  <a:lstStyle/>
                  <a:p>
                    <a:pPr>
                      <a:defRPr sz="800">
                        <a:latin typeface="Nexa Book"/>
                      </a:defRPr>
                    </a:pPr>
                  </a:p>
                </c:rich>
              </c:tx>
              <c:dLblPos val="ctr"/>
              <c:showLegendKey val="0"/>
              <c:showVal val="1"/>
              <c:showCatName val="0"/>
              <c:showSerName val="0"/>
              <c:showPercent val="0"/>
              <c:showBubbleSize val="0"/>
            </c:dLbl>
            <c:dLbl>
              <c:idx val="12"/>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EST</c:v>
                </c:pt>
                <c:pt idx="5">
                  <c:v>NICOLAS AQU</c:v>
                </c:pt>
                <c:pt idx="6">
                  <c:v>NICOLAS OCC</c:v>
                </c:pt>
                <c:pt idx="7">
                  <c:v>NICOLAS HAU</c:v>
                </c:pt>
                <c:pt idx="8">
                  <c:v>NICOLAS NDI</c:v>
                </c:pt>
                <c:pt idx="9">
                  <c:v>NICOLAS BOU</c:v>
                </c:pt>
                <c:pt idx="10">
                  <c:v>NICOLAS BRE</c:v>
                </c:pt>
                <c:pt idx="11">
                  <c:v>NICOLAS LOI</c:v>
                </c:pt>
                <c:pt idx="12">
                  <c:v>NICOLAS CEN</c:v>
                </c:pt>
              </c:strCache>
            </c:strRef>
          </c:cat>
          <c:val>
            <c:numRef>
              <c:f>Sheet1!$B$2:$B$14</c:f>
              <c:numCache>
                <c:formatCode>General</c:formatCode>
                <c:ptCount val="13"/>
                <c:pt idx="0">
                  <c:v>8118788.0</c:v>
                </c:pt>
                <c:pt idx="1">
                  <c:v>5524647.0</c:v>
                </c:pt>
                <c:pt idx="2">
                  <c:v>954378.0</c:v>
                </c:pt>
                <c:pt idx="3">
                  <c:v>439510.0</c:v>
                </c:pt>
                <c:pt idx="4">
                  <c:v>249367.0</c:v>
                </c:pt>
                <c:pt idx="5">
                  <c:v>197476.0</c:v>
                </c:pt>
                <c:pt idx="6">
                  <c:v>181793.0</c:v>
                </c:pt>
                <c:pt idx="7">
                  <c:v>173658.0</c:v>
                </c:pt>
                <c:pt idx="8">
                  <c:v>127711.0</c:v>
                </c:pt>
                <c:pt idx="9">
                  <c:v>86750.0</c:v>
                </c:pt>
                <c:pt idx="10">
                  <c:v>74187.0</c:v>
                </c:pt>
                <c:pt idx="11">
                  <c:v>73989.0</c:v>
                </c:pt>
                <c:pt idx="12">
                  <c:v>35322.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a:t>
                    </a:r>
                  </a:p>
                </c:rich>
              </c:tx>
              <c:dLblPos val="ctr"/>
              <c:showLegendKey val="0"/>
              <c:showVal val="1"/>
              <c:showCatName val="0"/>
              <c:showSerName val="0"/>
              <c:showPercent val="0"/>
              <c:showBubbleSize val="0"/>
            </c:dLbl>
            <c:dLbl>
              <c:idx val="1"/>
              <c:tx>
                <c:rich>
                  <a:bodyPr/>
                  <a:lstStyle/>
                  <a:p>
                    <a:pPr>
                      <a:defRPr sz="800">
                        <a:latin typeface="Nexa Book"/>
                      </a:defRPr>
                    </a:pPr>
                    <a:r>
                      <a:t>0.3</a:t>
                    </a:r>
                  </a:p>
                </c:rich>
              </c:tx>
              <c:dLblPos val="ctr"/>
              <c:showLegendKey val="0"/>
              <c:showVal val="1"/>
              <c:showCatName val="0"/>
              <c:showSerName val="0"/>
              <c:showPercent val="0"/>
              <c:showBubbleSize val="0"/>
            </c:dLbl>
            <c:dLbl>
              <c:idx val="2"/>
              <c:tx>
                <c:rich>
                  <a:bodyPr/>
                  <a:lstStyle/>
                  <a:p>
                    <a:pPr>
                      <a:defRPr sz="800">
                        <a:latin typeface="Nexa Book"/>
                      </a:defRPr>
                    </a:pPr>
                    <a:r>
                      <a:t>0.1</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dLbl>
              <c:idx val="7"/>
              <c:tx>
                <c:rich>
                  <a:bodyPr/>
                  <a:lstStyle/>
                  <a:p>
                    <a:pPr>
                      <a:defRPr sz="800">
                        <a:latin typeface="Nexa Book"/>
                      </a:defRPr>
                    </a:pPr>
                    <a:r>
                      <a:t>0.0</a:t>
                    </a:r>
                  </a:p>
                </c:rich>
              </c:tx>
              <c:dLblPos val="ctr"/>
              <c:showLegendKey val="0"/>
              <c:showVal val="1"/>
              <c:showCatName val="0"/>
              <c:showSerName val="0"/>
              <c:showPercent val="0"/>
              <c:showBubbleSize val="0"/>
            </c:dLbl>
            <c:dLbl>
              <c:idx val="8"/>
              <c:tx>
                <c:rich>
                  <a:bodyPr/>
                  <a:lstStyle/>
                  <a:p>
                    <a:pPr>
                      <a:defRPr sz="800">
                        <a:latin typeface="Nexa Book"/>
                      </a:defRPr>
                    </a:pPr>
                    <a:r>
                      <a:t>0.0</a:t>
                    </a:r>
                  </a:p>
                </c:rich>
              </c:tx>
              <c:dLblPos val="ctr"/>
              <c:showLegendKey val="0"/>
              <c:showVal val="1"/>
              <c:showCatName val="0"/>
              <c:showSerName val="0"/>
              <c:showPercent val="0"/>
              <c:showBubbleSize val="0"/>
            </c:dLbl>
            <c:dLbl>
              <c:idx val="9"/>
              <c:tx>
                <c:rich>
                  <a:bodyPr/>
                  <a:lstStyle/>
                  <a:p>
                    <a:pPr>
                      <a:defRPr sz="800">
                        <a:latin typeface="Nexa Book"/>
                      </a:defRPr>
                    </a:pPr>
                    <a:r>
                      <a:t>0.0</a:t>
                    </a:r>
                  </a:p>
                </c:rich>
              </c:tx>
              <c:dLblPos val="ctr"/>
              <c:showLegendKey val="0"/>
              <c:showVal val="1"/>
              <c:showCatName val="0"/>
              <c:showSerName val="0"/>
              <c:showPercent val="0"/>
              <c:showBubbleSize val="0"/>
            </c:dLbl>
            <c:dLbl>
              <c:idx val="10"/>
              <c:tx>
                <c:rich>
                  <a:bodyPr/>
                  <a:lstStyle/>
                  <a:p>
                    <a:pPr>
                      <a:defRPr sz="800">
                        <a:latin typeface="Nexa Book"/>
                      </a:defRPr>
                    </a:pPr>
                    <a:r>
                      <a:t>0.0</a:t>
                    </a:r>
                  </a:p>
                </c:rich>
              </c:tx>
              <c:dLblPos val="ctr"/>
              <c:showLegendKey val="0"/>
              <c:showVal val="1"/>
              <c:showCatName val="0"/>
              <c:showSerName val="0"/>
              <c:showPercent val="0"/>
              <c:showBubbleSize val="0"/>
            </c:dLbl>
            <c:dLbl>
              <c:idx val="11"/>
              <c:tx>
                <c:rich>
                  <a:bodyPr/>
                  <a:lstStyle/>
                  <a:p>
                    <a:pPr>
                      <a:defRPr sz="800">
                        <a:latin typeface="Nexa Book"/>
                      </a:defRPr>
                    </a:pPr>
                    <a:r>
                      <a:t>0.0</a:t>
                    </a:r>
                  </a:p>
                </c:rich>
              </c:tx>
              <c:dLblPos val="ctr"/>
              <c:showLegendKey val="0"/>
              <c:showVal val="1"/>
              <c:showCatName val="0"/>
              <c:showSerName val="0"/>
              <c:showPercent val="0"/>
              <c:showBubbleSize val="0"/>
            </c:dLbl>
            <c:dLbl>
              <c:idx val="12"/>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EST</c:v>
                </c:pt>
                <c:pt idx="5">
                  <c:v>NICOLAS AQU</c:v>
                </c:pt>
                <c:pt idx="6">
                  <c:v>NICOLAS OCC</c:v>
                </c:pt>
                <c:pt idx="7">
                  <c:v>NICOLAS HAU</c:v>
                </c:pt>
                <c:pt idx="8">
                  <c:v>NICOLAS NDI</c:v>
                </c:pt>
                <c:pt idx="9">
                  <c:v>NICOLAS BOU</c:v>
                </c:pt>
                <c:pt idx="10">
                  <c:v>NICOLAS BRE</c:v>
                </c:pt>
                <c:pt idx="11">
                  <c:v>NICOLAS LOI</c:v>
                </c:pt>
                <c:pt idx="12">
                  <c:v>NICOLAS CEN</c:v>
                </c:pt>
              </c:strCache>
            </c:strRef>
          </c:cat>
          <c:val>
            <c:numRef>
              <c:f>Sheet1!$B$2:$B$14</c:f>
              <c:numCache>
                <c:formatCode>General</c:formatCode>
                <c:ptCount val="13"/>
                <c:pt idx="0">
                  <c:v>510815.0</c:v>
                </c:pt>
                <c:pt idx="1">
                  <c:v>347366.0</c:v>
                </c:pt>
                <c:pt idx="2">
                  <c:v>56890.0</c:v>
                </c:pt>
                <c:pt idx="3">
                  <c:v>25094.0</c:v>
                </c:pt>
                <c:pt idx="4">
                  <c:v>12067.0</c:v>
                </c:pt>
                <c:pt idx="5">
                  <c:v>11598.0</c:v>
                </c:pt>
                <c:pt idx="6">
                  <c:v>13333.0</c:v>
                </c:pt>
                <c:pt idx="7">
                  <c:v>20035.0</c:v>
                </c:pt>
                <c:pt idx="8">
                  <c:v>9858.0</c:v>
                </c:pt>
                <c:pt idx="9">
                  <c:v>1689.0</c:v>
                </c:pt>
                <c:pt idx="10">
                  <c:v>4063.0</c:v>
                </c:pt>
                <c:pt idx="11">
                  <c:v>5559.0</c:v>
                </c:pt>
                <c:pt idx="12">
                  <c:v>3263.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5%</a:t>
                    </a:r>
                  </a:p>
                </c:rich>
              </c:tx>
              <c:dLblPos val="ctr"/>
              <c:showLegendKey val="0"/>
              <c:showVal val="1"/>
              <c:showCatName val="0"/>
              <c:showSerName val="0"/>
              <c:showPercent val="0"/>
              <c:showBubbleSize val="0"/>
            </c:dLbl>
            <c:dLbl>
              <c:idx val="2"/>
              <c:tx>
                <c:rich>
                  <a:bodyPr/>
                  <a:lstStyle/>
                  <a:p>
                    <a:pPr>
                      <a:defRPr sz="800">
                        <a:latin typeface="Nexa Book"/>
                      </a:defRPr>
                    </a:pPr>
                    <a:r>
                      <a:t>+1.1%</a:t>
                    </a:r>
                  </a:p>
                </c:rich>
              </c:tx>
              <c:dLblPos val="ctr"/>
              <c:showLegendKey val="0"/>
              <c:showVal val="1"/>
              <c:showCatName val="0"/>
              <c:showSerName val="0"/>
              <c:showPercent val="0"/>
              <c:showBubbleSize val="0"/>
            </c:dLbl>
            <c:dLbl>
              <c:idx val="3"/>
              <c:tx>
                <c:rich>
                  <a:bodyPr/>
                  <a:lstStyle/>
                  <a:p>
                    <a:pPr>
                      <a:defRPr sz="800">
                        <a:latin typeface="Nexa Book"/>
                      </a:defRPr>
                    </a:pPr>
                    <a:r>
                      <a:t>+0.5%</a:t>
                    </a:r>
                  </a:p>
                </c:rich>
              </c:tx>
              <c:dLblPos val="ctr"/>
              <c:showLegendKey val="0"/>
              <c:showVal val="1"/>
              <c:showCatName val="0"/>
              <c:showSerName val="0"/>
              <c:showPercent val="0"/>
              <c:showBubbleSize val="0"/>
            </c:dLbl>
            <c:dLbl>
              <c:idx val="4"/>
              <c:tx>
                <c:rich>
                  <a:bodyPr/>
                  <a:lstStyle/>
                  <a:p>
                    <a:pPr>
                      <a:defRPr sz="800">
                        <a:latin typeface="Nexa Book"/>
                      </a:defRPr>
                    </a:pPr>
                    <a:r>
                      <a:t>+0.3%</a:t>
                    </a:r>
                  </a:p>
                </c:rich>
              </c:tx>
              <c:dLblPos val="ctr"/>
              <c:showLegendKey val="0"/>
              <c:showVal val="1"/>
              <c:showCatName val="0"/>
              <c:showSerName val="0"/>
              <c:showPercent val="0"/>
              <c:showBubbleSize val="0"/>
            </c:dLbl>
            <c:dLbl>
              <c:idx val="5"/>
              <c:tx>
                <c:rich>
                  <a:bodyPr/>
                  <a:lstStyle/>
                  <a:p>
                    <a:pPr>
                      <a:defRPr sz="800">
                        <a:latin typeface="Nexa Book"/>
                      </a:defRPr>
                    </a:pPr>
                    <a:r>
                      <a:t>+0.2%</a:t>
                    </a:r>
                  </a:p>
                </c:rich>
              </c:tx>
              <c:dLblPos val="ctr"/>
              <c:showLegendKey val="0"/>
              <c:showVal val="1"/>
              <c:showCatName val="0"/>
              <c:showSerName val="0"/>
              <c:showPercent val="0"/>
              <c:showBubbleSize val="0"/>
            </c:dLbl>
            <c:dLbl>
              <c:idx val="6"/>
              <c:tx>
                <c:rich>
                  <a:bodyPr/>
                  <a:lstStyle/>
                  <a:p>
                    <a:pPr>
                      <a:defRPr sz="800">
                        <a:latin typeface="Nexa Book"/>
                      </a:defRPr>
                    </a:pPr>
                    <a:r>
                      <a:t>+0.3%</a:t>
                    </a:r>
                  </a:p>
                </c:rich>
              </c:tx>
              <c:dLblPos val="ctr"/>
              <c:showLegendKey val="0"/>
              <c:showVal val="1"/>
              <c:showCatName val="0"/>
              <c:showSerName val="0"/>
              <c:showPercent val="0"/>
              <c:showBubbleSize val="0"/>
            </c:dLbl>
            <c:dLbl>
              <c:idx val="7"/>
              <c:tx>
                <c:rich>
                  <a:bodyPr/>
                  <a:lstStyle/>
                  <a:p>
                    <a:pPr>
                      <a:defRPr sz="800">
                        <a:latin typeface="Nexa Book"/>
                      </a:defRPr>
                    </a:pPr>
                    <a:r>
                      <a:t>+0.3%</a:t>
                    </a:r>
                  </a:p>
                </c:rich>
              </c:tx>
              <c:dLblPos val="ctr"/>
              <c:showLegendKey val="0"/>
              <c:showVal val="1"/>
              <c:showCatName val="0"/>
              <c:showSerName val="0"/>
              <c:showPercent val="0"/>
              <c:showBubbleSize val="0"/>
            </c:dLbl>
            <c:dLbl>
              <c:idx val="8"/>
              <c:tx>
                <c:rich>
                  <a:bodyPr/>
                  <a:lstStyle/>
                  <a:p>
                    <a:pPr>
                      <a:defRPr sz="800">
                        <a:latin typeface="Nexa Book"/>
                      </a:defRPr>
                    </a:pPr>
                  </a:p>
                </c:rich>
              </c:tx>
              <c:dLblPos val="ctr"/>
              <c:showLegendKey val="0"/>
              <c:showVal val="1"/>
              <c:showCatName val="0"/>
              <c:showSerName val="0"/>
              <c:showPercent val="0"/>
              <c:showBubbleSize val="0"/>
            </c:dLbl>
            <c:dLbl>
              <c:idx val="9"/>
              <c:tx>
                <c:rich>
                  <a:bodyPr/>
                  <a:lstStyle/>
                  <a:p>
                    <a:pPr>
                      <a:defRPr sz="800">
                        <a:latin typeface="Nexa Book"/>
                      </a:defRPr>
                    </a:pPr>
                    <a:r>
                      <a:t>-0.8%</a:t>
                    </a:r>
                  </a:p>
                </c:rich>
              </c:tx>
              <c:dLblPos val="ctr"/>
              <c:showLegendKey val="0"/>
              <c:showVal val="1"/>
              <c:showCatName val="0"/>
              <c:showSerName val="0"/>
              <c:showPercent val="0"/>
              <c:showBubbleSize val="0"/>
            </c:dLbl>
            <c:dLbl>
              <c:idx val="10"/>
              <c:tx>
                <c:rich>
                  <a:bodyPr/>
                  <a:lstStyle/>
                  <a:p>
                    <a:pPr>
                      <a:defRPr sz="800">
                        <a:latin typeface="Nexa Book"/>
                      </a:defRPr>
                    </a:pPr>
                    <a:r>
                      <a:t>+0.1%</a:t>
                    </a:r>
                  </a:p>
                </c:rich>
              </c:tx>
              <c:dLblPos val="ctr"/>
              <c:showLegendKey val="0"/>
              <c:showVal val="1"/>
              <c:showCatName val="0"/>
              <c:showSerName val="0"/>
              <c:showPercent val="0"/>
              <c:showBubbleSize val="0"/>
            </c:dLbl>
            <c:dLbl>
              <c:idx val="11"/>
              <c:tx>
                <c:rich>
                  <a:bodyPr/>
                  <a:lstStyle/>
                  <a:p>
                    <a:pPr>
                      <a:defRPr sz="800">
                        <a:latin typeface="Nexa Book"/>
                      </a:defRPr>
                    </a:pPr>
                    <a:r>
                      <a:t>-0.5%</a:t>
                    </a:r>
                  </a:p>
                </c:rich>
              </c:tx>
              <c:dLblPos val="ctr"/>
              <c:showLegendKey val="0"/>
              <c:showVal val="1"/>
              <c:showCatName val="0"/>
              <c:showSerName val="0"/>
              <c:showPercent val="0"/>
              <c:showBubbleSize val="0"/>
            </c:dLbl>
            <c:dLbl>
              <c:idx val="12"/>
              <c:tx>
                <c:rich>
                  <a:bodyPr/>
                  <a:lstStyle/>
                  <a:p>
                    <a:pPr>
                      <a:defRPr sz="800">
                        <a:latin typeface="Nexa Book"/>
                      </a:defRPr>
                    </a:pPr>
                    <a:r>
                      <a:t>-0.1%</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EST</c:v>
                </c:pt>
                <c:pt idx="5">
                  <c:v>NICOLAS AQU</c:v>
                </c:pt>
                <c:pt idx="6">
                  <c:v>NICOLAS OCC</c:v>
                </c:pt>
                <c:pt idx="7">
                  <c:v>NICOLAS HAU</c:v>
                </c:pt>
                <c:pt idx="8">
                  <c:v>NICOLAS NDI</c:v>
                </c:pt>
                <c:pt idx="9">
                  <c:v>NICOLAS BOU</c:v>
                </c:pt>
                <c:pt idx="10">
                  <c:v>NICOLAS BRE</c:v>
                </c:pt>
                <c:pt idx="11">
                  <c:v>NICOLAS LOI</c:v>
                </c:pt>
                <c:pt idx="12">
                  <c:v>NICOLAS CEN</c:v>
                </c:pt>
              </c:strCache>
            </c:strRef>
          </c:cat>
          <c:val>
            <c:numRef>
              <c:f>Sheet1!$B$2:$B$14</c:f>
              <c:numCache>
                <c:formatCode>General</c:formatCode>
                <c:ptCount val="13"/>
                <c:pt idx="0">
                  <c:v>0.0</c:v>
                </c:pt>
                <c:pt idx="1">
                  <c:v>-0.014800000000000035</c:v>
                </c:pt>
                <c:pt idx="2">
                  <c:v>0.011099999999999999</c:v>
                </c:pt>
                <c:pt idx="3">
                  <c:v>0.005200000000000003</c:v>
                </c:pt>
                <c:pt idx="4">
                  <c:v>0.003300000000000001</c:v>
                </c:pt>
                <c:pt idx="5">
                  <c:v>0.0023</c:v>
                </c:pt>
                <c:pt idx="6">
                  <c:v>0.0029</c:v>
                </c:pt>
                <c:pt idx="7">
                  <c:v>0.0028000000000000004</c:v>
                </c:pt>
                <c:pt idx="8">
                  <c:v>0.0004999999999999987</c:v>
                </c:pt>
                <c:pt idx="9">
                  <c:v>-0.008100000000000001</c:v>
                </c:pt>
                <c:pt idx="10">
                  <c:v>0.0005000000000000004</c:v>
                </c:pt>
                <c:pt idx="11">
                  <c:v>-0.004799999999999999</c:v>
                </c:pt>
                <c:pt idx="12">
                  <c:v>-0.000899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a:t>
                    </a:r>
                  </a:p>
                </c:rich>
              </c:tx>
              <c:dLblPos val="ctr"/>
              <c:showLegendKey val="0"/>
              <c:showVal val="1"/>
              <c:showCatName val="0"/>
              <c:showSerName val="0"/>
              <c:showPercent val="0"/>
              <c:showBubbleSize val="0"/>
            </c:dLbl>
            <c:dLbl>
              <c:idx val="2"/>
              <c:tx>
                <c:rich>
                  <a:bodyPr/>
                  <a:lstStyle/>
                  <a:p>
                    <a:pPr>
                      <a:defRPr sz="800">
                        <a:latin typeface="Nexa Book"/>
                      </a:defRPr>
                    </a:pPr>
                    <a:r>
                      <a:t>+1.1%</a:t>
                    </a:r>
                  </a:p>
                </c:rich>
              </c:tx>
              <c:dLblPos val="ctr"/>
              <c:showLegendKey val="0"/>
              <c:showVal val="1"/>
              <c:showCatName val="0"/>
              <c:showSerName val="0"/>
              <c:showPercent val="0"/>
              <c:showBubbleSize val="0"/>
            </c:dLbl>
            <c:dLbl>
              <c:idx val="3"/>
              <c:tx>
                <c:rich>
                  <a:bodyPr/>
                  <a:lstStyle/>
                  <a:p>
                    <a:pPr>
                      <a:defRPr sz="800">
                        <a:latin typeface="Nexa Book"/>
                      </a:defRPr>
                    </a:pPr>
                    <a:r>
                      <a:t>-0.2%</a:t>
                    </a:r>
                  </a:p>
                </c:rich>
              </c:tx>
              <c:dLblPos val="ctr"/>
              <c:showLegendKey val="0"/>
              <c:showVal val="1"/>
              <c:showCatName val="0"/>
              <c:showSerName val="0"/>
              <c:showPercent val="0"/>
              <c:showBubbleSize val="0"/>
            </c:dLbl>
            <c:dLbl>
              <c:idx val="4"/>
              <c:tx>
                <c:rich>
                  <a:bodyPr/>
                  <a:lstStyle/>
                  <a:p>
                    <a:pPr>
                      <a:defRPr sz="800">
                        <a:latin typeface="Nexa Book"/>
                      </a:defRPr>
                    </a:pPr>
                    <a:r>
                      <a:t>+0.1%</a:t>
                    </a:r>
                  </a:p>
                </c:rich>
              </c:tx>
              <c:dLblPos val="ctr"/>
              <c:showLegendKey val="0"/>
              <c:showVal val="1"/>
              <c:showCatName val="0"/>
              <c:showSerName val="0"/>
              <c:showPercent val="0"/>
              <c:showBubbleSize val="0"/>
            </c:dLbl>
            <c:dLbl>
              <c:idx val="5"/>
              <c:tx>
                <c:rich>
                  <a:bodyPr/>
                  <a:lstStyle/>
                  <a:p>
                    <a:pPr>
                      <a:defRPr sz="800">
                        <a:latin typeface="Nexa Book"/>
                      </a:defRPr>
                    </a:pPr>
                    <a:r>
                      <a:t>-0.3%</a:t>
                    </a:r>
                  </a:p>
                </c:rich>
              </c:tx>
              <c:dLblPos val="ctr"/>
              <c:showLegendKey val="0"/>
              <c:showVal val="1"/>
              <c:showCatName val="0"/>
              <c:showSerName val="0"/>
              <c:showPercent val="0"/>
              <c:showBubbleSize val="0"/>
            </c:dLbl>
            <c:dLbl>
              <c:idx val="6"/>
              <c:tx>
                <c:rich>
                  <a:bodyPr/>
                  <a:lstStyle/>
                  <a:p>
                    <a:pPr>
                      <a:defRPr sz="800">
                        <a:latin typeface="Nexa Book"/>
                      </a:defRPr>
                    </a:pPr>
                    <a:r>
                      <a:t>+0.5%</a:t>
                    </a:r>
                  </a:p>
                </c:rich>
              </c:tx>
              <c:dLblPos val="ctr"/>
              <c:showLegendKey val="0"/>
              <c:showVal val="1"/>
              <c:showCatName val="0"/>
              <c:showSerName val="0"/>
              <c:showPercent val="0"/>
              <c:showBubbleSize val="0"/>
            </c:dLbl>
            <c:dLbl>
              <c:idx val="7"/>
              <c:tx>
                <c:rich>
                  <a:bodyPr/>
                  <a:lstStyle/>
                  <a:p>
                    <a:pPr>
                      <a:defRPr sz="800">
                        <a:latin typeface="Nexa Book"/>
                      </a:defRPr>
                    </a:pPr>
                    <a:r>
                      <a:t>+0.4%</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r>
                      <a:t>-0.1%</a:t>
                    </a:r>
                  </a:p>
                </c:rich>
              </c:tx>
              <c:dLblPos val="ctr"/>
              <c:showLegendKey val="0"/>
              <c:showVal val="1"/>
              <c:showCatName val="0"/>
              <c:showSerName val="0"/>
              <c:showPercent val="0"/>
              <c:showBubbleSize val="0"/>
            </c:dLbl>
            <c:dLbl>
              <c:idx val="10"/>
              <c:tx>
                <c:rich>
                  <a:bodyPr/>
                  <a:lstStyle/>
                  <a:p>
                    <a:pPr>
                      <a:defRPr sz="800">
                        <a:latin typeface="Nexa Book"/>
                      </a:defRPr>
                    </a:pPr>
                    <a:r>
                      <a:t>-0.2%</a:t>
                    </a:r>
                  </a:p>
                </c:rich>
              </c:tx>
              <c:dLblPos val="ctr"/>
              <c:showLegendKey val="0"/>
              <c:showVal val="1"/>
              <c:showCatName val="0"/>
              <c:showSerName val="0"/>
              <c:showPercent val="0"/>
              <c:showBubbleSize val="0"/>
            </c:dLbl>
            <c:dLbl>
              <c:idx val="11"/>
              <c:tx>
                <c:rich>
                  <a:bodyPr/>
                  <a:lstStyle/>
                  <a:p>
                    <a:pPr>
                      <a:defRPr sz="800">
                        <a:latin typeface="Nexa Book"/>
                      </a:defRPr>
                    </a:pPr>
                    <a:r>
                      <a:t>-0.4%</a:t>
                    </a:r>
                  </a:p>
                </c:rich>
              </c:tx>
              <c:dLblPos val="ctr"/>
              <c:showLegendKey val="0"/>
              <c:showVal val="1"/>
              <c:showCatName val="0"/>
              <c:showSerName val="0"/>
              <c:showPercent val="0"/>
              <c:showBubbleSize val="0"/>
            </c:dLbl>
            <c:dLbl>
              <c:idx val="12"/>
              <c:tx>
                <c:rich>
                  <a:bodyPr/>
                  <a:lstStyle/>
                  <a:p>
                    <a:pPr>
                      <a:defRPr sz="800">
                        <a:latin typeface="Nexa Book"/>
                      </a:defRPr>
                    </a:pPr>
                    <a:r>
                      <a:t>-0.5%</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EST</c:v>
                </c:pt>
                <c:pt idx="5">
                  <c:v>NICOLAS AQU</c:v>
                </c:pt>
                <c:pt idx="6">
                  <c:v>NICOLAS OCC</c:v>
                </c:pt>
                <c:pt idx="7">
                  <c:v>NICOLAS HAU</c:v>
                </c:pt>
                <c:pt idx="8">
                  <c:v>NICOLAS NDI</c:v>
                </c:pt>
                <c:pt idx="9">
                  <c:v>NICOLAS BOU</c:v>
                </c:pt>
                <c:pt idx="10">
                  <c:v>NICOLAS BRE</c:v>
                </c:pt>
                <c:pt idx="11">
                  <c:v>NICOLAS LOI</c:v>
                </c:pt>
                <c:pt idx="12">
                  <c:v>NICOLAS CEN</c:v>
                </c:pt>
              </c:strCache>
            </c:strRef>
          </c:cat>
          <c:val>
            <c:numRef>
              <c:f>Sheet1!$B$2:$B$14</c:f>
              <c:numCache>
                <c:formatCode>General</c:formatCode>
                <c:ptCount val="13"/>
                <c:pt idx="0">
                  <c:v>0.0</c:v>
                </c:pt>
                <c:pt idx="1">
                  <c:v>-0.005699999999999927</c:v>
                </c:pt>
                <c:pt idx="2">
                  <c:v>0.011499999999999996</c:v>
                </c:pt>
                <c:pt idx="3">
                  <c:v>-0.0021000000000000046</c:v>
                </c:pt>
                <c:pt idx="4">
                  <c:v>0.0013999999999999985</c:v>
                </c:pt>
                <c:pt idx="5">
                  <c:v>-0.003199999999999998</c:v>
                </c:pt>
                <c:pt idx="6">
                  <c:v>0.005300000000000003</c:v>
                </c:pt>
                <c:pt idx="7">
                  <c:v>0.0040999999999999995</c:v>
                </c:pt>
                <c:pt idx="8">
                  <c:v>0.0009000000000000015</c:v>
                </c:pt>
                <c:pt idx="9">
                  <c:v>-0.0008999999999999998</c:v>
                </c:pt>
                <c:pt idx="10">
                  <c:v>-0.0020999999999999994</c:v>
                </c:pt>
                <c:pt idx="11">
                  <c:v>-0.004200000000000001</c:v>
                </c:pt>
                <c:pt idx="12">
                  <c:v>-0.0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2 %</a:t>
                    </a:r>
                  </a:p>
                </c:rich>
              </c:tx>
              <c:dLblPos val="ctr"/>
              <c:showLegendKey val="0"/>
              <c:showVal val="1"/>
              <c:showCatName val="0"/>
              <c:showSerName val="0"/>
              <c:showPercent val="0"/>
              <c:showBubbleSize val="0"/>
            </c:dLbl>
            <c:dLbl>
              <c:idx val="2"/>
              <c:tx>
                <c:rich>
                  <a:bodyPr/>
                  <a:lstStyle/>
                  <a:p>
                    <a:pPr>
                      <a:defRPr sz="800">
                        <a:latin typeface="Nexa Book"/>
                      </a:defRPr>
                    </a:pPr>
                    <a:r>
                      <a:t>11.1 %</a:t>
                    </a:r>
                  </a:p>
                </c:rich>
              </c:tx>
              <c:dLblPos val="ctr"/>
              <c:showLegendKey val="0"/>
              <c:showVal val="1"/>
              <c:showCatName val="0"/>
              <c:showSerName val="0"/>
              <c:showPercent val="0"/>
              <c:showBubbleSize val="0"/>
            </c:dLbl>
            <c:dLbl>
              <c:idx val="3"/>
              <c:tx>
                <c:rich>
                  <a:bodyPr/>
                  <a:lstStyle/>
                  <a:p>
                    <a:pPr>
                      <a:defRPr sz="800">
                        <a:latin typeface="Nexa Book"/>
                      </a:defRPr>
                    </a:pPr>
                    <a:r>
                      <a:t>5.6 %</a:t>
                    </a:r>
                  </a:p>
                </c:rich>
              </c:tx>
              <c:dLblPos val="ctr"/>
              <c:showLegendKey val="0"/>
              <c:showVal val="1"/>
              <c:showCatName val="0"/>
              <c:showSerName val="0"/>
              <c:showPercent val="0"/>
              <c:showBubbleSize val="0"/>
            </c:dLbl>
            <c:dLbl>
              <c:idx val="4"/>
              <c:tx>
                <c:rich>
                  <a:bodyPr/>
                  <a:lstStyle/>
                  <a:p>
                    <a:pPr>
                      <a:defRPr sz="800">
                        <a:latin typeface="Nexa Book"/>
                      </a:defRPr>
                    </a:pPr>
                    <a:r>
                      <a:t>3.0 %</a:t>
                    </a:r>
                  </a:p>
                </c:rich>
              </c:tx>
              <c:dLblPos val="ctr"/>
              <c:showLegendKey val="0"/>
              <c:showVal val="1"/>
              <c:showCatName val="0"/>
              <c:showSerName val="0"/>
              <c:showPercent val="0"/>
              <c:showBubbleSize val="0"/>
            </c:dLbl>
            <c:dLbl>
              <c:idx val="5"/>
              <c:tx>
                <c:rich>
                  <a:bodyPr/>
                  <a:lstStyle/>
                  <a:p>
                    <a:pPr>
                      <a:defRPr sz="800">
                        <a:latin typeface="Nexa Book"/>
                      </a:defRPr>
                    </a:pPr>
                    <a:r>
                      <a:t>2.6 %</a:t>
                    </a:r>
                  </a:p>
                </c:rich>
              </c:tx>
              <c:dLblPos val="ctr"/>
              <c:showLegendKey val="0"/>
              <c:showVal val="1"/>
              <c:showCatName val="0"/>
              <c:showSerName val="0"/>
              <c:showPercent val="0"/>
              <c:showBubbleSize val="0"/>
            </c:dLbl>
            <c:dLbl>
              <c:idx val="6"/>
              <c:tx>
                <c:rich>
                  <a:bodyPr/>
                  <a:lstStyle/>
                  <a:p>
                    <a:pPr>
                      <a:defRPr sz="800">
                        <a:latin typeface="Nexa Book"/>
                      </a:defRPr>
                    </a:pPr>
                    <a:r>
                      <a:t>2.3 %</a:t>
                    </a:r>
                  </a:p>
                </c:rich>
              </c:tx>
              <c:dLblPos val="ctr"/>
              <c:showLegendKey val="0"/>
              <c:showVal val="1"/>
              <c:showCatName val="0"/>
              <c:showSerName val="0"/>
              <c:showPercent val="0"/>
              <c:showBubbleSize val="0"/>
            </c:dLbl>
            <c:dLbl>
              <c:idx val="7"/>
              <c:tx>
                <c:rich>
                  <a:bodyPr/>
                  <a:lstStyle/>
                  <a:p>
                    <a:pPr>
                      <a:defRPr sz="800">
                        <a:latin typeface="Nexa Book"/>
                      </a:defRPr>
                    </a:pPr>
                    <a:r>
                      <a:t>1.9 %</a:t>
                    </a:r>
                  </a:p>
                </c:rich>
              </c:tx>
              <c:dLblPos val="ctr"/>
              <c:showLegendKey val="0"/>
              <c:showVal val="1"/>
              <c:showCatName val="0"/>
              <c:showSerName val="0"/>
              <c:showPercent val="0"/>
              <c:showBubbleSize val="0"/>
            </c:dLbl>
            <c:dLbl>
              <c:idx val="8"/>
              <c:tx>
                <c:rich>
                  <a:bodyPr/>
                  <a:lstStyle/>
                  <a:p>
                    <a:pPr>
                      <a:defRPr sz="800">
                        <a:latin typeface="Nexa Book"/>
                      </a:defRPr>
                    </a:pPr>
                    <a:r>
                      <a:t>1.3 %</a:t>
                    </a:r>
                  </a:p>
                </c:rich>
              </c:tx>
              <c:dLblPos val="ctr"/>
              <c:showLegendKey val="0"/>
              <c:showVal val="1"/>
              <c:showCatName val="0"/>
              <c:showSerName val="0"/>
              <c:showPercent val="0"/>
              <c:showBubbleSize val="0"/>
            </c:dLbl>
            <c:dLbl>
              <c:idx val="9"/>
              <c:tx>
                <c:rich>
                  <a:bodyPr/>
                  <a:lstStyle/>
                  <a:p>
                    <a:pPr>
                      <a:defRPr sz="800">
                        <a:latin typeface="Nexa Book"/>
                      </a:defRPr>
                    </a:pPr>
                    <a:r>
                      <a:t>1.0 %</a:t>
                    </a:r>
                  </a:p>
                </c:rich>
              </c:tx>
              <c:dLblPos val="ctr"/>
              <c:showLegendKey val="0"/>
              <c:showVal val="1"/>
              <c:showCatName val="0"/>
              <c:showSerName val="0"/>
              <c:showPercent val="0"/>
              <c:showBubbleSize val="0"/>
            </c:dLbl>
            <c:dLbl>
              <c:idx val="10"/>
              <c:tx>
                <c:rich>
                  <a:bodyPr/>
                  <a:lstStyle/>
                  <a:p>
                    <a:pPr>
                      <a:defRPr sz="800">
                        <a:latin typeface="Nexa Book"/>
                      </a:defRPr>
                    </a:pPr>
                    <a:r>
                      <a:t>0.8 %</a:t>
                    </a:r>
                  </a:p>
                </c:rich>
              </c:tx>
              <c:dLblPos val="ctr"/>
              <c:showLegendKey val="0"/>
              <c:showVal val="1"/>
              <c:showCatName val="0"/>
              <c:showSerName val="0"/>
              <c:showPercent val="0"/>
              <c:showBubbleSize val="0"/>
            </c:dLbl>
            <c:dLbl>
              <c:idx val="11"/>
              <c:tx>
                <c:rich>
                  <a:bodyPr/>
                  <a:lstStyle/>
                  <a:p>
                    <a:pPr>
                      <a:defRPr sz="800">
                        <a:latin typeface="Nexa Book"/>
                      </a:defRPr>
                    </a:pPr>
                    <a:r>
                      <a:t>0.6 %</a:t>
                    </a:r>
                  </a:p>
                </c:rich>
              </c:tx>
              <c:dLblPos val="ctr"/>
              <c:showLegendKey val="0"/>
              <c:showVal val="1"/>
              <c:showCatName val="0"/>
              <c:showSerName val="0"/>
              <c:showPercent val="0"/>
              <c:showBubbleSize val="0"/>
            </c:dLbl>
            <c:dLbl>
              <c:idx val="12"/>
              <c:tx>
                <c:rich>
                  <a:bodyPr/>
                  <a:lstStyle/>
                  <a:p>
                    <a:pPr>
                      <a:defRPr sz="800">
                        <a:latin typeface="Nexa Book"/>
                      </a:defRPr>
                    </a:pPr>
                    <a:r>
                      <a:t>0.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c:v>
                </c:pt>
                <c:pt idx="1">
                  <c:v>0.6919</c:v>
                </c:pt>
                <c:pt idx="2">
                  <c:v>0.1106</c:v>
                </c:pt>
                <c:pt idx="3">
                  <c:v>0.0558</c:v>
                </c:pt>
                <c:pt idx="4">
                  <c:v>0.0305</c:v>
                </c:pt>
                <c:pt idx="5">
                  <c:v>0.0263</c:v>
                </c:pt>
                <c:pt idx="6">
                  <c:v>0.0226</c:v>
                </c:pt>
                <c:pt idx="7">
                  <c:v>0.0191</c:v>
                </c:pt>
                <c:pt idx="8">
                  <c:v>0.0132</c:v>
                </c:pt>
                <c:pt idx="9">
                  <c:v>0.0103</c:v>
                </c:pt>
                <c:pt idx="10">
                  <c:v>0.0083</c:v>
                </c:pt>
                <c:pt idx="11">
                  <c:v>0.0062</c:v>
                </c:pt>
                <c:pt idx="12">
                  <c:v>0.00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7 %</a:t>
                    </a:r>
                  </a:p>
                </c:rich>
              </c:tx>
              <c:dLblPos val="ctr"/>
              <c:showLegendKey val="0"/>
              <c:showVal val="1"/>
              <c:showCatName val="0"/>
              <c:showSerName val="0"/>
              <c:showPercent val="0"/>
              <c:showBubbleSize val="0"/>
            </c:dLbl>
            <c:dLbl>
              <c:idx val="2"/>
              <c:tx>
                <c:rich>
                  <a:bodyPr/>
                  <a:lstStyle/>
                  <a:p>
                    <a:pPr>
                      <a:defRPr sz="800">
                        <a:latin typeface="Nexa Book"/>
                      </a:defRPr>
                    </a:pPr>
                    <a:r>
                      <a:t>10.8 %</a:t>
                    </a:r>
                  </a:p>
                </c:rich>
              </c:tx>
              <c:dLblPos val="ctr"/>
              <c:showLegendKey val="0"/>
              <c:showVal val="1"/>
              <c:showCatName val="0"/>
              <c:showSerName val="0"/>
              <c:showPercent val="0"/>
              <c:showBubbleSize val="0"/>
            </c:dLbl>
            <c:dLbl>
              <c:idx val="3"/>
              <c:tx>
                <c:rich>
                  <a:bodyPr/>
                  <a:lstStyle/>
                  <a:p>
                    <a:pPr>
                      <a:defRPr sz="800">
                        <a:latin typeface="Nexa Book"/>
                      </a:defRPr>
                    </a:pPr>
                    <a:r>
                      <a:t>6.4 %</a:t>
                    </a:r>
                  </a:p>
                </c:rich>
              </c:tx>
              <c:dLblPos val="ctr"/>
              <c:showLegendKey val="0"/>
              <c:showVal val="1"/>
              <c:showCatName val="0"/>
              <c:showSerName val="0"/>
              <c:showPercent val="0"/>
              <c:showBubbleSize val="0"/>
            </c:dLbl>
            <c:dLbl>
              <c:idx val="4"/>
              <c:tx>
                <c:rich>
                  <a:bodyPr/>
                  <a:lstStyle/>
                  <a:p>
                    <a:pPr>
                      <a:defRPr sz="800">
                        <a:latin typeface="Nexa Book"/>
                      </a:defRPr>
                    </a:pPr>
                    <a:r>
                      <a:t>3.6 %</a:t>
                    </a:r>
                  </a:p>
                </c:rich>
              </c:tx>
              <c:dLblPos val="ctr"/>
              <c:showLegendKey val="0"/>
              <c:showVal val="1"/>
              <c:showCatName val="0"/>
              <c:showSerName val="0"/>
              <c:showPercent val="0"/>
              <c:showBubbleSize val="0"/>
            </c:dLbl>
            <c:dLbl>
              <c:idx val="5"/>
              <c:tx>
                <c:rich>
                  <a:bodyPr/>
                  <a:lstStyle/>
                  <a:p>
                    <a:pPr>
                      <a:defRPr sz="800">
                        <a:latin typeface="Nexa Book"/>
                      </a:defRPr>
                    </a:pPr>
                    <a:r>
                      <a:t>4.5 %</a:t>
                    </a:r>
                  </a:p>
                </c:rich>
              </c:tx>
              <c:dLblPos val="ctr"/>
              <c:showLegendKey val="0"/>
              <c:showVal val="1"/>
              <c:showCatName val="0"/>
              <c:showSerName val="0"/>
              <c:showPercent val="0"/>
              <c:showBubbleSize val="0"/>
            </c:dLbl>
            <c:dLbl>
              <c:idx val="6"/>
              <c:tx>
                <c:rich>
                  <a:bodyPr/>
                  <a:lstStyle/>
                  <a:p>
                    <a:pPr>
                      <a:defRPr sz="800">
                        <a:latin typeface="Nexa Book"/>
                      </a:defRPr>
                    </a:pPr>
                    <a:r>
                      <a:t>2.4 %</a:t>
                    </a:r>
                  </a:p>
                </c:rich>
              </c:tx>
              <c:dLblPos val="ctr"/>
              <c:showLegendKey val="0"/>
              <c:showVal val="1"/>
              <c:showCatName val="0"/>
              <c:showSerName val="0"/>
              <c:showPercent val="0"/>
              <c:showBubbleSize val="0"/>
            </c:dLbl>
            <c:dLbl>
              <c:idx val="7"/>
              <c:tx>
                <c:rich>
                  <a:bodyPr/>
                  <a:lstStyle/>
                  <a:p>
                    <a:pPr>
                      <a:defRPr sz="800">
                        <a:latin typeface="Nexa Book"/>
                      </a:defRPr>
                    </a:pPr>
                    <a:r>
                      <a:t>2.8 %</a:t>
                    </a:r>
                  </a:p>
                </c:rich>
              </c:tx>
              <c:dLblPos val="ctr"/>
              <c:showLegendKey val="0"/>
              <c:showVal val="1"/>
              <c:showCatName val="0"/>
              <c:showSerName val="0"/>
              <c:showPercent val="0"/>
              <c:showBubbleSize val="0"/>
            </c:dLbl>
            <c:dLbl>
              <c:idx val="8"/>
              <c:tx>
                <c:rich>
                  <a:bodyPr/>
                  <a:lstStyle/>
                  <a:p>
                    <a:pPr>
                      <a:defRPr sz="800">
                        <a:latin typeface="Nexa Book"/>
                      </a:defRPr>
                    </a:pPr>
                    <a:r>
                      <a:t>1.4 %</a:t>
                    </a:r>
                  </a:p>
                </c:rich>
              </c:tx>
              <c:dLblPos val="ctr"/>
              <c:showLegendKey val="0"/>
              <c:showVal val="1"/>
              <c:showCatName val="0"/>
              <c:showSerName val="0"/>
              <c:showPercent val="0"/>
              <c:showBubbleSize val="0"/>
            </c:dLbl>
            <c:dLbl>
              <c:idx val="9"/>
              <c:tx>
                <c:rich>
                  <a:bodyPr/>
                  <a:lstStyle/>
                  <a:p>
                    <a:pPr>
                      <a:defRPr sz="800">
                        <a:latin typeface="Nexa Book"/>
                      </a:defRPr>
                    </a:pPr>
                    <a:r>
                      <a:t>1.2 %</a:t>
                    </a:r>
                  </a:p>
                </c:rich>
              </c:tx>
              <c:dLblPos val="ctr"/>
              <c:showLegendKey val="0"/>
              <c:showVal val="1"/>
              <c:showCatName val="0"/>
              <c:showSerName val="0"/>
              <c:showPercent val="0"/>
              <c:showBubbleSize val="0"/>
            </c:dLbl>
            <c:dLbl>
              <c:idx val="10"/>
              <c:tx>
                <c:rich>
                  <a:bodyPr/>
                  <a:lstStyle/>
                  <a:p>
                    <a:pPr>
                      <a:defRPr sz="800">
                        <a:latin typeface="Nexa Book"/>
                      </a:defRPr>
                    </a:pPr>
                    <a:r>
                      <a:t>0.8 %</a:t>
                    </a:r>
                  </a:p>
                </c:rich>
              </c:tx>
              <c:dLblPos val="ctr"/>
              <c:showLegendKey val="0"/>
              <c:showVal val="1"/>
              <c:showCatName val="0"/>
              <c:showSerName val="0"/>
              <c:showPercent val="0"/>
              <c:showBubbleSize val="0"/>
            </c:dLbl>
            <c:dLbl>
              <c:idx val="11"/>
              <c:tx>
                <c:rich>
                  <a:bodyPr/>
                  <a:lstStyle/>
                  <a:p>
                    <a:pPr>
                      <a:defRPr sz="800">
                        <a:latin typeface="Nexa Book"/>
                      </a:defRPr>
                    </a:pPr>
                    <a:r>
                      <a:t>0.5 %</a:t>
                    </a:r>
                  </a:p>
                </c:rich>
              </c:tx>
              <c:dLblPos val="ctr"/>
              <c:showLegendKey val="0"/>
              <c:showVal val="1"/>
              <c:showCatName val="0"/>
              <c:showSerName val="0"/>
              <c:showPercent val="0"/>
              <c:showBubbleSize val="0"/>
            </c:dLbl>
            <c:dLbl>
              <c:idx val="12"/>
              <c:tx>
                <c:rich>
                  <a:bodyPr/>
                  <a:lstStyle/>
                  <a:p>
                    <a:pPr>
                      <a:defRPr sz="800">
                        <a:latin typeface="Nexa Book"/>
                      </a:defRPr>
                    </a:pPr>
                    <a:r>
                      <a:t>0.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c:v>
                </c:pt>
                <c:pt idx="1">
                  <c:v>0.6468</c:v>
                </c:pt>
                <c:pt idx="2">
                  <c:v>0.108</c:v>
                </c:pt>
                <c:pt idx="3">
                  <c:v>0.0639</c:v>
                </c:pt>
                <c:pt idx="4">
                  <c:v>0.0365</c:v>
                </c:pt>
                <c:pt idx="5">
                  <c:v>0.0453</c:v>
                </c:pt>
                <c:pt idx="6">
                  <c:v>0.0242</c:v>
                </c:pt>
                <c:pt idx="7">
                  <c:v>0.0281</c:v>
                </c:pt>
                <c:pt idx="8">
                  <c:v>0.014</c:v>
                </c:pt>
                <c:pt idx="9">
                  <c:v>0.0123</c:v>
                </c:pt>
                <c:pt idx="10">
                  <c:v>0.0082</c:v>
                </c:pt>
                <c:pt idx="11">
                  <c:v>0.005</c:v>
                </c:pt>
                <c:pt idx="12">
                  <c:v>0.00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a:t>
                    </a:r>
                  </a:p>
                </c:rich>
              </c:tx>
              <c:dLblPos val="ctr"/>
              <c:showLegendKey val="0"/>
              <c:showVal val="1"/>
              <c:showCatName val="0"/>
              <c:showSerName val="0"/>
              <c:showPercent val="0"/>
              <c:showBubbleSize val="0"/>
            </c:dLbl>
            <c:dLbl>
              <c:idx val="1"/>
              <c:tx>
                <c:rich>
                  <a:bodyPr/>
                  <a:lstStyle/>
                  <a:p>
                    <a:pPr>
                      <a:defRPr sz="800">
                        <a:latin typeface="Nexa Book"/>
                      </a:defRPr>
                    </a:pPr>
                    <a:r>
                      <a:t>3</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p>
                </c:rich>
              </c:tx>
              <c:dLblPos val="ctr"/>
              <c:showLegendKey val="0"/>
              <c:showVal val="1"/>
              <c:showCatName val="0"/>
              <c:showSerName val="0"/>
              <c:showPercent val="0"/>
              <c:showBubbleSize val="0"/>
            </c:dLbl>
            <c:dLbl>
              <c:idx val="8"/>
              <c:tx>
                <c:rich>
                  <a:bodyPr/>
                  <a:lstStyle/>
                  <a:p>
                    <a:pPr>
                      <a:defRPr sz="800">
                        <a:latin typeface="Nexa Book"/>
                      </a:defRPr>
                    </a:pP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p>
                </c:rich>
              </c:tx>
              <c:dLblPos val="ctr"/>
              <c:showLegendKey val="0"/>
              <c:showVal val="1"/>
              <c:showCatName val="0"/>
              <c:showSerName val="0"/>
              <c:showPercent val="0"/>
              <c:showBubbleSize val="0"/>
            </c:dLbl>
            <c:dLbl>
              <c:idx val="11"/>
              <c:tx>
                <c:rich>
                  <a:bodyPr/>
                  <a:lstStyle/>
                  <a:p>
                    <a:pPr>
                      <a:defRPr sz="800">
                        <a:latin typeface="Nexa Book"/>
                      </a:defRPr>
                    </a:pPr>
                  </a:p>
                </c:rich>
              </c:tx>
              <c:dLblPos val="ctr"/>
              <c:showLegendKey val="0"/>
              <c:showVal val="1"/>
              <c:showCatName val="0"/>
              <c:showSerName val="0"/>
              <c:showPercent val="0"/>
              <c:showBubbleSize val="0"/>
            </c:dLbl>
            <c:dLbl>
              <c:idx val="12"/>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4288634.0</c:v>
                </c:pt>
                <c:pt idx="1">
                  <c:v>2967209.0</c:v>
                </c:pt>
                <c:pt idx="2">
                  <c:v>474208.0</c:v>
                </c:pt>
                <c:pt idx="3">
                  <c:v>239411.0</c:v>
                </c:pt>
                <c:pt idx="4">
                  <c:v>130890.0</c:v>
                </c:pt>
                <c:pt idx="5">
                  <c:v>112908.0</c:v>
                </c:pt>
                <c:pt idx="6">
                  <c:v>96852.0</c:v>
                </c:pt>
                <c:pt idx="7">
                  <c:v>81816.0</c:v>
                </c:pt>
                <c:pt idx="8">
                  <c:v>56597.0</c:v>
                </c:pt>
                <c:pt idx="9">
                  <c:v>44133.0</c:v>
                </c:pt>
                <c:pt idx="10">
                  <c:v>35762.0</c:v>
                </c:pt>
                <c:pt idx="11">
                  <c:v>26387.0</c:v>
                </c:pt>
                <c:pt idx="12">
                  <c:v>2246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4</a:t>
                    </a:r>
                  </a:p>
                </c:rich>
              </c:tx>
              <c:dLblPos val="ctr"/>
              <c:showLegendKey val="0"/>
              <c:showVal val="1"/>
              <c:showCatName val="0"/>
              <c:showSerName val="0"/>
              <c:showPercent val="0"/>
              <c:showBubbleSize val="0"/>
            </c:dLbl>
            <c:dLbl>
              <c:idx val="1"/>
              <c:tx>
                <c:rich>
                  <a:bodyPr/>
                  <a:lstStyle/>
                  <a:p>
                    <a:pPr>
                      <a:defRPr sz="800">
                        <a:latin typeface="Nexa Book"/>
                      </a:defRPr>
                    </a:pPr>
                    <a:r>
                      <a:t>0.3</a:t>
                    </a: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dLbl>
              <c:idx val="7"/>
              <c:tx>
                <c:rich>
                  <a:bodyPr/>
                  <a:lstStyle/>
                  <a:p>
                    <a:pPr>
                      <a:defRPr sz="800">
                        <a:latin typeface="Nexa Book"/>
                      </a:defRPr>
                    </a:pPr>
                    <a:r>
                      <a:t>0.0</a:t>
                    </a:r>
                  </a:p>
                </c:rich>
              </c:tx>
              <c:dLblPos val="ctr"/>
              <c:showLegendKey val="0"/>
              <c:showVal val="1"/>
              <c:showCatName val="0"/>
              <c:showSerName val="0"/>
              <c:showPercent val="0"/>
              <c:showBubbleSize val="0"/>
            </c:dLbl>
            <c:dLbl>
              <c:idx val="8"/>
              <c:tx>
                <c:rich>
                  <a:bodyPr/>
                  <a:lstStyle/>
                  <a:p>
                    <a:pPr>
                      <a:defRPr sz="800">
                        <a:latin typeface="Nexa Book"/>
                      </a:defRPr>
                    </a:pPr>
                    <a:r>
                      <a:t>0.0</a:t>
                    </a:r>
                  </a:p>
                </c:rich>
              </c:tx>
              <c:dLblPos val="ctr"/>
              <c:showLegendKey val="0"/>
              <c:showVal val="1"/>
              <c:showCatName val="0"/>
              <c:showSerName val="0"/>
              <c:showPercent val="0"/>
              <c:showBubbleSize val="0"/>
            </c:dLbl>
            <c:dLbl>
              <c:idx val="9"/>
              <c:tx>
                <c:rich>
                  <a:bodyPr/>
                  <a:lstStyle/>
                  <a:p>
                    <a:pPr>
                      <a:defRPr sz="800">
                        <a:latin typeface="Nexa Book"/>
                      </a:defRPr>
                    </a:pPr>
                    <a:r>
                      <a:t>0.0</a:t>
                    </a:r>
                  </a:p>
                </c:rich>
              </c:tx>
              <c:dLblPos val="ctr"/>
              <c:showLegendKey val="0"/>
              <c:showVal val="1"/>
              <c:showCatName val="0"/>
              <c:showSerName val="0"/>
              <c:showPercent val="0"/>
              <c:showBubbleSize val="0"/>
            </c:dLbl>
            <c:dLbl>
              <c:idx val="10"/>
              <c:tx>
                <c:rich>
                  <a:bodyPr/>
                  <a:lstStyle/>
                  <a:p>
                    <a:pPr>
                      <a:defRPr sz="800">
                        <a:latin typeface="Nexa Book"/>
                      </a:defRPr>
                    </a:pPr>
                    <a:r>
                      <a:t>0.0</a:t>
                    </a:r>
                  </a:p>
                </c:rich>
              </c:tx>
              <c:dLblPos val="ctr"/>
              <c:showLegendKey val="0"/>
              <c:showVal val="1"/>
              <c:showCatName val="0"/>
              <c:showSerName val="0"/>
              <c:showPercent val="0"/>
              <c:showBubbleSize val="0"/>
            </c:dLbl>
            <c:dLbl>
              <c:idx val="11"/>
              <c:tx>
                <c:rich>
                  <a:bodyPr/>
                  <a:lstStyle/>
                  <a:p>
                    <a:pPr>
                      <a:defRPr sz="800">
                        <a:latin typeface="Nexa Book"/>
                      </a:defRPr>
                    </a:pPr>
                    <a:r>
                      <a:t>0.0</a:t>
                    </a:r>
                  </a:p>
                </c:rich>
              </c:tx>
              <c:dLblPos val="ctr"/>
              <c:showLegendKey val="0"/>
              <c:showVal val="1"/>
              <c:showCatName val="0"/>
              <c:showSerName val="0"/>
              <c:showPercent val="0"/>
              <c:showBubbleSize val="0"/>
            </c:dLbl>
            <c:dLbl>
              <c:idx val="12"/>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415083.0</c:v>
                </c:pt>
                <c:pt idx="1">
                  <c:v>268461.0</c:v>
                </c:pt>
                <c:pt idx="2">
                  <c:v>44823.0</c:v>
                </c:pt>
                <c:pt idx="3">
                  <c:v>26507.0</c:v>
                </c:pt>
                <c:pt idx="4">
                  <c:v>15156.0</c:v>
                </c:pt>
                <c:pt idx="5">
                  <c:v>18810.0</c:v>
                </c:pt>
                <c:pt idx="6">
                  <c:v>10056.0</c:v>
                </c:pt>
                <c:pt idx="7">
                  <c:v>11675.0</c:v>
                </c:pt>
                <c:pt idx="8">
                  <c:v>5793.0</c:v>
                </c:pt>
                <c:pt idx="9">
                  <c:v>5111.0</c:v>
                </c:pt>
                <c:pt idx="10">
                  <c:v>3403.0</c:v>
                </c:pt>
                <c:pt idx="11">
                  <c:v>2062.0</c:v>
                </c:pt>
                <c:pt idx="12">
                  <c:v>322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a:t>
                    </a:r>
                  </a:p>
                </c:rich>
              </c:tx>
              <c:dLblPos val="ctr"/>
              <c:showLegendKey val="0"/>
              <c:showVal val="1"/>
              <c:showCatName val="0"/>
              <c:showSerName val="0"/>
              <c:showPercent val="0"/>
              <c:showBubbleSize val="0"/>
            </c:dLbl>
            <c:dLbl>
              <c:idx val="2"/>
              <c:tx>
                <c:rich>
                  <a:bodyPr/>
                  <a:lstStyle/>
                  <a:p>
                    <a:pPr>
                      <a:defRPr sz="800">
                        <a:latin typeface="Nexa Book"/>
                      </a:defRPr>
                    </a:pPr>
                    <a:r>
                      <a:t>+0.4%</a:t>
                    </a:r>
                  </a:p>
                </c:rich>
              </c:tx>
              <c:dLblPos val="ctr"/>
              <c:showLegendKey val="0"/>
              <c:showVal val="1"/>
              <c:showCatName val="0"/>
              <c:showSerName val="0"/>
              <c:showPercent val="0"/>
              <c:showBubbleSize val="0"/>
            </c:dLbl>
            <c:dLbl>
              <c:idx val="3"/>
              <c:tx>
                <c:rich>
                  <a:bodyPr/>
                  <a:lstStyle/>
                  <a:p>
                    <a:pPr>
                      <a:defRPr sz="800">
                        <a:latin typeface="Nexa Book"/>
                      </a:defRPr>
                    </a:pPr>
                    <a:r>
                      <a:t>-0.6%</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0.5%</a:t>
                    </a:r>
                  </a:p>
                </c:rich>
              </c:tx>
              <c:dLblPos val="ctr"/>
              <c:showLegendKey val="0"/>
              <c:showVal val="1"/>
              <c:showCatName val="0"/>
              <c:showSerName val="0"/>
              <c:showPercent val="0"/>
              <c:showBubbleSize val="0"/>
            </c:dLbl>
            <c:dLbl>
              <c:idx val="6"/>
              <c:tx>
                <c:rich>
                  <a:bodyPr/>
                  <a:lstStyle/>
                  <a:p>
                    <a:pPr>
                      <a:defRPr sz="800">
                        <a:latin typeface="Nexa Book"/>
                      </a:defRPr>
                    </a:pPr>
                    <a:r>
                      <a:t>-0.1%</a:t>
                    </a:r>
                  </a:p>
                </c:rich>
              </c:tx>
              <c:dLblPos val="ctr"/>
              <c:showLegendKey val="0"/>
              <c:showVal val="1"/>
              <c:showCatName val="0"/>
              <c:showSerName val="0"/>
              <c:showPercent val="0"/>
              <c:showBubbleSize val="0"/>
            </c:dLbl>
            <c:dLbl>
              <c:idx val="7"/>
              <c:tx>
                <c:rich>
                  <a:bodyPr/>
                  <a:lstStyle/>
                  <a:p>
                    <a:pPr>
                      <a:defRPr sz="800">
                        <a:latin typeface="Nexa Book"/>
                      </a:defRPr>
                    </a:pPr>
                    <a:r>
                      <a:t>+0.2%</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r>
                      <a:t>-0.2%</a:t>
                    </a:r>
                  </a:p>
                </c:rich>
              </c:tx>
              <c:dLblPos val="ctr"/>
              <c:showLegendKey val="0"/>
              <c:showVal val="1"/>
              <c:showCatName val="0"/>
              <c:showSerName val="0"/>
              <c:showPercent val="0"/>
              <c:showBubbleSize val="0"/>
            </c:dLbl>
            <c:dLbl>
              <c:idx val="11"/>
              <c:tx>
                <c:rich>
                  <a:bodyPr/>
                  <a:lstStyle/>
                  <a:p>
                    <a:pPr>
                      <a:defRPr sz="800">
                        <a:latin typeface="Nexa Book"/>
                      </a:defRPr>
                    </a:pPr>
                  </a:p>
                </c:rich>
              </c:tx>
              <c:dLblPos val="ctr"/>
              <c:showLegendKey val="0"/>
              <c:showVal val="1"/>
              <c:showCatName val="0"/>
              <c:showSerName val="0"/>
              <c:showPercent val="0"/>
              <c:showBubbleSize val="0"/>
            </c:dLbl>
            <c:dLbl>
              <c:idx val="12"/>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0.0</c:v>
                </c:pt>
                <c:pt idx="1">
                  <c:v>-0.006400000000000072</c:v>
                </c:pt>
                <c:pt idx="2">
                  <c:v>0.003799999999999998</c:v>
                </c:pt>
                <c:pt idx="3">
                  <c:v>-0.0058999999999999955</c:v>
                </c:pt>
                <c:pt idx="4">
                  <c:v>0.0024999999999999988</c:v>
                </c:pt>
                <c:pt idx="5">
                  <c:v>0.004900000000000002</c:v>
                </c:pt>
                <c:pt idx="6">
                  <c:v>-0.0005999999999999998</c:v>
                </c:pt>
                <c:pt idx="7">
                  <c:v>0.0020999999999999977</c:v>
                </c:pt>
                <c:pt idx="8">
                  <c:v>0.0005999999999999998</c:v>
                </c:pt>
                <c:pt idx="9">
                  <c:v>-9.99999999999994e-05</c:v>
                </c:pt>
                <c:pt idx="10">
                  <c:v>-0.0017000000000000001</c:v>
                </c:pt>
                <c:pt idx="11">
                  <c:v>0.0002999999999999999</c:v>
                </c:pt>
                <c:pt idx="12">
                  <c:v>0.000400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a:t>
                    </a:r>
                  </a:p>
                </c:rich>
              </c:tx>
              <c:dLblPos val="ctr"/>
              <c:showLegendKey val="0"/>
              <c:showVal val="1"/>
              <c:showCatName val="0"/>
              <c:showSerName val="0"/>
              <c:showPercent val="0"/>
              <c:showBubbleSize val="0"/>
            </c:dLbl>
            <c:dLbl>
              <c:idx val="2"/>
              <c:tx>
                <c:rich>
                  <a:bodyPr/>
                  <a:lstStyle/>
                  <a:p>
                    <a:pPr>
                      <a:defRPr sz="800">
                        <a:latin typeface="Nexa Book"/>
                      </a:defRPr>
                    </a:pPr>
                    <a:r>
                      <a:t>-1.9%</a:t>
                    </a:r>
                  </a:p>
                </c:rich>
              </c:tx>
              <c:dLblPos val="ctr"/>
              <c:showLegendKey val="0"/>
              <c:showVal val="1"/>
              <c:showCatName val="0"/>
              <c:showSerName val="0"/>
              <c:showPercent val="0"/>
              <c:showBubbleSize val="0"/>
            </c:dLbl>
            <c:dLbl>
              <c:idx val="3"/>
              <c:tx>
                <c:rich>
                  <a:bodyPr/>
                  <a:lstStyle/>
                  <a:p>
                    <a:pPr>
                      <a:defRPr sz="800">
                        <a:latin typeface="Nexa Book"/>
                      </a:defRPr>
                    </a:pPr>
                    <a:r>
                      <a:t>+0.8%</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1.4%</a:t>
                    </a:r>
                  </a:p>
                </c:rich>
              </c:tx>
              <c:dLblPos val="ctr"/>
              <c:showLegendKey val="0"/>
              <c:showVal val="1"/>
              <c:showCatName val="0"/>
              <c:showSerName val="0"/>
              <c:showPercent val="0"/>
              <c:showBubbleSize val="0"/>
            </c:dLbl>
            <c:dLbl>
              <c:idx val="6"/>
              <c:tx>
                <c:rich>
                  <a:bodyPr/>
                  <a:lstStyle/>
                  <a:p>
                    <a:pPr>
                      <a:defRPr sz="800">
                        <a:latin typeface="Nexa Book"/>
                      </a:defRPr>
                    </a:pPr>
                    <a:r>
                      <a:t>+0.2%</a:t>
                    </a:r>
                  </a:p>
                </c:rich>
              </c:tx>
              <c:dLblPos val="ctr"/>
              <c:showLegendKey val="0"/>
              <c:showVal val="1"/>
              <c:showCatName val="0"/>
              <c:showSerName val="0"/>
              <c:showPercent val="0"/>
              <c:showBubbleSize val="0"/>
            </c:dLbl>
            <c:dLbl>
              <c:idx val="7"/>
              <c:tx>
                <c:rich>
                  <a:bodyPr/>
                  <a:lstStyle/>
                  <a:p>
                    <a:pPr>
                      <a:defRPr sz="800">
                        <a:latin typeface="Nexa Book"/>
                      </a:defRPr>
                    </a:pPr>
                    <a:r>
                      <a:t>+0.6%</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r>
                      <a:t>-0.2%</a:t>
                    </a:r>
                  </a:p>
                </c:rich>
              </c:tx>
              <c:dLblPos val="ctr"/>
              <c:showLegendKey val="0"/>
              <c:showVal val="1"/>
              <c:showCatName val="0"/>
              <c:showSerName val="0"/>
              <c:showPercent val="0"/>
              <c:showBubbleSize val="0"/>
            </c:dLbl>
            <c:dLbl>
              <c:idx val="11"/>
              <c:tx>
                <c:rich>
                  <a:bodyPr/>
                  <a:lstStyle/>
                  <a:p>
                    <a:pPr>
                      <a:defRPr sz="800">
                        <a:latin typeface="Nexa Book"/>
                      </a:defRPr>
                    </a:pPr>
                    <a:r>
                      <a:t>-0.2%</a:t>
                    </a:r>
                  </a:p>
                </c:rich>
              </c:tx>
              <c:dLblPos val="ctr"/>
              <c:showLegendKey val="0"/>
              <c:showVal val="1"/>
              <c:showCatName val="0"/>
              <c:showSerName val="0"/>
              <c:showPercent val="0"/>
              <c:showBubbleSize val="0"/>
            </c:dLbl>
            <c:dLbl>
              <c:idx val="12"/>
              <c:tx>
                <c:rich>
                  <a:bodyPr/>
                  <a:lstStyle/>
                  <a:p>
                    <a:pPr>
                      <a:defRPr sz="800">
                        <a:latin typeface="Nexa Book"/>
                      </a:defRPr>
                    </a:pPr>
                    <a:r>
                      <a:t>+0.2%</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0.0</c:v>
                </c:pt>
                <c:pt idx="1">
                  <c:v>-0.01200000000000001</c:v>
                </c:pt>
                <c:pt idx="2">
                  <c:v>-0.019400000000000014</c:v>
                </c:pt>
                <c:pt idx="3">
                  <c:v>0.008099999999999996</c:v>
                </c:pt>
                <c:pt idx="4">
                  <c:v>0.0022000000000000006</c:v>
                </c:pt>
                <c:pt idx="5">
                  <c:v>0.0144</c:v>
                </c:pt>
                <c:pt idx="6">
                  <c:v>0.0017000000000000001</c:v>
                </c:pt>
                <c:pt idx="7">
                  <c:v>0.005899999999999999</c:v>
                </c:pt>
                <c:pt idx="8">
                  <c:v>0.0011000000000000003</c:v>
                </c:pt>
                <c:pt idx="9">
                  <c:v>0.0003999999999999993</c:v>
                </c:pt>
                <c:pt idx="10">
                  <c:v>-0.002</c:v>
                </c:pt>
                <c:pt idx="11">
                  <c:v>-0.0018999999999999998</c:v>
                </c:pt>
                <c:pt idx="12">
                  <c:v>0.00159999999999999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9.2 %</a:t>
                    </a:r>
                  </a:p>
                </c:rich>
              </c:tx>
              <c:dLblPos val="ctr"/>
              <c:showLegendKey val="0"/>
              <c:showVal val="1"/>
              <c:showCatName val="0"/>
              <c:showSerName val="0"/>
              <c:showPercent val="0"/>
              <c:showBubbleSize val="0"/>
            </c:dLbl>
            <c:dLbl>
              <c:idx val="2"/>
              <c:tx>
                <c:rich>
                  <a:bodyPr/>
                  <a:lstStyle/>
                  <a:p>
                    <a:pPr>
                      <a:defRPr sz="800">
                        <a:latin typeface="Nexa Book"/>
                      </a:defRPr>
                    </a:pPr>
                    <a:r>
                      <a:t>11.1 %</a:t>
                    </a:r>
                  </a:p>
                </c:rich>
              </c:tx>
              <c:dLblPos val="ctr"/>
              <c:showLegendKey val="0"/>
              <c:showVal val="1"/>
              <c:showCatName val="0"/>
              <c:showSerName val="0"/>
              <c:showPercent val="0"/>
              <c:showBubbleSize val="0"/>
            </c:dLbl>
            <c:dLbl>
              <c:idx val="3"/>
              <c:tx>
                <c:rich>
                  <a:bodyPr/>
                  <a:lstStyle/>
                  <a:p>
                    <a:pPr>
                      <a:defRPr sz="800">
                        <a:latin typeface="Nexa Book"/>
                      </a:defRPr>
                    </a:pPr>
                    <a:r>
                      <a:t>5.6 %</a:t>
                    </a:r>
                  </a:p>
                </c:rich>
              </c:tx>
              <c:dLblPos val="ctr"/>
              <c:showLegendKey val="0"/>
              <c:showVal val="1"/>
              <c:showCatName val="0"/>
              <c:showSerName val="0"/>
              <c:showPercent val="0"/>
              <c:showBubbleSize val="0"/>
            </c:dLbl>
            <c:dLbl>
              <c:idx val="4"/>
              <c:tx>
                <c:rich>
                  <a:bodyPr/>
                  <a:lstStyle/>
                  <a:p>
                    <a:pPr>
                      <a:defRPr sz="800">
                        <a:latin typeface="Nexa Book"/>
                      </a:defRPr>
                    </a:pPr>
                    <a:r>
                      <a:t>3.0 %</a:t>
                    </a:r>
                  </a:p>
                </c:rich>
              </c:tx>
              <c:dLblPos val="ctr"/>
              <c:showLegendKey val="0"/>
              <c:showVal val="1"/>
              <c:showCatName val="0"/>
              <c:showSerName val="0"/>
              <c:showPercent val="0"/>
              <c:showBubbleSize val="0"/>
            </c:dLbl>
            <c:dLbl>
              <c:idx val="5"/>
              <c:tx>
                <c:rich>
                  <a:bodyPr/>
                  <a:lstStyle/>
                  <a:p>
                    <a:pPr>
                      <a:defRPr sz="800">
                        <a:latin typeface="Nexa Book"/>
                      </a:defRPr>
                    </a:pPr>
                    <a:r>
                      <a:t>2.6 %</a:t>
                    </a:r>
                  </a:p>
                </c:rich>
              </c:tx>
              <c:dLblPos val="ctr"/>
              <c:showLegendKey val="0"/>
              <c:showVal val="1"/>
              <c:showCatName val="0"/>
              <c:showSerName val="0"/>
              <c:showPercent val="0"/>
              <c:showBubbleSize val="0"/>
            </c:dLbl>
            <c:dLbl>
              <c:idx val="6"/>
              <c:tx>
                <c:rich>
                  <a:bodyPr/>
                  <a:lstStyle/>
                  <a:p>
                    <a:pPr>
                      <a:defRPr sz="800">
                        <a:latin typeface="Nexa Book"/>
                      </a:defRPr>
                    </a:pPr>
                    <a:r>
                      <a:t>2.3 %</a:t>
                    </a:r>
                  </a:p>
                </c:rich>
              </c:tx>
              <c:dLblPos val="ctr"/>
              <c:showLegendKey val="0"/>
              <c:showVal val="1"/>
              <c:showCatName val="0"/>
              <c:showSerName val="0"/>
              <c:showPercent val="0"/>
              <c:showBubbleSize val="0"/>
            </c:dLbl>
            <c:dLbl>
              <c:idx val="7"/>
              <c:tx>
                <c:rich>
                  <a:bodyPr/>
                  <a:lstStyle/>
                  <a:p>
                    <a:pPr>
                      <a:defRPr sz="800">
                        <a:latin typeface="Nexa Book"/>
                      </a:defRPr>
                    </a:pPr>
                    <a:r>
                      <a:t>1.9 %</a:t>
                    </a:r>
                  </a:p>
                </c:rich>
              </c:tx>
              <c:dLblPos val="ctr"/>
              <c:showLegendKey val="0"/>
              <c:showVal val="1"/>
              <c:showCatName val="0"/>
              <c:showSerName val="0"/>
              <c:showPercent val="0"/>
              <c:showBubbleSize val="0"/>
            </c:dLbl>
            <c:dLbl>
              <c:idx val="8"/>
              <c:tx>
                <c:rich>
                  <a:bodyPr/>
                  <a:lstStyle/>
                  <a:p>
                    <a:pPr>
                      <a:defRPr sz="800">
                        <a:latin typeface="Nexa Book"/>
                      </a:defRPr>
                    </a:pPr>
                    <a:r>
                      <a:t>1.3 %</a:t>
                    </a:r>
                  </a:p>
                </c:rich>
              </c:tx>
              <c:dLblPos val="ctr"/>
              <c:showLegendKey val="0"/>
              <c:showVal val="1"/>
              <c:showCatName val="0"/>
              <c:showSerName val="0"/>
              <c:showPercent val="0"/>
              <c:showBubbleSize val="0"/>
            </c:dLbl>
            <c:dLbl>
              <c:idx val="9"/>
              <c:tx>
                <c:rich>
                  <a:bodyPr/>
                  <a:lstStyle/>
                  <a:p>
                    <a:pPr>
                      <a:defRPr sz="800">
                        <a:latin typeface="Nexa Book"/>
                      </a:defRPr>
                    </a:pPr>
                    <a:r>
                      <a:t>1.0 %</a:t>
                    </a:r>
                  </a:p>
                </c:rich>
              </c:tx>
              <c:dLblPos val="ctr"/>
              <c:showLegendKey val="0"/>
              <c:showVal val="1"/>
              <c:showCatName val="0"/>
              <c:showSerName val="0"/>
              <c:showPercent val="0"/>
              <c:showBubbleSize val="0"/>
            </c:dLbl>
            <c:dLbl>
              <c:idx val="10"/>
              <c:tx>
                <c:rich>
                  <a:bodyPr/>
                  <a:lstStyle/>
                  <a:p>
                    <a:pPr>
                      <a:defRPr sz="800">
                        <a:latin typeface="Nexa Book"/>
                      </a:defRPr>
                    </a:pPr>
                    <a:r>
                      <a:t>0.8 %</a:t>
                    </a:r>
                  </a:p>
                </c:rich>
              </c:tx>
              <c:dLblPos val="ctr"/>
              <c:showLegendKey val="0"/>
              <c:showVal val="1"/>
              <c:showCatName val="0"/>
              <c:showSerName val="0"/>
              <c:showPercent val="0"/>
              <c:showBubbleSize val="0"/>
            </c:dLbl>
            <c:dLbl>
              <c:idx val="11"/>
              <c:tx>
                <c:rich>
                  <a:bodyPr/>
                  <a:lstStyle/>
                  <a:p>
                    <a:pPr>
                      <a:defRPr sz="800">
                        <a:latin typeface="Nexa Book"/>
                      </a:defRPr>
                    </a:pPr>
                    <a:r>
                      <a:t>0.6 %</a:t>
                    </a:r>
                  </a:p>
                </c:rich>
              </c:tx>
              <c:dLblPos val="ctr"/>
              <c:showLegendKey val="0"/>
              <c:showVal val="1"/>
              <c:showCatName val="0"/>
              <c:showSerName val="0"/>
              <c:showPercent val="0"/>
              <c:showBubbleSize val="0"/>
            </c:dLbl>
            <c:dLbl>
              <c:idx val="12"/>
              <c:tx>
                <c:rich>
                  <a:bodyPr/>
                  <a:lstStyle/>
                  <a:p>
                    <a:pPr>
                      <a:defRPr sz="800">
                        <a:latin typeface="Nexa Book"/>
                      </a:defRPr>
                    </a:pPr>
                    <a:r>
                      <a:t>0.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c:v>
                </c:pt>
                <c:pt idx="1">
                  <c:v>0.6919</c:v>
                </c:pt>
                <c:pt idx="2">
                  <c:v>0.1106</c:v>
                </c:pt>
                <c:pt idx="3">
                  <c:v>0.0558</c:v>
                </c:pt>
                <c:pt idx="4">
                  <c:v>0.0305</c:v>
                </c:pt>
                <c:pt idx="5">
                  <c:v>0.0263</c:v>
                </c:pt>
                <c:pt idx="6">
                  <c:v>0.0226</c:v>
                </c:pt>
                <c:pt idx="7">
                  <c:v>0.0191</c:v>
                </c:pt>
                <c:pt idx="8">
                  <c:v>0.0132</c:v>
                </c:pt>
                <c:pt idx="9">
                  <c:v>0.0103</c:v>
                </c:pt>
                <c:pt idx="10">
                  <c:v>0.0083</c:v>
                </c:pt>
                <c:pt idx="11">
                  <c:v>0.0062</c:v>
                </c:pt>
                <c:pt idx="12">
                  <c:v>0.00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4.7 %</a:t>
                    </a:r>
                  </a:p>
                </c:rich>
              </c:tx>
              <c:dLblPos val="ctr"/>
              <c:showLegendKey val="0"/>
              <c:showVal val="1"/>
              <c:showCatName val="0"/>
              <c:showSerName val="0"/>
              <c:showPercent val="0"/>
              <c:showBubbleSize val="0"/>
            </c:dLbl>
            <c:dLbl>
              <c:idx val="2"/>
              <c:tx>
                <c:rich>
                  <a:bodyPr/>
                  <a:lstStyle/>
                  <a:p>
                    <a:pPr>
                      <a:defRPr sz="800">
                        <a:latin typeface="Nexa Book"/>
                      </a:defRPr>
                    </a:pPr>
                    <a:r>
                      <a:t>10.8 %</a:t>
                    </a:r>
                  </a:p>
                </c:rich>
              </c:tx>
              <c:dLblPos val="ctr"/>
              <c:showLegendKey val="0"/>
              <c:showVal val="1"/>
              <c:showCatName val="0"/>
              <c:showSerName val="0"/>
              <c:showPercent val="0"/>
              <c:showBubbleSize val="0"/>
            </c:dLbl>
            <c:dLbl>
              <c:idx val="3"/>
              <c:tx>
                <c:rich>
                  <a:bodyPr/>
                  <a:lstStyle/>
                  <a:p>
                    <a:pPr>
                      <a:defRPr sz="800">
                        <a:latin typeface="Nexa Book"/>
                      </a:defRPr>
                    </a:pPr>
                    <a:r>
                      <a:t>6.4 %</a:t>
                    </a:r>
                  </a:p>
                </c:rich>
              </c:tx>
              <c:dLblPos val="ctr"/>
              <c:showLegendKey val="0"/>
              <c:showVal val="1"/>
              <c:showCatName val="0"/>
              <c:showSerName val="0"/>
              <c:showPercent val="0"/>
              <c:showBubbleSize val="0"/>
            </c:dLbl>
            <c:dLbl>
              <c:idx val="4"/>
              <c:tx>
                <c:rich>
                  <a:bodyPr/>
                  <a:lstStyle/>
                  <a:p>
                    <a:pPr>
                      <a:defRPr sz="800">
                        <a:latin typeface="Nexa Book"/>
                      </a:defRPr>
                    </a:pPr>
                    <a:r>
                      <a:t>3.6 %</a:t>
                    </a:r>
                  </a:p>
                </c:rich>
              </c:tx>
              <c:dLblPos val="ctr"/>
              <c:showLegendKey val="0"/>
              <c:showVal val="1"/>
              <c:showCatName val="0"/>
              <c:showSerName val="0"/>
              <c:showPercent val="0"/>
              <c:showBubbleSize val="0"/>
            </c:dLbl>
            <c:dLbl>
              <c:idx val="5"/>
              <c:tx>
                <c:rich>
                  <a:bodyPr/>
                  <a:lstStyle/>
                  <a:p>
                    <a:pPr>
                      <a:defRPr sz="800">
                        <a:latin typeface="Nexa Book"/>
                      </a:defRPr>
                    </a:pPr>
                    <a:r>
                      <a:t>4.5 %</a:t>
                    </a:r>
                  </a:p>
                </c:rich>
              </c:tx>
              <c:dLblPos val="ctr"/>
              <c:showLegendKey val="0"/>
              <c:showVal val="1"/>
              <c:showCatName val="0"/>
              <c:showSerName val="0"/>
              <c:showPercent val="0"/>
              <c:showBubbleSize val="0"/>
            </c:dLbl>
            <c:dLbl>
              <c:idx val="6"/>
              <c:tx>
                <c:rich>
                  <a:bodyPr/>
                  <a:lstStyle/>
                  <a:p>
                    <a:pPr>
                      <a:defRPr sz="800">
                        <a:latin typeface="Nexa Book"/>
                      </a:defRPr>
                    </a:pPr>
                    <a:r>
                      <a:t>2.4 %</a:t>
                    </a:r>
                  </a:p>
                </c:rich>
              </c:tx>
              <c:dLblPos val="ctr"/>
              <c:showLegendKey val="0"/>
              <c:showVal val="1"/>
              <c:showCatName val="0"/>
              <c:showSerName val="0"/>
              <c:showPercent val="0"/>
              <c:showBubbleSize val="0"/>
            </c:dLbl>
            <c:dLbl>
              <c:idx val="7"/>
              <c:tx>
                <c:rich>
                  <a:bodyPr/>
                  <a:lstStyle/>
                  <a:p>
                    <a:pPr>
                      <a:defRPr sz="800">
                        <a:latin typeface="Nexa Book"/>
                      </a:defRPr>
                    </a:pPr>
                    <a:r>
                      <a:t>2.8 %</a:t>
                    </a:r>
                  </a:p>
                </c:rich>
              </c:tx>
              <c:dLblPos val="ctr"/>
              <c:showLegendKey val="0"/>
              <c:showVal val="1"/>
              <c:showCatName val="0"/>
              <c:showSerName val="0"/>
              <c:showPercent val="0"/>
              <c:showBubbleSize val="0"/>
            </c:dLbl>
            <c:dLbl>
              <c:idx val="8"/>
              <c:tx>
                <c:rich>
                  <a:bodyPr/>
                  <a:lstStyle/>
                  <a:p>
                    <a:pPr>
                      <a:defRPr sz="800">
                        <a:latin typeface="Nexa Book"/>
                      </a:defRPr>
                    </a:pPr>
                    <a:r>
                      <a:t>1.4 %</a:t>
                    </a:r>
                  </a:p>
                </c:rich>
              </c:tx>
              <c:dLblPos val="ctr"/>
              <c:showLegendKey val="0"/>
              <c:showVal val="1"/>
              <c:showCatName val="0"/>
              <c:showSerName val="0"/>
              <c:showPercent val="0"/>
              <c:showBubbleSize val="0"/>
            </c:dLbl>
            <c:dLbl>
              <c:idx val="9"/>
              <c:tx>
                <c:rich>
                  <a:bodyPr/>
                  <a:lstStyle/>
                  <a:p>
                    <a:pPr>
                      <a:defRPr sz="800">
                        <a:latin typeface="Nexa Book"/>
                      </a:defRPr>
                    </a:pPr>
                    <a:r>
                      <a:t>1.2 %</a:t>
                    </a:r>
                  </a:p>
                </c:rich>
              </c:tx>
              <c:dLblPos val="ctr"/>
              <c:showLegendKey val="0"/>
              <c:showVal val="1"/>
              <c:showCatName val="0"/>
              <c:showSerName val="0"/>
              <c:showPercent val="0"/>
              <c:showBubbleSize val="0"/>
            </c:dLbl>
            <c:dLbl>
              <c:idx val="10"/>
              <c:tx>
                <c:rich>
                  <a:bodyPr/>
                  <a:lstStyle/>
                  <a:p>
                    <a:pPr>
                      <a:defRPr sz="800">
                        <a:latin typeface="Nexa Book"/>
                      </a:defRPr>
                    </a:pPr>
                    <a:r>
                      <a:t>0.8 %</a:t>
                    </a:r>
                  </a:p>
                </c:rich>
              </c:tx>
              <c:dLblPos val="ctr"/>
              <c:showLegendKey val="0"/>
              <c:showVal val="1"/>
              <c:showCatName val="0"/>
              <c:showSerName val="0"/>
              <c:showPercent val="0"/>
              <c:showBubbleSize val="0"/>
            </c:dLbl>
            <c:dLbl>
              <c:idx val="11"/>
              <c:tx>
                <c:rich>
                  <a:bodyPr/>
                  <a:lstStyle/>
                  <a:p>
                    <a:pPr>
                      <a:defRPr sz="800">
                        <a:latin typeface="Nexa Book"/>
                      </a:defRPr>
                    </a:pPr>
                    <a:r>
                      <a:t>0.5 %</a:t>
                    </a:r>
                  </a:p>
                </c:rich>
              </c:tx>
              <c:dLblPos val="ctr"/>
              <c:showLegendKey val="0"/>
              <c:showVal val="1"/>
              <c:showCatName val="0"/>
              <c:showSerName val="0"/>
              <c:showPercent val="0"/>
              <c:showBubbleSize val="0"/>
            </c:dLbl>
            <c:dLbl>
              <c:idx val="12"/>
              <c:tx>
                <c:rich>
                  <a:bodyPr/>
                  <a:lstStyle/>
                  <a:p>
                    <a:pPr>
                      <a:defRPr sz="800">
                        <a:latin typeface="Nexa Book"/>
                      </a:defRPr>
                    </a:pPr>
                    <a:r>
                      <a:t>0.8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1.0</c:v>
                </c:pt>
                <c:pt idx="1">
                  <c:v>0.6468</c:v>
                </c:pt>
                <c:pt idx="2">
                  <c:v>0.108</c:v>
                </c:pt>
                <c:pt idx="3">
                  <c:v>0.0639</c:v>
                </c:pt>
                <c:pt idx="4">
                  <c:v>0.0365</c:v>
                </c:pt>
                <c:pt idx="5">
                  <c:v>0.0453</c:v>
                </c:pt>
                <c:pt idx="6">
                  <c:v>0.0242</c:v>
                </c:pt>
                <c:pt idx="7">
                  <c:v>0.0281</c:v>
                </c:pt>
                <c:pt idx="8">
                  <c:v>0.014</c:v>
                </c:pt>
                <c:pt idx="9">
                  <c:v>0.0123</c:v>
                </c:pt>
                <c:pt idx="10">
                  <c:v>0.0082</c:v>
                </c:pt>
                <c:pt idx="11">
                  <c:v>0.005</c:v>
                </c:pt>
                <c:pt idx="12">
                  <c:v>0.00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a:t>
                    </a:r>
                  </a:p>
                </c:rich>
              </c:tx>
              <c:dLblPos val="ctr"/>
              <c:showLegendKey val="0"/>
              <c:showVal val="1"/>
              <c:showCatName val="0"/>
              <c:showSerName val="0"/>
              <c:showPercent val="0"/>
              <c:showBubbleSize val="0"/>
            </c:dLbl>
            <c:dLbl>
              <c:idx val="1"/>
              <c:tx>
                <c:rich>
                  <a:bodyPr/>
                  <a:lstStyle/>
                  <a:p>
                    <a:pPr>
                      <a:defRPr sz="800">
                        <a:latin typeface="Nexa Book"/>
                      </a:defRPr>
                    </a:pPr>
                    <a:r>
                      <a:t>3</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dLbl>
              <c:idx val="3"/>
              <c:tx>
                <c:rich>
                  <a:bodyPr/>
                  <a:lstStyle/>
                  <a:p>
                    <a:pPr>
                      <a:defRPr sz="800">
                        <a:latin typeface="Nexa Book"/>
                      </a:defRPr>
                    </a:pPr>
                  </a:p>
                </c:rich>
              </c:tx>
              <c:dLblPos val="ctr"/>
              <c:showLegendKey val="0"/>
              <c:showVal val="1"/>
              <c:showCatName val="0"/>
              <c:showSerName val="0"/>
              <c:showPercent val="0"/>
              <c:showBubbleSize val="0"/>
            </c:dLbl>
            <c:dLbl>
              <c:idx val="4"/>
              <c:tx>
                <c:rich>
                  <a:bodyPr/>
                  <a:lstStyle/>
                  <a:p>
                    <a:pPr>
                      <a:defRPr sz="800">
                        <a:latin typeface="Nexa Book"/>
                      </a:defRPr>
                    </a:pP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dLbl>
              <c:idx val="6"/>
              <c:tx>
                <c:rich>
                  <a:bodyPr/>
                  <a:lstStyle/>
                  <a:p>
                    <a:pPr>
                      <a:defRPr sz="800">
                        <a:latin typeface="Nexa Book"/>
                      </a:defRPr>
                    </a:pPr>
                  </a:p>
                </c:rich>
              </c:tx>
              <c:dLblPos val="ctr"/>
              <c:showLegendKey val="0"/>
              <c:showVal val="1"/>
              <c:showCatName val="0"/>
              <c:showSerName val="0"/>
              <c:showPercent val="0"/>
              <c:showBubbleSize val="0"/>
            </c:dLbl>
            <c:dLbl>
              <c:idx val="7"/>
              <c:tx>
                <c:rich>
                  <a:bodyPr/>
                  <a:lstStyle/>
                  <a:p>
                    <a:pPr>
                      <a:defRPr sz="800">
                        <a:latin typeface="Nexa Book"/>
                      </a:defRPr>
                    </a:pPr>
                  </a:p>
                </c:rich>
              </c:tx>
              <c:dLblPos val="ctr"/>
              <c:showLegendKey val="0"/>
              <c:showVal val="1"/>
              <c:showCatName val="0"/>
              <c:showSerName val="0"/>
              <c:showPercent val="0"/>
              <c:showBubbleSize val="0"/>
            </c:dLbl>
            <c:dLbl>
              <c:idx val="8"/>
              <c:tx>
                <c:rich>
                  <a:bodyPr/>
                  <a:lstStyle/>
                  <a:p>
                    <a:pPr>
                      <a:defRPr sz="800">
                        <a:latin typeface="Nexa Book"/>
                      </a:defRPr>
                    </a:pP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p>
                </c:rich>
              </c:tx>
              <c:dLblPos val="ctr"/>
              <c:showLegendKey val="0"/>
              <c:showVal val="1"/>
              <c:showCatName val="0"/>
              <c:showSerName val="0"/>
              <c:showPercent val="0"/>
              <c:showBubbleSize val="0"/>
            </c:dLbl>
            <c:dLbl>
              <c:idx val="11"/>
              <c:tx>
                <c:rich>
                  <a:bodyPr/>
                  <a:lstStyle/>
                  <a:p>
                    <a:pPr>
                      <a:defRPr sz="800">
                        <a:latin typeface="Nexa Book"/>
                      </a:defRPr>
                    </a:pPr>
                  </a:p>
                </c:rich>
              </c:tx>
              <c:dLblPos val="ctr"/>
              <c:showLegendKey val="0"/>
              <c:showVal val="1"/>
              <c:showCatName val="0"/>
              <c:showSerName val="0"/>
              <c:showPercent val="0"/>
              <c:showBubbleSize val="0"/>
            </c:dLbl>
            <c:dLbl>
              <c:idx val="12"/>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4288634.0</c:v>
                </c:pt>
                <c:pt idx="1">
                  <c:v>2967209.0</c:v>
                </c:pt>
                <c:pt idx="2">
                  <c:v>474208.0</c:v>
                </c:pt>
                <c:pt idx="3">
                  <c:v>239411.0</c:v>
                </c:pt>
                <c:pt idx="4">
                  <c:v>130890.0</c:v>
                </c:pt>
                <c:pt idx="5">
                  <c:v>112908.0</c:v>
                </c:pt>
                <c:pt idx="6">
                  <c:v>96852.0</c:v>
                </c:pt>
                <c:pt idx="7">
                  <c:v>81816.0</c:v>
                </c:pt>
                <c:pt idx="8">
                  <c:v>56597.0</c:v>
                </c:pt>
                <c:pt idx="9">
                  <c:v>44133.0</c:v>
                </c:pt>
                <c:pt idx="10">
                  <c:v>35762.0</c:v>
                </c:pt>
                <c:pt idx="11">
                  <c:v>26387.0</c:v>
                </c:pt>
                <c:pt idx="12">
                  <c:v>2246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4</a:t>
                    </a:r>
                  </a:p>
                </c:rich>
              </c:tx>
              <c:dLblPos val="ctr"/>
              <c:showLegendKey val="0"/>
              <c:showVal val="1"/>
              <c:showCatName val="0"/>
              <c:showSerName val="0"/>
              <c:showPercent val="0"/>
              <c:showBubbleSize val="0"/>
            </c:dLbl>
            <c:dLbl>
              <c:idx val="1"/>
              <c:tx>
                <c:rich>
                  <a:bodyPr/>
                  <a:lstStyle/>
                  <a:p>
                    <a:pPr>
                      <a:defRPr sz="800">
                        <a:latin typeface="Nexa Book"/>
                      </a:defRPr>
                    </a:pPr>
                    <a:r>
                      <a:t>0.3</a:t>
                    </a: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dLbl>
              <c:idx val="6"/>
              <c:tx>
                <c:rich>
                  <a:bodyPr/>
                  <a:lstStyle/>
                  <a:p>
                    <a:pPr>
                      <a:defRPr sz="800">
                        <a:latin typeface="Nexa Book"/>
                      </a:defRPr>
                    </a:pPr>
                    <a:r>
                      <a:t>0.0</a:t>
                    </a:r>
                  </a:p>
                </c:rich>
              </c:tx>
              <c:dLblPos val="ctr"/>
              <c:showLegendKey val="0"/>
              <c:showVal val="1"/>
              <c:showCatName val="0"/>
              <c:showSerName val="0"/>
              <c:showPercent val="0"/>
              <c:showBubbleSize val="0"/>
            </c:dLbl>
            <c:dLbl>
              <c:idx val="7"/>
              <c:tx>
                <c:rich>
                  <a:bodyPr/>
                  <a:lstStyle/>
                  <a:p>
                    <a:pPr>
                      <a:defRPr sz="800">
                        <a:latin typeface="Nexa Book"/>
                      </a:defRPr>
                    </a:pPr>
                    <a:r>
                      <a:t>0.0</a:t>
                    </a:r>
                  </a:p>
                </c:rich>
              </c:tx>
              <c:dLblPos val="ctr"/>
              <c:showLegendKey val="0"/>
              <c:showVal val="1"/>
              <c:showCatName val="0"/>
              <c:showSerName val="0"/>
              <c:showPercent val="0"/>
              <c:showBubbleSize val="0"/>
            </c:dLbl>
            <c:dLbl>
              <c:idx val="8"/>
              <c:tx>
                <c:rich>
                  <a:bodyPr/>
                  <a:lstStyle/>
                  <a:p>
                    <a:pPr>
                      <a:defRPr sz="800">
                        <a:latin typeface="Nexa Book"/>
                      </a:defRPr>
                    </a:pPr>
                    <a:r>
                      <a:t>0.0</a:t>
                    </a:r>
                  </a:p>
                </c:rich>
              </c:tx>
              <c:dLblPos val="ctr"/>
              <c:showLegendKey val="0"/>
              <c:showVal val="1"/>
              <c:showCatName val="0"/>
              <c:showSerName val="0"/>
              <c:showPercent val="0"/>
              <c:showBubbleSize val="0"/>
            </c:dLbl>
            <c:dLbl>
              <c:idx val="9"/>
              <c:tx>
                <c:rich>
                  <a:bodyPr/>
                  <a:lstStyle/>
                  <a:p>
                    <a:pPr>
                      <a:defRPr sz="800">
                        <a:latin typeface="Nexa Book"/>
                      </a:defRPr>
                    </a:pPr>
                    <a:r>
                      <a:t>0.0</a:t>
                    </a:r>
                  </a:p>
                </c:rich>
              </c:tx>
              <c:dLblPos val="ctr"/>
              <c:showLegendKey val="0"/>
              <c:showVal val="1"/>
              <c:showCatName val="0"/>
              <c:showSerName val="0"/>
              <c:showPercent val="0"/>
              <c:showBubbleSize val="0"/>
            </c:dLbl>
            <c:dLbl>
              <c:idx val="10"/>
              <c:tx>
                <c:rich>
                  <a:bodyPr/>
                  <a:lstStyle/>
                  <a:p>
                    <a:pPr>
                      <a:defRPr sz="800">
                        <a:latin typeface="Nexa Book"/>
                      </a:defRPr>
                    </a:pPr>
                    <a:r>
                      <a:t>0.0</a:t>
                    </a:r>
                  </a:p>
                </c:rich>
              </c:tx>
              <c:dLblPos val="ctr"/>
              <c:showLegendKey val="0"/>
              <c:showVal val="1"/>
              <c:showCatName val="0"/>
              <c:showSerName val="0"/>
              <c:showPercent val="0"/>
              <c:showBubbleSize val="0"/>
            </c:dLbl>
            <c:dLbl>
              <c:idx val="11"/>
              <c:tx>
                <c:rich>
                  <a:bodyPr/>
                  <a:lstStyle/>
                  <a:p>
                    <a:pPr>
                      <a:defRPr sz="800">
                        <a:latin typeface="Nexa Book"/>
                      </a:defRPr>
                    </a:pPr>
                    <a:r>
                      <a:t>0.0</a:t>
                    </a:r>
                  </a:p>
                </c:rich>
              </c:tx>
              <c:dLblPos val="ctr"/>
              <c:showLegendKey val="0"/>
              <c:showVal val="1"/>
              <c:showCatName val="0"/>
              <c:showSerName val="0"/>
              <c:showPercent val="0"/>
              <c:showBubbleSize val="0"/>
            </c:dLbl>
            <c:dLbl>
              <c:idx val="12"/>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415083.0</c:v>
                </c:pt>
                <c:pt idx="1">
                  <c:v>268461.0</c:v>
                </c:pt>
                <c:pt idx="2">
                  <c:v>44823.0</c:v>
                </c:pt>
                <c:pt idx="3">
                  <c:v>26507.0</c:v>
                </c:pt>
                <c:pt idx="4">
                  <c:v>15156.0</c:v>
                </c:pt>
                <c:pt idx="5">
                  <c:v>18810.0</c:v>
                </c:pt>
                <c:pt idx="6">
                  <c:v>10056.0</c:v>
                </c:pt>
                <c:pt idx="7">
                  <c:v>11675.0</c:v>
                </c:pt>
                <c:pt idx="8">
                  <c:v>5793.0</c:v>
                </c:pt>
                <c:pt idx="9">
                  <c:v>5111.0</c:v>
                </c:pt>
                <c:pt idx="10">
                  <c:v>3403.0</c:v>
                </c:pt>
                <c:pt idx="11">
                  <c:v>2062.0</c:v>
                </c:pt>
                <c:pt idx="12">
                  <c:v>322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6%</a:t>
                    </a:r>
                  </a:p>
                </c:rich>
              </c:tx>
              <c:dLblPos val="ctr"/>
              <c:showLegendKey val="0"/>
              <c:showVal val="1"/>
              <c:showCatName val="0"/>
              <c:showSerName val="0"/>
              <c:showPercent val="0"/>
              <c:showBubbleSize val="0"/>
            </c:dLbl>
            <c:dLbl>
              <c:idx val="2"/>
              <c:tx>
                <c:rich>
                  <a:bodyPr/>
                  <a:lstStyle/>
                  <a:p>
                    <a:pPr>
                      <a:defRPr sz="800">
                        <a:latin typeface="Nexa Book"/>
                      </a:defRPr>
                    </a:pPr>
                    <a:r>
                      <a:t>+0.4%</a:t>
                    </a:r>
                  </a:p>
                </c:rich>
              </c:tx>
              <c:dLblPos val="ctr"/>
              <c:showLegendKey val="0"/>
              <c:showVal val="1"/>
              <c:showCatName val="0"/>
              <c:showSerName val="0"/>
              <c:showPercent val="0"/>
              <c:showBubbleSize val="0"/>
            </c:dLbl>
            <c:dLbl>
              <c:idx val="3"/>
              <c:tx>
                <c:rich>
                  <a:bodyPr/>
                  <a:lstStyle/>
                  <a:p>
                    <a:pPr>
                      <a:defRPr sz="800">
                        <a:latin typeface="Nexa Book"/>
                      </a:defRPr>
                    </a:pPr>
                    <a:r>
                      <a:t>-0.6%</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0.5%</a:t>
                    </a:r>
                  </a:p>
                </c:rich>
              </c:tx>
              <c:dLblPos val="ctr"/>
              <c:showLegendKey val="0"/>
              <c:showVal val="1"/>
              <c:showCatName val="0"/>
              <c:showSerName val="0"/>
              <c:showPercent val="0"/>
              <c:showBubbleSize val="0"/>
            </c:dLbl>
            <c:dLbl>
              <c:idx val="6"/>
              <c:tx>
                <c:rich>
                  <a:bodyPr/>
                  <a:lstStyle/>
                  <a:p>
                    <a:pPr>
                      <a:defRPr sz="800">
                        <a:latin typeface="Nexa Book"/>
                      </a:defRPr>
                    </a:pPr>
                    <a:r>
                      <a:t>-0.1%</a:t>
                    </a:r>
                  </a:p>
                </c:rich>
              </c:tx>
              <c:dLblPos val="ctr"/>
              <c:showLegendKey val="0"/>
              <c:showVal val="1"/>
              <c:showCatName val="0"/>
              <c:showSerName val="0"/>
              <c:showPercent val="0"/>
              <c:showBubbleSize val="0"/>
            </c:dLbl>
            <c:dLbl>
              <c:idx val="7"/>
              <c:tx>
                <c:rich>
                  <a:bodyPr/>
                  <a:lstStyle/>
                  <a:p>
                    <a:pPr>
                      <a:defRPr sz="800">
                        <a:latin typeface="Nexa Book"/>
                      </a:defRPr>
                    </a:pPr>
                    <a:r>
                      <a:t>+0.2%</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r>
                      <a:t>-0.2%</a:t>
                    </a:r>
                  </a:p>
                </c:rich>
              </c:tx>
              <c:dLblPos val="ctr"/>
              <c:showLegendKey val="0"/>
              <c:showVal val="1"/>
              <c:showCatName val="0"/>
              <c:showSerName val="0"/>
              <c:showPercent val="0"/>
              <c:showBubbleSize val="0"/>
            </c:dLbl>
            <c:dLbl>
              <c:idx val="11"/>
              <c:tx>
                <c:rich>
                  <a:bodyPr/>
                  <a:lstStyle/>
                  <a:p>
                    <a:pPr>
                      <a:defRPr sz="800">
                        <a:latin typeface="Nexa Book"/>
                      </a:defRPr>
                    </a:pPr>
                  </a:p>
                </c:rich>
              </c:tx>
              <c:dLblPos val="ctr"/>
              <c:showLegendKey val="0"/>
              <c:showVal val="1"/>
              <c:showCatName val="0"/>
              <c:showSerName val="0"/>
              <c:showPercent val="0"/>
              <c:showBubbleSize val="0"/>
            </c:dLbl>
            <c:dLbl>
              <c:idx val="12"/>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0.0</c:v>
                </c:pt>
                <c:pt idx="1">
                  <c:v>-0.006400000000000072</c:v>
                </c:pt>
                <c:pt idx="2">
                  <c:v>0.003799999999999998</c:v>
                </c:pt>
                <c:pt idx="3">
                  <c:v>-0.0058999999999999955</c:v>
                </c:pt>
                <c:pt idx="4">
                  <c:v>0.0024999999999999988</c:v>
                </c:pt>
                <c:pt idx="5">
                  <c:v>0.004900000000000002</c:v>
                </c:pt>
                <c:pt idx="6">
                  <c:v>-0.0005999999999999998</c:v>
                </c:pt>
                <c:pt idx="7">
                  <c:v>0.0020999999999999977</c:v>
                </c:pt>
                <c:pt idx="8">
                  <c:v>0.0005999999999999998</c:v>
                </c:pt>
                <c:pt idx="9">
                  <c:v>-9.99999999999994e-05</c:v>
                </c:pt>
                <c:pt idx="10">
                  <c:v>-0.0017000000000000001</c:v>
                </c:pt>
                <c:pt idx="11">
                  <c:v>0.0002999999999999999</c:v>
                </c:pt>
                <c:pt idx="12">
                  <c:v>0.000400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2%</a:t>
                    </a:r>
                  </a:p>
                </c:rich>
              </c:tx>
              <c:dLblPos val="ctr"/>
              <c:showLegendKey val="0"/>
              <c:showVal val="1"/>
              <c:showCatName val="0"/>
              <c:showSerName val="0"/>
              <c:showPercent val="0"/>
              <c:showBubbleSize val="0"/>
            </c:dLbl>
            <c:dLbl>
              <c:idx val="2"/>
              <c:tx>
                <c:rich>
                  <a:bodyPr/>
                  <a:lstStyle/>
                  <a:p>
                    <a:pPr>
                      <a:defRPr sz="800">
                        <a:latin typeface="Nexa Book"/>
                      </a:defRPr>
                    </a:pPr>
                    <a:r>
                      <a:t>-1.9%</a:t>
                    </a:r>
                  </a:p>
                </c:rich>
              </c:tx>
              <c:dLblPos val="ctr"/>
              <c:showLegendKey val="0"/>
              <c:showVal val="1"/>
              <c:showCatName val="0"/>
              <c:showSerName val="0"/>
              <c:showPercent val="0"/>
              <c:showBubbleSize val="0"/>
            </c:dLbl>
            <c:dLbl>
              <c:idx val="3"/>
              <c:tx>
                <c:rich>
                  <a:bodyPr/>
                  <a:lstStyle/>
                  <a:p>
                    <a:pPr>
                      <a:defRPr sz="800">
                        <a:latin typeface="Nexa Book"/>
                      </a:defRPr>
                    </a:pPr>
                    <a:r>
                      <a:t>+0.8%</a:t>
                    </a:r>
                  </a:p>
                </c:rich>
              </c:tx>
              <c:dLblPos val="ctr"/>
              <c:showLegendKey val="0"/>
              <c:showVal val="1"/>
              <c:showCatName val="0"/>
              <c:showSerName val="0"/>
              <c:showPercent val="0"/>
              <c:showBubbleSize val="0"/>
            </c:dLbl>
            <c:dLbl>
              <c:idx val="4"/>
              <c:tx>
                <c:rich>
                  <a:bodyPr/>
                  <a:lstStyle/>
                  <a:p>
                    <a:pPr>
                      <a:defRPr sz="800">
                        <a:latin typeface="Nexa Book"/>
                      </a:defRPr>
                    </a:pPr>
                    <a:r>
                      <a:t>+0.2%</a:t>
                    </a:r>
                  </a:p>
                </c:rich>
              </c:tx>
              <c:dLblPos val="ctr"/>
              <c:showLegendKey val="0"/>
              <c:showVal val="1"/>
              <c:showCatName val="0"/>
              <c:showSerName val="0"/>
              <c:showPercent val="0"/>
              <c:showBubbleSize val="0"/>
            </c:dLbl>
            <c:dLbl>
              <c:idx val="5"/>
              <c:tx>
                <c:rich>
                  <a:bodyPr/>
                  <a:lstStyle/>
                  <a:p>
                    <a:pPr>
                      <a:defRPr sz="800">
                        <a:latin typeface="Nexa Book"/>
                      </a:defRPr>
                    </a:pPr>
                    <a:r>
                      <a:t>+1.4%</a:t>
                    </a:r>
                  </a:p>
                </c:rich>
              </c:tx>
              <c:dLblPos val="ctr"/>
              <c:showLegendKey val="0"/>
              <c:showVal val="1"/>
              <c:showCatName val="0"/>
              <c:showSerName val="0"/>
              <c:showPercent val="0"/>
              <c:showBubbleSize val="0"/>
            </c:dLbl>
            <c:dLbl>
              <c:idx val="6"/>
              <c:tx>
                <c:rich>
                  <a:bodyPr/>
                  <a:lstStyle/>
                  <a:p>
                    <a:pPr>
                      <a:defRPr sz="800">
                        <a:latin typeface="Nexa Book"/>
                      </a:defRPr>
                    </a:pPr>
                    <a:r>
                      <a:t>+0.2%</a:t>
                    </a:r>
                  </a:p>
                </c:rich>
              </c:tx>
              <c:dLblPos val="ctr"/>
              <c:showLegendKey val="0"/>
              <c:showVal val="1"/>
              <c:showCatName val="0"/>
              <c:showSerName val="0"/>
              <c:showPercent val="0"/>
              <c:showBubbleSize val="0"/>
            </c:dLbl>
            <c:dLbl>
              <c:idx val="7"/>
              <c:tx>
                <c:rich>
                  <a:bodyPr/>
                  <a:lstStyle/>
                  <a:p>
                    <a:pPr>
                      <a:defRPr sz="800">
                        <a:latin typeface="Nexa Book"/>
                      </a:defRPr>
                    </a:pPr>
                    <a:r>
                      <a:t>+0.6%</a:t>
                    </a:r>
                  </a:p>
                </c:rich>
              </c:tx>
              <c:dLblPos val="ctr"/>
              <c:showLegendKey val="0"/>
              <c:showVal val="1"/>
              <c:showCatName val="0"/>
              <c:showSerName val="0"/>
              <c:showPercent val="0"/>
              <c:showBubbleSize val="0"/>
            </c:dLbl>
            <c:dLbl>
              <c:idx val="8"/>
              <c:tx>
                <c:rich>
                  <a:bodyPr/>
                  <a:lstStyle/>
                  <a:p>
                    <a:pPr>
                      <a:defRPr sz="800">
                        <a:latin typeface="Nexa Book"/>
                      </a:defRPr>
                    </a:pPr>
                    <a:r>
                      <a:t>+0.1%</a:t>
                    </a:r>
                  </a:p>
                </c:rich>
              </c:tx>
              <c:dLblPos val="ctr"/>
              <c:showLegendKey val="0"/>
              <c:showVal val="1"/>
              <c:showCatName val="0"/>
              <c:showSerName val="0"/>
              <c:showPercent val="0"/>
              <c:showBubbleSize val="0"/>
            </c:dLbl>
            <c:dLbl>
              <c:idx val="9"/>
              <c:tx>
                <c:rich>
                  <a:bodyPr/>
                  <a:lstStyle/>
                  <a:p>
                    <a:pPr>
                      <a:defRPr sz="800">
                        <a:latin typeface="Nexa Book"/>
                      </a:defRPr>
                    </a:pPr>
                  </a:p>
                </c:rich>
              </c:tx>
              <c:dLblPos val="ctr"/>
              <c:showLegendKey val="0"/>
              <c:showVal val="1"/>
              <c:showCatName val="0"/>
              <c:showSerName val="0"/>
              <c:showPercent val="0"/>
              <c:showBubbleSize val="0"/>
            </c:dLbl>
            <c:dLbl>
              <c:idx val="10"/>
              <c:tx>
                <c:rich>
                  <a:bodyPr/>
                  <a:lstStyle/>
                  <a:p>
                    <a:pPr>
                      <a:defRPr sz="800">
                        <a:latin typeface="Nexa Book"/>
                      </a:defRPr>
                    </a:pPr>
                    <a:r>
                      <a:t>-0.2%</a:t>
                    </a:r>
                  </a:p>
                </c:rich>
              </c:tx>
              <c:dLblPos val="ctr"/>
              <c:showLegendKey val="0"/>
              <c:showVal val="1"/>
              <c:showCatName val="0"/>
              <c:showSerName val="0"/>
              <c:showPercent val="0"/>
              <c:showBubbleSize val="0"/>
            </c:dLbl>
            <c:dLbl>
              <c:idx val="11"/>
              <c:tx>
                <c:rich>
                  <a:bodyPr/>
                  <a:lstStyle/>
                  <a:p>
                    <a:pPr>
                      <a:defRPr sz="800">
                        <a:latin typeface="Nexa Book"/>
                      </a:defRPr>
                    </a:pPr>
                    <a:r>
                      <a:t>-0.2%</a:t>
                    </a:r>
                  </a:p>
                </c:rich>
              </c:tx>
              <c:dLblPos val="ctr"/>
              <c:showLegendKey val="0"/>
              <c:showVal val="1"/>
              <c:showCatName val="0"/>
              <c:showSerName val="0"/>
              <c:showPercent val="0"/>
              <c:showBubbleSize val="0"/>
            </c:dLbl>
            <c:dLbl>
              <c:idx val="12"/>
              <c:tx>
                <c:rich>
                  <a:bodyPr/>
                  <a:lstStyle/>
                  <a:p>
                    <a:pPr>
                      <a:defRPr sz="800">
                        <a:latin typeface="Nexa Book"/>
                      </a:defRPr>
                    </a:pPr>
                    <a:r>
                      <a:t>+0.2%</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rand Total</c:v>
                </c:pt>
                <c:pt idx="1">
                  <c:v>NICOLAS IDF</c:v>
                </c:pt>
                <c:pt idx="2">
                  <c:v>NICOLAS PAC</c:v>
                </c:pt>
                <c:pt idx="3">
                  <c:v>NICOLAS RHO</c:v>
                </c:pt>
                <c:pt idx="4">
                  <c:v>NICOLAS AQU</c:v>
                </c:pt>
                <c:pt idx="5">
                  <c:v>NICOLAS EST</c:v>
                </c:pt>
                <c:pt idx="6">
                  <c:v>NICOLAS OCC</c:v>
                </c:pt>
                <c:pt idx="7">
                  <c:v>NICOLAS HAU</c:v>
                </c:pt>
                <c:pt idx="8">
                  <c:v>NICOLAS NDI</c:v>
                </c:pt>
                <c:pt idx="9">
                  <c:v>NICOLAS BRE</c:v>
                </c:pt>
                <c:pt idx="10">
                  <c:v>NICOLAS LOI</c:v>
                </c:pt>
                <c:pt idx="11">
                  <c:v>NICOLAS CEN</c:v>
                </c:pt>
                <c:pt idx="12">
                  <c:v>NICOLAS BOU</c:v>
                </c:pt>
              </c:strCache>
            </c:strRef>
          </c:cat>
          <c:val>
            <c:numRef>
              <c:f>Sheet1!$B$2:$B$14</c:f>
              <c:numCache>
                <c:formatCode>General</c:formatCode>
                <c:ptCount val="13"/>
                <c:pt idx="0">
                  <c:v>0.0</c:v>
                </c:pt>
                <c:pt idx="1">
                  <c:v>-0.01200000000000001</c:v>
                </c:pt>
                <c:pt idx="2">
                  <c:v>-0.019400000000000014</c:v>
                </c:pt>
                <c:pt idx="3">
                  <c:v>0.008099999999999996</c:v>
                </c:pt>
                <c:pt idx="4">
                  <c:v>0.0022000000000000006</c:v>
                </c:pt>
                <c:pt idx="5">
                  <c:v>0.0144</c:v>
                </c:pt>
                <c:pt idx="6">
                  <c:v>0.0017000000000000001</c:v>
                </c:pt>
                <c:pt idx="7">
                  <c:v>0.005899999999999999</c:v>
                </c:pt>
                <c:pt idx="8">
                  <c:v>0.0011000000000000003</c:v>
                </c:pt>
                <c:pt idx="9">
                  <c:v>0.0003999999999999993</c:v>
                </c:pt>
                <c:pt idx="10">
                  <c:v>-0.002</c:v>
                </c:pt>
                <c:pt idx="11">
                  <c:v>-0.0018999999999999998</c:v>
                </c:pt>
                <c:pt idx="12">
                  <c:v>0.001599999999999999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29.9 %</a:t>
                    </a:r>
                  </a:p>
                </c:rich>
              </c:tx>
              <c:dLblPos val="ctr"/>
              <c:showLegendKey val="0"/>
              <c:showVal val="1"/>
              <c:showCatName val="0"/>
              <c:showSerName val="0"/>
              <c:showPercent val="0"/>
              <c:showBubbleSize val="0"/>
            </c:dLbl>
            <c:dLbl>
              <c:idx val="2"/>
              <c:tx>
                <c:rich>
                  <a:bodyPr/>
                  <a:lstStyle/>
                  <a:p>
                    <a:pPr>
                      <a:defRPr sz="800">
                        <a:latin typeface="Nexa Book"/>
                      </a:defRPr>
                    </a:pPr>
                    <a:r>
                      <a:t>22.1 %</a:t>
                    </a:r>
                  </a:p>
                </c:rich>
              </c:tx>
              <c:dLblPos val="ctr"/>
              <c:showLegendKey val="0"/>
              <c:showVal val="1"/>
              <c:showCatName val="0"/>
              <c:showSerName val="0"/>
              <c:showPercent val="0"/>
              <c:showBubbleSize val="0"/>
            </c:dLbl>
            <c:dLbl>
              <c:idx val="3"/>
              <c:tx>
                <c:rich>
                  <a:bodyPr/>
                  <a:lstStyle/>
                  <a:p>
                    <a:pPr>
                      <a:defRPr sz="800">
                        <a:latin typeface="Nexa Book"/>
                      </a:defRPr>
                    </a:pPr>
                    <a:r>
                      <a:t>17.7 %</a:t>
                    </a:r>
                  </a:p>
                </c:rich>
              </c:tx>
              <c:dLblPos val="ctr"/>
              <c:showLegendKey val="0"/>
              <c:showVal val="1"/>
              <c:showCatName val="0"/>
              <c:showSerName val="0"/>
              <c:showPercent val="0"/>
              <c:showBubbleSize val="0"/>
            </c:dLbl>
            <c:dLbl>
              <c:idx val="4"/>
              <c:tx>
                <c:rich>
                  <a:bodyPr/>
                  <a:lstStyle/>
                  <a:p>
                    <a:pPr>
                      <a:defRPr sz="800">
                        <a:latin typeface="Nexa Book"/>
                      </a:defRPr>
                    </a:pPr>
                    <a:r>
                      <a:t>16.1 %</a:t>
                    </a:r>
                  </a:p>
                </c:rich>
              </c:tx>
              <c:dLblPos val="ctr"/>
              <c:showLegendKey val="0"/>
              <c:showVal val="1"/>
              <c:showCatName val="0"/>
              <c:showSerName val="0"/>
              <c:showPercent val="0"/>
              <c:showBubbleSize val="0"/>
            </c:dLbl>
            <c:dLbl>
              <c:idx val="5"/>
              <c:tx>
                <c:rich>
                  <a:bodyPr/>
                  <a:lstStyle/>
                  <a:p>
                    <a:pPr>
                      <a:defRPr sz="800">
                        <a:latin typeface="Nexa Book"/>
                      </a:defRPr>
                    </a:pPr>
                    <a:r>
                      <a:t>14.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1.0</c:v>
                </c:pt>
                <c:pt idx="1">
                  <c:v>0.2989</c:v>
                </c:pt>
                <c:pt idx="2">
                  <c:v>0.2211</c:v>
                </c:pt>
                <c:pt idx="3">
                  <c:v>0.1768</c:v>
                </c:pt>
                <c:pt idx="4">
                  <c:v>0.1606</c:v>
                </c:pt>
                <c:pt idx="5">
                  <c:v>0.14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25.6 %</a:t>
                    </a:r>
                  </a:p>
                </c:rich>
              </c:tx>
              <c:dLblPos val="ctr"/>
              <c:showLegendKey val="0"/>
              <c:showVal val="1"/>
              <c:showCatName val="0"/>
              <c:showSerName val="0"/>
              <c:showPercent val="0"/>
              <c:showBubbleSize val="0"/>
            </c:dLbl>
            <c:dLbl>
              <c:idx val="2"/>
              <c:tx>
                <c:rich>
                  <a:bodyPr/>
                  <a:lstStyle/>
                  <a:p>
                    <a:pPr>
                      <a:defRPr sz="800">
                        <a:latin typeface="Nexa Book"/>
                      </a:defRPr>
                    </a:pPr>
                    <a:r>
                      <a:t>23.1 %</a:t>
                    </a:r>
                  </a:p>
                </c:rich>
              </c:tx>
              <c:dLblPos val="ctr"/>
              <c:showLegendKey val="0"/>
              <c:showVal val="1"/>
              <c:showCatName val="0"/>
              <c:showSerName val="0"/>
              <c:showPercent val="0"/>
              <c:showBubbleSize val="0"/>
            </c:dLbl>
            <c:dLbl>
              <c:idx val="3"/>
              <c:tx>
                <c:rich>
                  <a:bodyPr/>
                  <a:lstStyle/>
                  <a:p>
                    <a:pPr>
                      <a:defRPr sz="800">
                        <a:latin typeface="Nexa Book"/>
                      </a:defRPr>
                    </a:pPr>
                    <a:r>
                      <a:t>17.9 %</a:t>
                    </a:r>
                  </a:p>
                </c:rich>
              </c:tx>
              <c:dLblPos val="ctr"/>
              <c:showLegendKey val="0"/>
              <c:showVal val="1"/>
              <c:showCatName val="0"/>
              <c:showSerName val="0"/>
              <c:showPercent val="0"/>
              <c:showBubbleSize val="0"/>
            </c:dLbl>
            <c:dLbl>
              <c:idx val="4"/>
              <c:tx>
                <c:rich>
                  <a:bodyPr/>
                  <a:lstStyle/>
                  <a:p>
                    <a:pPr>
                      <a:defRPr sz="800">
                        <a:latin typeface="Nexa Book"/>
                      </a:defRPr>
                    </a:pPr>
                    <a:r>
                      <a:t>18.4 %</a:t>
                    </a:r>
                  </a:p>
                </c:rich>
              </c:tx>
              <c:dLblPos val="ctr"/>
              <c:showLegendKey val="0"/>
              <c:showVal val="1"/>
              <c:showCatName val="0"/>
              <c:showSerName val="0"/>
              <c:showPercent val="0"/>
              <c:showBubbleSize val="0"/>
            </c:dLbl>
            <c:dLbl>
              <c:idx val="5"/>
              <c:tx>
                <c:rich>
                  <a:bodyPr/>
                  <a:lstStyle/>
                  <a:p>
                    <a:pPr>
                      <a:defRPr sz="800">
                        <a:latin typeface="Nexa Book"/>
                      </a:defRPr>
                    </a:pPr>
                    <a:r>
                      <a:t>14.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1.0</c:v>
                </c:pt>
                <c:pt idx="1">
                  <c:v>0.2564</c:v>
                </c:pt>
                <c:pt idx="2">
                  <c:v>0.2309</c:v>
                </c:pt>
                <c:pt idx="3">
                  <c:v>0.1794</c:v>
                </c:pt>
                <c:pt idx="4">
                  <c:v>0.1843</c:v>
                </c:pt>
                <c:pt idx="5">
                  <c:v>0.1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63</a:t>
                    </a:r>
                  </a:p>
                </c:rich>
              </c:tx>
              <c:dLblPos val="ctr"/>
              <c:showLegendKey val="0"/>
              <c:showVal val="1"/>
              <c:showCatName val="0"/>
              <c:showSerName val="0"/>
              <c:showPercent val="0"/>
              <c:showBubbleSize val="0"/>
            </c:dLbl>
            <c:dLbl>
              <c:idx val="1"/>
              <c:tx>
                <c:rich>
                  <a:bodyPr/>
                  <a:lstStyle/>
                  <a:p>
                    <a:pPr>
                      <a:defRPr sz="800">
                        <a:latin typeface="Nexa Book"/>
                      </a:defRPr>
                    </a:pPr>
                    <a:r>
                      <a:t>19</a:t>
                    </a:r>
                  </a:p>
                </c:rich>
              </c:tx>
              <c:dLblPos val="ctr"/>
              <c:showLegendKey val="0"/>
              <c:showVal val="1"/>
              <c:showCatName val="0"/>
              <c:showSerName val="0"/>
              <c:showPercent val="0"/>
              <c:showBubbleSize val="0"/>
            </c:dLbl>
            <c:dLbl>
              <c:idx val="2"/>
              <c:tx>
                <c:rich>
                  <a:bodyPr/>
                  <a:lstStyle/>
                  <a:p>
                    <a:pPr>
                      <a:defRPr sz="800">
                        <a:latin typeface="Nexa Book"/>
                      </a:defRPr>
                    </a:pPr>
                    <a:r>
                      <a:t>14</a:t>
                    </a:r>
                  </a:p>
                </c:rich>
              </c:tx>
              <c:dLblPos val="ctr"/>
              <c:showLegendKey val="0"/>
              <c:showVal val="1"/>
              <c:showCatName val="0"/>
              <c:showSerName val="0"/>
              <c:showPercent val="0"/>
              <c:showBubbleSize val="0"/>
            </c:dLbl>
            <c:dLbl>
              <c:idx val="3"/>
              <c:tx>
                <c:rich>
                  <a:bodyPr/>
                  <a:lstStyle/>
                  <a:p>
                    <a:pPr>
                      <a:defRPr sz="800">
                        <a:latin typeface="Nexa Book"/>
                      </a:defRPr>
                    </a:pPr>
                    <a:r>
                      <a:t>11</a:t>
                    </a:r>
                  </a:p>
                </c:rich>
              </c:tx>
              <c:dLblPos val="ctr"/>
              <c:showLegendKey val="0"/>
              <c:showVal val="1"/>
              <c:showCatName val="0"/>
              <c:showSerName val="0"/>
              <c:showPercent val="0"/>
              <c:showBubbleSize val="0"/>
            </c:dLbl>
            <c:dLbl>
              <c:idx val="4"/>
              <c:tx>
                <c:rich>
                  <a:bodyPr/>
                  <a:lstStyle/>
                  <a:p>
                    <a:pPr>
                      <a:defRPr sz="800">
                        <a:latin typeface="Nexa Book"/>
                      </a:defRPr>
                    </a:pPr>
                    <a:r>
                      <a:t>10</a:t>
                    </a:r>
                  </a:p>
                </c:rich>
              </c:tx>
              <c:dLblPos val="ctr"/>
              <c:showLegendKey val="0"/>
              <c:showVal val="1"/>
              <c:showCatName val="0"/>
              <c:showSerName val="0"/>
              <c:showPercent val="0"/>
              <c:showBubbleSize val="0"/>
            </c:dLbl>
            <c:dLbl>
              <c:idx val="5"/>
              <c:tx>
                <c:rich>
                  <a:bodyPr/>
                  <a:lstStyle/>
                  <a:p>
                    <a:pPr>
                      <a:defRPr sz="800">
                        <a:latin typeface="Nexa Book"/>
                      </a:defRPr>
                    </a:pPr>
                    <a:r>
                      <a:t>9</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62903481.0</c:v>
                </c:pt>
                <c:pt idx="1">
                  <c:v>18800487.0</c:v>
                </c:pt>
                <c:pt idx="2">
                  <c:v>13909769.0</c:v>
                </c:pt>
                <c:pt idx="3">
                  <c:v>11118587.0</c:v>
                </c:pt>
                <c:pt idx="4">
                  <c:v>10099565.0</c:v>
                </c:pt>
                <c:pt idx="5">
                  <c:v>897507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6</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5682396.0</c:v>
                </c:pt>
                <c:pt idx="1">
                  <c:v>1456865.0</c:v>
                </c:pt>
                <c:pt idx="2">
                  <c:v>1311876.0</c:v>
                </c:pt>
                <c:pt idx="3">
                  <c:v>1019585.0</c:v>
                </c:pt>
                <c:pt idx="4">
                  <c:v>1047473.0</c:v>
                </c:pt>
                <c:pt idx="5">
                  <c:v>846597.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9%</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0.3%</a:t>
                    </a:r>
                  </a:p>
                </c:rich>
              </c:tx>
              <c:dLblPos val="ctr"/>
              <c:showLegendKey val="0"/>
              <c:showVal val="1"/>
              <c:showCatName val="0"/>
              <c:showSerName val="0"/>
              <c:showPercent val="0"/>
              <c:showBubbleSize val="0"/>
            </c:dLbl>
            <c:dLbl>
              <c:idx val="4"/>
              <c:tx>
                <c:rich>
                  <a:bodyPr/>
                  <a:lstStyle/>
                  <a:p>
                    <a:pPr>
                      <a:defRPr sz="800">
                        <a:latin typeface="Nexa Book"/>
                      </a:defRPr>
                    </a:pPr>
                    <a:r>
                      <a:t>-0.5%</a:t>
                    </a:r>
                  </a:p>
                </c:rich>
              </c:tx>
              <c:dLblPos val="ctr"/>
              <c:showLegendKey val="0"/>
              <c:showVal val="1"/>
              <c:showCatName val="0"/>
              <c:showSerName val="0"/>
              <c:showPercent val="0"/>
              <c:showBubbleSize val="0"/>
            </c:dLbl>
            <c:dLbl>
              <c:idx val="5"/>
              <c:tx>
                <c:rich>
                  <a:bodyPr/>
                  <a:lstStyle/>
                  <a:p>
                    <a:pPr>
                      <a:defRPr sz="800">
                        <a:latin typeface="Nexa Book"/>
                      </a:defRPr>
                    </a:pPr>
                    <a:r>
                      <a:t>+0.2%</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0.0</c:v>
                </c:pt>
                <c:pt idx="1">
                  <c:v>0.008599999999999997</c:v>
                </c:pt>
                <c:pt idx="2">
                  <c:v>-0.001799999999999996</c:v>
                </c:pt>
                <c:pt idx="3">
                  <c:v>-0.0034999999999999754</c:v>
                </c:pt>
                <c:pt idx="4">
                  <c:v>-0.00470000000000001</c:v>
                </c:pt>
                <c:pt idx="5">
                  <c:v>0.001599999999999990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2%</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0.2%</a:t>
                    </a:r>
                  </a:p>
                </c:rich>
              </c:tx>
              <c:dLblPos val="ctr"/>
              <c:showLegendKey val="0"/>
              <c:showVal val="1"/>
              <c:showCatName val="0"/>
              <c:showSerName val="0"/>
              <c:showPercent val="0"/>
              <c:showBubbleSize val="0"/>
            </c:dLbl>
            <c:dLbl>
              <c:idx val="4"/>
              <c:tx>
                <c:rich>
                  <a:bodyPr/>
                  <a:lstStyle/>
                  <a:p>
                    <a:pPr>
                      <a:defRPr sz="800">
                        <a:latin typeface="Nexa Book"/>
                      </a:defRPr>
                    </a:pPr>
                    <a:r>
                      <a:t>-0.1%</a:t>
                    </a:r>
                  </a:p>
                </c:rich>
              </c:tx>
              <c:dLblPos val="ctr"/>
              <c:showLegendKey val="0"/>
              <c:showVal val="1"/>
              <c:showCatName val="0"/>
              <c:showSerName val="0"/>
              <c:showPercent val="0"/>
              <c:showBubbleSize val="0"/>
            </c:dLbl>
            <c:dLbl>
              <c:idx val="5"/>
              <c:tx>
                <c:rich>
                  <a:bodyPr/>
                  <a:lstStyle/>
                  <a:p>
                    <a:pPr>
                      <a:defRPr sz="800">
                        <a:latin typeface="Nexa Book"/>
                      </a:defRPr>
                    </a:pPr>
                    <a:r>
                      <a:t>+0.3%</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0.0</c:v>
                </c:pt>
                <c:pt idx="1">
                  <c:v>0.0017000000000000348</c:v>
                </c:pt>
                <c:pt idx="2">
                  <c:v>-0.0020000000000000018</c:v>
                </c:pt>
                <c:pt idx="3">
                  <c:v>-0.001700000000000007</c:v>
                </c:pt>
                <c:pt idx="4">
                  <c:v>-0.0011000000000000176</c:v>
                </c:pt>
                <c:pt idx="5">
                  <c:v>0.00319999999999998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46009879970044</c:v>
                </c:pt>
                <c:pt idx="1">
                  <c:v>0.09763350091650626</c:v>
                </c:pt>
                <c:pt idx="2">
                  <c:v>0.08066882356323314</c:v>
                </c:pt>
                <c:pt idx="3">
                  <c:v>0.04093414570731899</c:v>
                </c:pt>
                <c:pt idx="4">
                  <c:v>0.03952819725803891</c:v>
                </c:pt>
                <c:pt idx="5">
                  <c:v>0.03555516340715406</c:v>
                </c:pt>
                <c:pt idx="6">
                  <c:v>0.03472598650535385</c:v>
                </c:pt>
                <c:pt idx="7">
                  <c:v>0.030343607581273257</c:v>
                </c:pt>
                <c:pt idx="8">
                  <c:v>0.030116876697091517</c:v>
                </c:pt>
                <c:pt idx="9">
                  <c:v>0.385892710367025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26.1 %</a:t>
                    </a:r>
                  </a:p>
                </c:rich>
              </c:tx>
              <c:dLblPos val="ctr"/>
              <c:showLegendKey val="0"/>
              <c:showVal val="1"/>
              <c:showCatName val="0"/>
              <c:showSerName val="0"/>
              <c:showPercent val="0"/>
              <c:showBubbleSize val="0"/>
            </c:dLbl>
            <c:dLbl>
              <c:idx val="2"/>
              <c:tx>
                <c:rich>
                  <a:bodyPr/>
                  <a:lstStyle/>
                  <a:p>
                    <a:pPr>
                      <a:defRPr sz="800">
                        <a:latin typeface="Nexa Book"/>
                      </a:defRPr>
                    </a:pPr>
                    <a:r>
                      <a:t>22.1 %</a:t>
                    </a:r>
                  </a:p>
                </c:rich>
              </c:tx>
              <c:dLblPos val="ctr"/>
              <c:showLegendKey val="0"/>
              <c:showVal val="1"/>
              <c:showCatName val="0"/>
              <c:showSerName val="0"/>
              <c:showPercent val="0"/>
              <c:showBubbleSize val="0"/>
            </c:dLbl>
            <c:dLbl>
              <c:idx val="3"/>
              <c:tx>
                <c:rich>
                  <a:bodyPr/>
                  <a:lstStyle/>
                  <a:p>
                    <a:pPr>
                      <a:defRPr sz="800">
                        <a:latin typeface="Nexa Book"/>
                      </a:defRPr>
                    </a:pPr>
                    <a:r>
                      <a:t>19.5 %</a:t>
                    </a:r>
                  </a:p>
                </c:rich>
              </c:tx>
              <c:dLblPos val="ctr"/>
              <c:showLegendKey val="0"/>
              <c:showVal val="1"/>
              <c:showCatName val="0"/>
              <c:showSerName val="0"/>
              <c:showPercent val="0"/>
              <c:showBubbleSize val="0"/>
            </c:dLbl>
            <c:dLbl>
              <c:idx val="4"/>
              <c:tx>
                <c:rich>
                  <a:bodyPr/>
                  <a:lstStyle/>
                  <a:p>
                    <a:pPr>
                      <a:defRPr sz="800">
                        <a:latin typeface="Nexa Book"/>
                      </a:defRPr>
                    </a:pPr>
                    <a:r>
                      <a:t>17.5 %</a:t>
                    </a:r>
                  </a:p>
                </c:rich>
              </c:tx>
              <c:dLblPos val="ctr"/>
              <c:showLegendKey val="0"/>
              <c:showVal val="1"/>
              <c:showCatName val="0"/>
              <c:showSerName val="0"/>
              <c:showPercent val="0"/>
              <c:showBubbleSize val="0"/>
            </c:dLbl>
            <c:dLbl>
              <c:idx val="5"/>
              <c:tx>
                <c:rich>
                  <a:bodyPr/>
                  <a:lstStyle/>
                  <a:p>
                    <a:pPr>
                      <a:defRPr sz="800">
                        <a:latin typeface="Nexa Book"/>
                      </a:defRPr>
                    </a:pPr>
                    <a:r>
                      <a:t>14.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1.0</c:v>
                </c:pt>
                <c:pt idx="1">
                  <c:v>0.2614</c:v>
                </c:pt>
                <c:pt idx="2">
                  <c:v>0.2213</c:v>
                </c:pt>
                <c:pt idx="3">
                  <c:v>0.1953</c:v>
                </c:pt>
                <c:pt idx="4">
                  <c:v>0.1751</c:v>
                </c:pt>
                <c:pt idx="5">
                  <c:v>0.146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4.7 %</a:t>
                    </a:r>
                  </a:p>
                </c:rich>
              </c:tx>
              <c:dLblPos val="ctr"/>
              <c:showLegendKey val="0"/>
              <c:showVal val="1"/>
              <c:showCatName val="0"/>
              <c:showSerName val="0"/>
              <c:showPercent val="0"/>
              <c:showBubbleSize val="0"/>
            </c:dLbl>
            <c:dLbl>
              <c:idx val="2"/>
              <c:tx>
                <c:rich>
                  <a:bodyPr/>
                  <a:lstStyle/>
                  <a:p>
                    <a:pPr>
                      <a:defRPr sz="800">
                        <a:latin typeface="Nexa Book"/>
                      </a:defRPr>
                    </a:pPr>
                    <a:r>
                      <a:t>20.5 %</a:t>
                    </a:r>
                  </a:p>
                </c:rich>
              </c:tx>
              <c:dLblPos val="ctr"/>
              <c:showLegendKey val="0"/>
              <c:showVal val="1"/>
              <c:showCatName val="0"/>
              <c:showSerName val="0"/>
              <c:showPercent val="0"/>
              <c:showBubbleSize val="0"/>
            </c:dLbl>
            <c:dLbl>
              <c:idx val="3"/>
              <c:tx>
                <c:rich>
                  <a:bodyPr/>
                  <a:lstStyle/>
                  <a:p>
                    <a:pPr>
                      <a:defRPr sz="800">
                        <a:latin typeface="Nexa Book"/>
                      </a:defRPr>
                    </a:pPr>
                    <a:r>
                      <a:t>21.9 %</a:t>
                    </a:r>
                  </a:p>
                </c:rich>
              </c:tx>
              <c:dLblPos val="ctr"/>
              <c:showLegendKey val="0"/>
              <c:showVal val="1"/>
              <c:showCatName val="0"/>
              <c:showSerName val="0"/>
              <c:showPercent val="0"/>
              <c:showBubbleSize val="0"/>
            </c:dLbl>
            <c:dLbl>
              <c:idx val="4"/>
              <c:tx>
                <c:rich>
                  <a:bodyPr/>
                  <a:lstStyle/>
                  <a:p>
                    <a:pPr>
                      <a:defRPr sz="800">
                        <a:latin typeface="Nexa Book"/>
                      </a:defRPr>
                    </a:pPr>
                    <a:r>
                      <a:t>28.1 %</a:t>
                    </a:r>
                  </a:p>
                </c:rich>
              </c:tx>
              <c:dLblPos val="ctr"/>
              <c:showLegendKey val="0"/>
              <c:showVal val="1"/>
              <c:showCatName val="0"/>
              <c:showSerName val="0"/>
              <c:showPercent val="0"/>
              <c:showBubbleSize val="0"/>
            </c:dLbl>
            <c:dLbl>
              <c:idx val="5"/>
              <c:tx>
                <c:rich>
                  <a:bodyPr/>
                  <a:lstStyle/>
                  <a:p>
                    <a:pPr>
                      <a:defRPr sz="800">
                        <a:latin typeface="Nexa Book"/>
                      </a:defRPr>
                    </a:pPr>
                    <a:r>
                      <a:t>14.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1.0</c:v>
                </c:pt>
                <c:pt idx="1">
                  <c:v>0.1474</c:v>
                </c:pt>
                <c:pt idx="2">
                  <c:v>0.2055</c:v>
                </c:pt>
                <c:pt idx="3">
                  <c:v>0.2191</c:v>
                </c:pt>
                <c:pt idx="4">
                  <c:v>0.2809</c:v>
                </c:pt>
                <c:pt idx="5">
                  <c:v>0.147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dLbl>
              <c:idx val="3"/>
              <c:tx>
                <c:rich>
                  <a:bodyPr/>
                  <a:lstStyle/>
                  <a:p>
                    <a:pPr>
                      <a:defRPr sz="800">
                        <a:latin typeface="Nexa Book"/>
                      </a:defRPr>
                    </a:pPr>
                    <a:r>
                      <a:t>1</a:t>
                    </a:r>
                  </a:p>
                </c:rich>
              </c:tx>
              <c:dLblPos val="ctr"/>
              <c:showLegendKey val="0"/>
              <c:showVal val="1"/>
              <c:showCatName val="0"/>
              <c:showSerName val="0"/>
              <c:showPercent val="0"/>
              <c:showBubbleSize val="0"/>
            </c:dLbl>
            <c:dLbl>
              <c:idx val="4"/>
              <c:tx>
                <c:rich>
                  <a:bodyPr/>
                  <a:lstStyle/>
                  <a:p>
                    <a:pPr>
                      <a:defRPr sz="800">
                        <a:latin typeface="Nexa Book"/>
                      </a:defRPr>
                    </a:pPr>
                    <a:r>
                      <a:t>1</a:t>
                    </a:r>
                  </a:p>
                </c:rich>
              </c:tx>
              <c:dLblPos val="ctr"/>
              <c:showLegendKey val="0"/>
              <c:showVal val="1"/>
              <c:showCatName val="0"/>
              <c:showSerName val="0"/>
              <c:showPercent val="0"/>
              <c:showBubbleSize val="0"/>
            </c:dLbl>
            <c:dLbl>
              <c:idx val="5"/>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2889207.0</c:v>
                </c:pt>
                <c:pt idx="1">
                  <c:v>755192.0</c:v>
                </c:pt>
                <c:pt idx="2">
                  <c:v>639240.0</c:v>
                </c:pt>
                <c:pt idx="3">
                  <c:v>564354.0</c:v>
                </c:pt>
                <c:pt idx="4">
                  <c:v>505880.0</c:v>
                </c:pt>
                <c:pt idx="5">
                  <c:v>424541.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1</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r>
                      <a:t>0.0</a:t>
                    </a:r>
                  </a:p>
                </c:rich>
              </c:tx>
              <c:dLblPos val="ctr"/>
              <c:showLegendKey val="0"/>
              <c:showVal val="1"/>
              <c:showCatName val="0"/>
              <c:showSerName val="0"/>
              <c:showPercent val="0"/>
              <c:showBubbleSize val="0"/>
            </c:dLbl>
            <c:dLbl>
              <c:idx val="3"/>
              <c:tx>
                <c:rich>
                  <a:bodyPr/>
                  <a:lstStyle/>
                  <a:p>
                    <a:pPr>
                      <a:defRPr sz="800">
                        <a:latin typeface="Nexa Book"/>
                      </a:defRPr>
                    </a:pPr>
                    <a:r>
                      <a:t>0.0</a:t>
                    </a:r>
                  </a:p>
                </c:rich>
              </c:tx>
              <c:dLblPos val="ctr"/>
              <c:showLegendKey val="0"/>
              <c:showVal val="1"/>
              <c:showCatName val="0"/>
              <c:showSerName val="0"/>
              <c:showPercent val="0"/>
              <c:showBubbleSize val="0"/>
            </c:dLbl>
            <c:dLbl>
              <c:idx val="4"/>
              <c:tx>
                <c:rich>
                  <a:bodyPr/>
                  <a:lstStyle/>
                  <a:p>
                    <a:pPr>
                      <a:defRPr sz="800">
                        <a:latin typeface="Nexa Book"/>
                      </a:defRPr>
                    </a:pPr>
                    <a:r>
                      <a:t>0.0</a:t>
                    </a:r>
                  </a:p>
                </c:rich>
              </c:tx>
              <c:dLblPos val="ctr"/>
              <c:showLegendKey val="0"/>
              <c:showVal val="1"/>
              <c:showCatName val="0"/>
              <c:showSerName val="0"/>
              <c:showPercent val="0"/>
              <c:showBubbleSize val="0"/>
            </c:dLbl>
            <c:dLbl>
              <c:idx val="5"/>
              <c:tx>
                <c:rich>
                  <a:bodyPr/>
                  <a:lstStyle/>
                  <a:p>
                    <a:pPr>
                      <a:defRPr sz="800">
                        <a:latin typeface="Nexa Book"/>
                      </a:defRPr>
                    </a:pPr>
                    <a:r>
                      <a:t>0.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70070.0</c:v>
                </c:pt>
                <c:pt idx="1">
                  <c:v>10328.0</c:v>
                </c:pt>
                <c:pt idx="2">
                  <c:v>14398.0</c:v>
                </c:pt>
                <c:pt idx="3">
                  <c:v>15349.0</c:v>
                </c:pt>
                <c:pt idx="4">
                  <c:v>19684.0</c:v>
                </c:pt>
                <c:pt idx="5">
                  <c:v>1031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0.8%</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dLbl>
              <c:idx val="3"/>
              <c:tx>
                <c:rich>
                  <a:bodyPr/>
                  <a:lstStyle/>
                  <a:p>
                    <a:pPr>
                      <a:defRPr sz="800">
                        <a:latin typeface="Nexa Book"/>
                      </a:defRPr>
                    </a:pPr>
                    <a:r>
                      <a:t>+0.1%</a:t>
                    </a:r>
                  </a:p>
                </c:rich>
              </c:tx>
              <c:dLblPos val="ctr"/>
              <c:showLegendKey val="0"/>
              <c:showVal val="1"/>
              <c:showCatName val="0"/>
              <c:showSerName val="0"/>
              <c:showPercent val="0"/>
              <c:showBubbleSize val="0"/>
            </c:dLbl>
            <c:dLbl>
              <c:idx val="4"/>
              <c:tx>
                <c:rich>
                  <a:bodyPr/>
                  <a:lstStyle/>
                  <a:p>
                    <a:pPr>
                      <a:defRPr sz="800">
                        <a:latin typeface="Nexa Book"/>
                      </a:defRPr>
                    </a:pPr>
                    <a:r>
                      <a:t>-1.0%</a:t>
                    </a:r>
                  </a:p>
                </c:rich>
              </c:tx>
              <c:dLblPos val="ctr"/>
              <c:showLegendKey val="0"/>
              <c:showVal val="1"/>
              <c:showCatName val="0"/>
              <c:showSerName val="0"/>
              <c:showPercent val="0"/>
              <c:showBubbleSize val="0"/>
            </c:dLbl>
            <c:dLbl>
              <c:idx val="5"/>
              <c:tx>
                <c:rich>
                  <a:bodyPr/>
                  <a:lstStyle/>
                  <a:p>
                    <a:pPr>
                      <a:defRPr sz="800">
                        <a:latin typeface="Nexa Book"/>
                      </a:defRPr>
                    </a:pPr>
                    <a:r>
                      <a:t>+0.4%</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0.0</c:v>
                </c:pt>
                <c:pt idx="1">
                  <c:v>0.007500000000000007</c:v>
                </c:pt>
                <c:pt idx="2">
                  <c:v>-0.0019000000000000128</c:v>
                </c:pt>
                <c:pt idx="3">
                  <c:v>0.0005000000000000004</c:v>
                </c:pt>
                <c:pt idx="4">
                  <c:v>-0.009699999999999986</c:v>
                </c:pt>
                <c:pt idx="5">
                  <c:v>0.0035999999999999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7.5%</a:t>
                    </a:r>
                  </a:p>
                </c:rich>
              </c:tx>
              <c:dLblPos val="ctr"/>
              <c:showLegendKey val="0"/>
              <c:showVal val="1"/>
              <c:showCatName val="0"/>
              <c:showSerName val="0"/>
              <c:showPercent val="0"/>
              <c:showBubbleSize val="0"/>
            </c:dLbl>
            <c:dLbl>
              <c:idx val="2"/>
              <c:tx>
                <c:rich>
                  <a:bodyPr/>
                  <a:lstStyle/>
                  <a:p>
                    <a:pPr>
                      <a:defRPr sz="800">
                        <a:latin typeface="Nexa Book"/>
                      </a:defRPr>
                    </a:pPr>
                    <a:r>
                      <a:t>-1.5%</a:t>
                    </a:r>
                  </a:p>
                </c:rich>
              </c:tx>
              <c:dLblPos val="ctr"/>
              <c:showLegendKey val="0"/>
              <c:showVal val="1"/>
              <c:showCatName val="0"/>
              <c:showSerName val="0"/>
              <c:showPercent val="0"/>
              <c:showBubbleSize val="0"/>
            </c:dLbl>
            <c:dLbl>
              <c:idx val="3"/>
              <c:tx>
                <c:rich>
                  <a:bodyPr/>
                  <a:lstStyle/>
                  <a:p>
                    <a:pPr>
                      <a:defRPr sz="800">
                        <a:latin typeface="Nexa Book"/>
                      </a:defRPr>
                    </a:pPr>
                    <a:r>
                      <a:t>+3.9%</a:t>
                    </a:r>
                  </a:p>
                </c:rich>
              </c:tx>
              <c:dLblPos val="ctr"/>
              <c:showLegendKey val="0"/>
              <c:showVal val="1"/>
              <c:showCatName val="0"/>
              <c:showSerName val="0"/>
              <c:showPercent val="0"/>
              <c:showBubbleSize val="0"/>
            </c:dLbl>
            <c:dLbl>
              <c:idx val="4"/>
              <c:tx>
                <c:rich>
                  <a:bodyPr/>
                  <a:lstStyle/>
                  <a:p>
                    <a:pPr>
                      <a:defRPr sz="800">
                        <a:latin typeface="Nexa Book"/>
                      </a:defRPr>
                    </a:pPr>
                    <a:r>
                      <a:t>+5.7%</a:t>
                    </a:r>
                  </a:p>
                </c:rich>
              </c:tx>
              <c:dLblPos val="ctr"/>
              <c:showLegendKey val="0"/>
              <c:showVal val="1"/>
              <c:showCatName val="0"/>
              <c:showSerName val="0"/>
              <c:showPercent val="0"/>
              <c:showBubbleSize val="0"/>
            </c:dLbl>
            <c:dLbl>
              <c:idx val="5"/>
              <c:tx>
                <c:rich>
                  <a:bodyPr/>
                  <a:lstStyle/>
                  <a:p>
                    <a:pPr>
                      <a:defRPr sz="800">
                        <a:latin typeface="Nexa Book"/>
                      </a:defRPr>
                    </a:pPr>
                    <a:r>
                      <a:t>-0.6%</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and Total</c:v>
                </c:pt>
                <c:pt idx="1">
                  <c:v>CA A</c:v>
                </c:pt>
                <c:pt idx="2">
                  <c:v>CA C</c:v>
                </c:pt>
                <c:pt idx="3">
                  <c:v>CA D</c:v>
                </c:pt>
                <c:pt idx="4">
                  <c:v>CA E</c:v>
                </c:pt>
                <c:pt idx="5">
                  <c:v>CA B</c:v>
                </c:pt>
              </c:strCache>
            </c:strRef>
          </c:cat>
          <c:val>
            <c:numRef>
              <c:f>Sheet1!$B$2:$B$7</c:f>
              <c:numCache>
                <c:formatCode>General</c:formatCode>
                <c:ptCount val="6"/>
                <c:pt idx="0">
                  <c:v>0.0</c:v>
                </c:pt>
                <c:pt idx="1">
                  <c:v>-0.07519999999999999</c:v>
                </c:pt>
                <c:pt idx="2">
                  <c:v>-0.015000000000000013</c:v>
                </c:pt>
                <c:pt idx="3">
                  <c:v>0.039099999999999996</c:v>
                </c:pt>
                <c:pt idx="4">
                  <c:v>0.05729999999999999</c:v>
                </c:pt>
                <c:pt idx="5">
                  <c:v>-0.00620000000000001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4CFF156-8E07-454E-BD56-9D0CEAE2B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201775C0-9565-4F1E-A027-4A70D2093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0564176-0009-4AC1-84B4-878ADA95E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39C5AE69-CE14-4E18-B92E-E085A23A6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7E2252A8-409F-468F-B33D-2F65A5CBC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CA87FBD-27C5-40DE-8751-C3E9A9602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5EE834D9-2661-447C-AF5D-A57554BC8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2EBA3509-7C49-4A48-B4DE-66A9FC89E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421A3AEC-81EE-4CF3-972E-D10BC1C2E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A62B6BA-1249-4C1C-9B6F-75D0948AB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84451AD4-D0EA-4E71-9B24-2969FEEFC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4277EE47-8A6C-4F07-8A0F-6426B94D7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7E047141-5A12-4719-AB24-E64168884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4B5141E-3B67-427B-8E74-17BDE6BC3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25BDAD2-7360-4248-93F3-EEEE81729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E71FD701-BEE8-42E7-8B35-E44CAC229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757C54E-099C-45E0-854B-2EF84C4A2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2D4C9598-A6BA-4877-AC79-A076DC633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5233F780-22E2-4A6C-AD3A-EBDB828DB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480A253C-39B8-4016-85A9-C08409961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DE944A94-33F4-4C45-8A03-937690853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29E12F45-6139-4947-B6AD-47F3E22E4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D8E292B8-2838-4A3C-B1D4-A9121DA7E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F0BAE4F-8A65-48A6-A381-7A257F12E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D1E6B9AA-0CEA-497B-B933-698FA4BC8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A4C606F-A07E-47F6-BDEF-D6285AFAC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34FE6597-6619-4AFD-A63C-25F39ECD2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AE090A01-7DF7-49F3-BAEF-9F1F9E77A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319F3228-2CEE-4B9F-8738-FAE5C400C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BDECEE50-BAD1-4280-B804-8615BB92F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B8E9E91D-5D9F-4621-B96F-9B8DAFFD7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D61AB49F-D4AC-4221-A85C-72C25875C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0008188049120350094</c:v>
                </c:pt>
                <c:pt idx="1">
                  <c:v>-0.020605793960472824</c:v>
                </c:pt>
                <c:pt idx="2">
                  <c:v>0.001451315371030354</c:v>
                </c:pt>
                <c:pt idx="3">
                  <c:v>-0.018628482862696347</c:v>
                </c:pt>
                <c:pt idx="4">
                  <c:v>0.007621411516088437</c:v>
                </c:pt>
              </c:numCache>
            </c:numRef>
          </c:xVal>
          <c:yVal>
            <c:numRef>
              <c:f>Sheet1!$B$2:$B$6</c:f>
              <c:numCache>
                <c:formatCode>General</c:formatCode>
                <c:ptCount val="5"/>
                <c:pt idx="0">
                  <c:v>-0.0008481333568849392</c:v>
                </c:pt>
                <c:pt idx="1">
                  <c:v>-0.02134014324255007</c:v>
                </c:pt>
                <c:pt idx="2">
                  <c:v>0.0015030694048017712</c:v>
                </c:pt>
                <c:pt idx="3">
                  <c:v>-0.01929228002744998</c:v>
                </c:pt>
                <c:pt idx="4">
                  <c:v>0.007892998753393964</c:v>
                </c:pt>
              </c:numCache>
            </c:numRef>
          </c:yVal>
          <c:bubbleSize>
            <c:numRef>
              <c:f>Sheet1!$C$2:$C$6</c:f>
              <c:numCache>
                <c:formatCode>General</c:formatCode>
                <c:ptCount val="5"/>
                <c:pt idx="0">
                  <c:v>8393288.0</c:v>
                </c:pt>
                <c:pt idx="1">
                  <c:v>5214126.0</c:v>
                </c:pt>
                <c:pt idx="2">
                  <c:v>4064943.0</c:v>
                </c:pt>
                <c:pt idx="3">
                  <c:v>2391008.0</c:v>
                </c:pt>
                <c:pt idx="4">
                  <c:v>1430636.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6416897693737851"/>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619607096961707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A33740FD-4B6B-46DA-B907-D8E997228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2F4ACA9A-C9CE-4CFE-A5A2-5896912DA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D69FD92D-BF98-48E3-8C01-8E2C8014C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42F339C-6A76-4566-8575-210EACC07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E7279607-FC0B-47F3-A9B8-0D01A8EFD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34EE558-5A72-4C5A-B93D-B771DB305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DF6FDFB-F473-4779-996D-34B5AF501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109FFCBB-3073-4EF9-A32E-AF9E2ADFE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B842595B-0EBC-4268-B12B-D30D0779E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C17B9848-29AF-4EE6-B7BD-B4294A6F0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7E4F6C35-237E-4306-A0B7-1352DB6DB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AE22B90-1D91-4320-9714-F8747DFDC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38C6E47-61AD-4D28-87B9-BD6FF9F10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CF6194C0-6C43-4037-ADFE-12AA59617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F2349BFB-CC58-4876-A381-E14AD13C4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64A65B78-605F-4C33-BD20-4F1845E7A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ABD8718-DB17-4E78-9537-9015A0BAC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AEA8E1F8-468F-4E3F-B725-2FDFE2799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05731D3A-CCBE-42A6-8090-D7EC596F4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DB3B7ADC-3CFD-4643-9832-85BAAC30B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9C03571B-CBB4-46B6-A858-E4EE8AB01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5A6D428F-FCD6-46E0-8F7F-ACE64F4F2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E96032F-C4B0-4C4A-A758-0B89BE7DD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9B46849-0DC7-450D-9EEC-CED3048C1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31470E52-0090-4805-9DEB-4F1DE51F2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7A8D24C3-298A-45BE-A6A4-4EF1B0F59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58EA583-4331-4799-9078-17061E9FF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231D1046-1344-4A7E-8055-4206BEEB1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CA2E66D5-826A-4949-B055-C28A05944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B5B77D08-2FBC-44E4-95B1-8A93C2D68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44CCE87E-0F18-4745-A762-FB611B0BB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887F6C06-C22E-4D4F-A4E1-B1FB29881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11701084423934582</c:v>
                </c:pt>
                <c:pt idx="1">
                  <c:v>0.0031249341801874164</c:v>
                </c:pt>
                <c:pt idx="2">
                  <c:v>-0.002372112150963876</c:v>
                </c:pt>
                <c:pt idx="3">
                  <c:v>-0.003441502879365843</c:v>
                </c:pt>
                <c:pt idx="4">
                  <c:v>0.0018005329978456677</c:v>
                </c:pt>
                <c:pt idx="5">
                  <c:v>0.1986863613340005</c:v>
                </c:pt>
              </c:numCache>
            </c:numRef>
          </c:xVal>
          <c:yVal>
            <c:numRef>
              <c:f>Sheet1!$B$2:$B$7</c:f>
              <c:numCache>
                <c:formatCode>General</c:formatCode>
                <c:ptCount val="6"/>
                <c:pt idx="0">
                  <c:v>0.003962694322372562</c:v>
                </c:pt>
                <c:pt idx="1">
                  <c:v>0.01331521296506949</c:v>
                </c:pt>
                <c:pt idx="2">
                  <c:v>-0.026734097350466404</c:v>
                </c:pt>
                <c:pt idx="3">
                  <c:v>-0.012872526882988518</c:v>
                </c:pt>
                <c:pt idx="4">
                  <c:v>0.01060189822660387</c:v>
                </c:pt>
                <c:pt idx="5">
                  <c:v>0.20889207338282256</c:v>
                </c:pt>
              </c:numCache>
            </c:numRef>
          </c:yVal>
          <c:bubbleSize>
            <c:numRef>
              <c:f>Sheet1!$C$2:$C$7</c:f>
              <c:numCache>
                <c:formatCode>General</c:formatCode>
                <c:ptCount val="6"/>
                <c:pt idx="0">
                  <c:v>1127827.0</c:v>
                </c:pt>
                <c:pt idx="1">
                  <c:v>629014.0</c:v>
                </c:pt>
                <c:pt idx="2">
                  <c:v>247282.0</c:v>
                </c:pt>
                <c:pt idx="3">
                  <c:v>189300.0</c:v>
                </c:pt>
                <c:pt idx="4">
                  <c:v>72572.0</c:v>
                </c:pt>
                <c:pt idx="5">
                  <c:v>2916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3286087577723559"/>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349165496509397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42DD4E4F-7819-4B04-BEB7-8D1BAD230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DD20C81-4A5B-4854-BB11-7A609F56D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98D6C1EE-6B03-42B1-A3FF-972A2579D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CD7C025C-024F-482D-9515-931126C50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B36931D4-3362-4659-9683-1C82088CA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9B0D4B86-E97F-45F0-8B0A-2AF082440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9AFDA56B-1155-42F1-A7B0-3817CEFAA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FC05A44-CF9C-4041-83DC-002D7B9A6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3FEBC802-4943-41A2-825A-19F559762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1B4D8757-F308-4820-BB8D-9E433EF93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C2DAF5F6-8889-402E-8870-01C67800F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27D111D9-02D5-4294-9451-4E74EB181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CFCE16DF-67B2-4E3C-97F8-9F511B621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CAFA5706-7058-453D-AEE6-3F687E26D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0C105B47-92D0-424F-996A-B4A18C558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C9D40519-B7C3-448B-9D84-C36851B40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4285A82-51BB-42D6-9580-2CCB16C74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C1B871D-D6C4-441B-A711-C754758EA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E67D92B-3924-447D-AD55-68A4B8B46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D107CADE-923F-4647-B0DA-963B605C2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9226BE86-89CF-490F-AC5C-BB66E60CF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79FCD05-369A-42E7-B056-E72191AB0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99ED2673-8DAE-4E80-9991-5E7262A94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4D1A0575-0C74-44AE-994F-714E4F786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E3D75186-3D62-4425-A4E9-CDE06BD9D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E85F0E9A-9FC4-47AB-8562-2C1D861C6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1698FE0F-D7A2-4EF7-AE1B-C51566A1A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B99C6BBD-5CA9-415B-AF3B-CB1924EA3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3D0C4BF9-5320-4E36-9B5A-9FD90AA5B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65347FB-3E6C-4EBD-B91E-C6EF86688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D7F4ACB3-4923-4793-9C35-D1FEB776B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42E72B3-25F6-4EFB-A346-718A6A180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006150280671556874</c:v>
                </c:pt>
                <c:pt idx="1">
                  <c:v>-0.002763200865515056</c:v>
                </c:pt>
                <c:pt idx="2">
                  <c:v>0.0043393011096649475</c:v>
                </c:pt>
                <c:pt idx="3">
                  <c:v>0.0027435551308691852</c:v>
                </c:pt>
                <c:pt idx="4">
                  <c:v>0.002202873477809647</c:v>
                </c:pt>
                <c:pt idx="5">
                  <c:v>-0.006183196882852557</c:v>
                </c:pt>
                <c:pt idx="6">
                  <c:v>-0.0019721097850560337</c:v>
                </c:pt>
                <c:pt idx="7">
                  <c:v>-0.003359654242610789</c:v>
                </c:pt>
              </c:numCache>
            </c:numRef>
          </c:xVal>
          <c:yVal>
            <c:numRef>
              <c:f>Sheet1!$B$2:$B$9</c:f>
              <c:numCache>
                <c:formatCode>General</c:formatCode>
                <c:ptCount val="8"/>
                <c:pt idx="0">
                  <c:v>0.006415856310156509</c:v>
                </c:pt>
                <c:pt idx="1">
                  <c:v>-0.002882154240811008</c:v>
                </c:pt>
                <c:pt idx="2">
                  <c:v>0.004526430048697919</c:v>
                </c:pt>
                <c:pt idx="3">
                  <c:v>0.002861905273721696</c:v>
                </c:pt>
                <c:pt idx="4">
                  <c:v>0.002297990972828519</c:v>
                </c:pt>
                <c:pt idx="5">
                  <c:v>-0.032192859318544334</c:v>
                </c:pt>
                <c:pt idx="6">
                  <c:v>-0.010632990279467514</c:v>
                </c:pt>
                <c:pt idx="7">
                  <c:v>0.001374991379873916</c:v>
                </c:pt>
              </c:numCache>
            </c:numRef>
          </c:yVal>
          <c:bubbleSize>
            <c:numRef>
              <c:f>Sheet1!$C$2:$C$9</c:f>
              <c:numCache>
                <c:formatCode>General</c:formatCode>
                <c:ptCount val="8"/>
                <c:pt idx="0">
                  <c:v>11598081.0</c:v>
                </c:pt>
                <c:pt idx="1">
                  <c:v>3450576.0</c:v>
                </c:pt>
                <c:pt idx="2">
                  <c:v>3306117.0</c:v>
                </c:pt>
                <c:pt idx="3">
                  <c:v>3231524.0</c:v>
                </c:pt>
                <c:pt idx="4">
                  <c:v>2420106.0</c:v>
                </c:pt>
                <c:pt idx="5">
                  <c:v>431239.0</c:v>
                </c:pt>
                <c:pt idx="6">
                  <c:v>415089.0</c:v>
                </c:pt>
                <c:pt idx="7">
                  <c:v>23702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3528853731693037"/>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1447310767332772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49AE899-109A-4332-A7E3-71CF5C494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7CC23370-8CF9-4A2C-AB59-EEC8FC86E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C8382BEA-8EC5-4ADD-9B89-554CEA8E0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F29E335-AC85-4DCE-B24B-2930DEB1A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CE757C7-9404-402E-938C-AF7A0BA7D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68FBCBF-BD2A-4033-8548-64D41F110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70D4CD40-5197-47CA-8E66-3F8CDED88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DD30219-C4DC-4BA7-93E9-99F44B8AF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2D69F01-2424-43FE-AE12-D5B0171D9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5A6482C-53BB-4B97-BBC7-551544B65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C164FDFA-0F75-46ED-ACC6-2B32E9C84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3FA10253-B460-4DA6-BCFB-C45C0C11A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B67D787-8094-4C53-AFE6-5B5F0D53E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7B1CA6F-BE46-4B08-98B5-372CA861A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ADAE6BEE-3B30-458E-87CE-3C8F9D9C4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68C1DA4A-732C-45B8-99E9-FE2BF3FA1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7C47084D-03A7-4D7C-8EEE-1227D70BC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F29DD445-E1F2-4058-8D3B-94E55D8AD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49DD6CA-D734-42DA-A4B2-C691C19A8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0BB92483-3F33-425D-A9D0-202C0696C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9A4A7C50-F242-4AF9-B44A-D19C6BB6A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1A689350-0632-402C-8390-4AE86530F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20F70DA-AEFB-46B4-8368-6848E74A3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B342F850-1F4F-4EA6-85B9-A54DD670E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93F17872-5CC6-408A-BD6A-3D526357A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2D4C146-6822-42A0-AF1D-ADC8D5386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0A78B62F-AE02-4430-9F37-2E6378488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F014EF3B-B529-4203-B587-330F02285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6B3FBFDE-AE3D-491C-849A-AF1CD4ABD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96F7A9A-DD55-47FF-A02E-DD8CC6F0B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5C4FFD2-5FEF-4FED-91FE-933775867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40FF7230-8015-45CF-8863-2870FBB9A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04090765954947034</c:v>
                </c:pt>
                <c:pt idx="1">
                  <c:v>-0.006265065706117831</c:v>
                </c:pt>
                <c:pt idx="2">
                  <c:v>0.0006059056765091164</c:v>
                </c:pt>
                <c:pt idx="3">
                  <c:v>-0.005210768415405027</c:v>
                </c:pt>
                <c:pt idx="4">
                  <c:v>-0.0025464792516977156</c:v>
                </c:pt>
                <c:pt idx="5">
                  <c:v>0.15100200812140746</c:v>
                </c:pt>
                <c:pt idx="6">
                  <c:v>0.13223106064020337</c:v>
                </c:pt>
                <c:pt idx="7">
                  <c:v>0.1528443345746844</c:v>
                </c:pt>
                <c:pt idx="8">
                  <c:v>0.17024160325239573</c:v>
                </c:pt>
                <c:pt idx="9">
                  <c:v>0.13052491729490656</c:v>
                </c:pt>
                <c:pt idx="10">
                  <c:v>0.15487092302624206</c:v>
                </c:pt>
                <c:pt idx="11">
                  <c:v>0.17994200836737784</c:v>
                </c:pt>
                <c:pt idx="12">
                  <c:v>0.11716731802161251</c:v>
                </c:pt>
                <c:pt idx="13">
                  <c:v>0.12334473800612172</c:v>
                </c:pt>
              </c:numCache>
            </c:numRef>
          </c:xVal>
          <c:yVal>
            <c:numRef>
              <c:f>Sheet1!$B$2:$B$15</c:f>
              <c:numCache>
                <c:formatCode>General</c:formatCode>
                <c:ptCount val="14"/>
                <c:pt idx="0">
                  <c:v>0.004254914048275771</c:v>
                </c:pt>
                <c:pt idx="1">
                  <c:v>-0.006516738389310731</c:v>
                </c:pt>
                <c:pt idx="2">
                  <c:v>0.0006302680555597684</c:v>
                </c:pt>
                <c:pt idx="3">
                  <c:v>-0.005419230499636232</c:v>
                </c:pt>
                <c:pt idx="4">
                  <c:v>-0.0026483250370625336</c:v>
                </c:pt>
                <c:pt idx="5">
                  <c:v>0.16139319693308207</c:v>
                </c:pt>
                <c:pt idx="6">
                  <c:v>0.13774665422541393</c:v>
                </c:pt>
                <c:pt idx="7">
                  <c:v>0.14198113528717493</c:v>
                </c:pt>
                <c:pt idx="8">
                  <c:v>0.21804680916300684</c:v>
                </c:pt>
                <c:pt idx="9">
                  <c:v>0.14045378559936966</c:v>
                </c:pt>
                <c:pt idx="10">
                  <c:v>0.18456195862839786</c:v>
                </c:pt>
                <c:pt idx="11">
                  <c:v>0.196691310328174</c:v>
                </c:pt>
                <c:pt idx="12">
                  <c:v>0.20632999564027255</c:v>
                </c:pt>
                <c:pt idx="13">
                  <c:v>0.1304120356733633</c:v>
                </c:pt>
              </c:numCache>
            </c:numRef>
          </c:yVal>
          <c:bubbleSize>
            <c:numRef>
              <c:f>Sheet1!$C$2:$C$15</c:f>
              <c:numCache>
                <c:formatCode>General</c:formatCode>
                <c:ptCount val="14"/>
                <c:pt idx="0">
                  <c:v>132987950.0</c:v>
                </c:pt>
                <c:pt idx="1">
                  <c:v>56585490.0</c:v>
                </c:pt>
                <c:pt idx="2">
                  <c:v>39552397.0</c:v>
                </c:pt>
                <c:pt idx="3">
                  <c:v>33996423.0</c:v>
                </c:pt>
                <c:pt idx="4">
                  <c:v>32603771.0</c:v>
                </c:pt>
                <c:pt idx="5">
                  <c:v>669208.0</c:v>
                </c:pt>
                <c:pt idx="6">
                  <c:v>280466.0</c:v>
                </c:pt>
                <c:pt idx="7">
                  <c:v>151479.0</c:v>
                </c:pt>
                <c:pt idx="8">
                  <c:v>103944.0</c:v>
                </c:pt>
                <c:pt idx="9">
                  <c:v>90906.0</c:v>
                </c:pt>
                <c:pt idx="10">
                  <c:v>65178.0</c:v>
                </c:pt>
                <c:pt idx="11">
                  <c:v>56310.0</c:v>
                </c:pt>
                <c:pt idx="12">
                  <c:v>47737.0</c:v>
                </c:pt>
                <c:pt idx="13">
                  <c:v>38725.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1077084121182915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930602335402276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F392312-EB65-40F2-AC75-8F2E8DE82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3304BEC-C713-4CCE-8B18-75CE647D8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3FA25376-390A-483F-AEFF-6A0A4B5A4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C9FD6156-9256-4B74-8E8D-066148037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9ABE256-1B96-4C91-A414-E1F542363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447DB54A-2FCF-47A3-83DC-7318EFA45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1C0DDB8-2C55-46D2-9C83-AD6818FF3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E8F517BE-4C72-439B-87BA-72DBADFC2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69EC14F3-F6AA-406E-A01D-6E329D951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20205EB-2314-4584-8352-35A7F371C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4B67C67-C994-40E9-BAA0-755287859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B064B34C-17DF-4D19-938F-1A3D6FA57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BF4549E-079A-4E33-9F12-859DEAD0E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C767A35C-685C-4BA4-AFFB-D8B704200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6EE20EC4-71C5-47B0-9DB8-49602911E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6B086647-E174-441D-B738-D41B40B95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3F10701-4E75-4236-A5AD-EFFEB7C5A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5221D289-D4C0-4033-8D64-78857C760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r>
                      <a:t>19</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439C743-68D1-465F-8441-3F775E706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559AB66-38EC-4C0A-9026-517164A46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79204BE2-480D-4846-913C-C1E64A30E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8963F883-7ADE-4A51-AD00-AA4A26B9E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A9E63380-2E83-4F66-8F64-6D6DC4CC2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E88D107F-7CDA-4AA6-8704-2E60900CE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6868FCA3-A4E9-48EF-980C-7CEA354F2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8BC27F0A-4AEA-4050-969D-9831869B2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3BC2A621-D282-48B6-AA59-8348DA802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1AAE828-6A5E-488E-874B-05E7AB5A8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A4FBA01-F2A3-47E3-A15F-8291385E5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23C6CA7A-BC32-4AE1-93C5-D7513F1E2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A4F46529-A35D-4171-8311-F133C4B66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6BCFB58-3729-4FF1-AA43-D44C356FF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0.0013804225773225154</c:v>
                </c:pt>
                <c:pt idx="1">
                  <c:v>-0.13810383847859375</c:v>
                </c:pt>
                <c:pt idx="2">
                  <c:v>-0.12444510800759079</c:v>
                </c:pt>
                <c:pt idx="3">
                  <c:v>-0.13763636856283123</c:v>
                </c:pt>
                <c:pt idx="4">
                  <c:v>0.18799490647386555</c:v>
                </c:pt>
                <c:pt idx="5">
                  <c:v>-0.2157374217355057</c:v>
                </c:pt>
                <c:pt idx="6">
                  <c:v>-0.1709719093176556</c:v>
                </c:pt>
                <c:pt idx="7">
                  <c:v>0.17066531369128954</c:v>
                </c:pt>
                <c:pt idx="8">
                  <c:v>0.2679301592363985</c:v>
                </c:pt>
                <c:pt idx="9">
                  <c:v>0.2050621130905051</c:v>
                </c:pt>
                <c:pt idx="10">
                  <c:v>-0.21365411174157234</c:v>
                </c:pt>
                <c:pt idx="11">
                  <c:v>-0.13216916346178165</c:v>
                </c:pt>
                <c:pt idx="12">
                  <c:v>-0.1596845257583599</c:v>
                </c:pt>
                <c:pt idx="13">
                  <c:v>-0.16559775683817646</c:v>
                </c:pt>
                <c:pt idx="14">
                  <c:v>0.19703733112364907</c:v>
                </c:pt>
                <c:pt idx="15">
                  <c:v>0.2580195433754104</c:v>
                </c:pt>
                <c:pt idx="16">
                  <c:v>0.194113671776975</c:v>
                </c:pt>
                <c:pt idx="17">
                  <c:v>0.1877717584210743</c:v>
                </c:pt>
                <c:pt idx="18">
                  <c:v>0.224286183416124</c:v>
                </c:pt>
              </c:numCache>
            </c:numRef>
          </c:xVal>
          <c:yVal>
            <c:numRef>
              <c:f>Sheet1!$B$2:$B$20</c:f>
              <c:numCache>
                <c:formatCode>General</c:formatCode>
                <c:ptCount val="19"/>
                <c:pt idx="0">
                  <c:v>-0.0014428628381006892</c:v>
                </c:pt>
                <c:pt idx="1">
                  <c:v>-0.2944610063497034</c:v>
                </c:pt>
                <c:pt idx="2">
                  <c:v>-0.28221524226041794</c:v>
                </c:pt>
                <c:pt idx="3">
                  <c:v>-0.3390389077984892</c:v>
                </c:pt>
                <c:pt idx="4">
                  <c:v>0.3022861411525597</c:v>
                </c:pt>
                <c:pt idx="5">
                  <c:v>-0.47564687342893675</c:v>
                </c:pt>
                <c:pt idx="6">
                  <c:v>-0.3443723815164481</c:v>
                </c:pt>
                <c:pt idx="7">
                  <c:v>0.3102836209826655</c:v>
                </c:pt>
                <c:pt idx="8">
                  <c:v>0.48377785638486026</c:v>
                </c:pt>
                <c:pt idx="9">
                  <c:v>0.3482265011401064</c:v>
                </c:pt>
                <c:pt idx="10">
                  <c:v>-0.4005632062871174</c:v>
                </c:pt>
                <c:pt idx="11">
                  <c:v>-0.31378210912590987</c:v>
                </c:pt>
                <c:pt idx="12">
                  <c:v>-0.24711593510009155</c:v>
                </c:pt>
                <c:pt idx="13">
                  <c:v>-0.32320969890481643</c:v>
                </c:pt>
                <c:pt idx="14">
                  <c:v>0.35606569114422515</c:v>
                </c:pt>
                <c:pt idx="15">
                  <c:v>0.40786652996551404</c:v>
                </c:pt>
                <c:pt idx="16">
                  <c:v>0.3115562774469109</c:v>
                </c:pt>
                <c:pt idx="17">
                  <c:v>0.26790697674418606</c:v>
                </c:pt>
                <c:pt idx="18">
                  <c:v>0.3474001507159005</c:v>
                </c:pt>
              </c:numCache>
            </c:numRef>
          </c:yVal>
          <c:bubbleSize>
            <c:numRef>
              <c:f>Sheet1!$C$2:$C$20</c:f>
              <c:numCache>
                <c:formatCode>General</c:formatCode>
                <c:ptCount val="19"/>
                <c:pt idx="0">
                  <c:v>2170979.0</c:v>
                </c:pt>
                <c:pt idx="1">
                  <c:v>827128.0</c:v>
                </c:pt>
                <c:pt idx="2">
                  <c:v>331167.0</c:v>
                </c:pt>
                <c:pt idx="3">
                  <c:v>218807.0</c:v>
                </c:pt>
                <c:pt idx="4">
                  <c:v>211001.0</c:v>
                </c:pt>
                <c:pt idx="5">
                  <c:v>161589.0</c:v>
                </c:pt>
                <c:pt idx="6">
                  <c:v>79359.0</c:v>
                </c:pt>
                <c:pt idx="7">
                  <c:v>75689.0</c:v>
                </c:pt>
                <c:pt idx="8">
                  <c:v>64894.0</c:v>
                </c:pt>
                <c:pt idx="9">
                  <c:v>63304.0</c:v>
                </c:pt>
                <c:pt idx="10">
                  <c:v>47771.0</c:v>
                </c:pt>
                <c:pt idx="11">
                  <c:v>41270.0</c:v>
                </c:pt>
                <c:pt idx="12">
                  <c:v>35057.0</c:v>
                </c:pt>
                <c:pt idx="13">
                  <c:v>25358.0</c:v>
                </c:pt>
                <c:pt idx="14">
                  <c:v>23329.0</c:v>
                </c:pt>
                <c:pt idx="15">
                  <c:v>17768.0</c:v>
                </c:pt>
                <c:pt idx="16">
                  <c:v>10953.0</c:v>
                </c:pt>
                <c:pt idx="17">
                  <c:v>9275.0</c:v>
                </c:pt>
                <c:pt idx="18">
                  <c:v>8555.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59748169508893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2281580811188955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B38DAEA-4C98-426E-9050-424C32311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C407A2AA-694A-4A6C-A71A-37828F613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D356321B-8C79-4744-9EEE-CB3141A1B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753D0F02-1EE0-4654-BDEE-2C6E03F04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CCC439F-49DF-4853-8522-E660DB98A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E166BAF2-3157-49D4-88F1-DD071E211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7CAD7A2D-74AF-44FB-9B23-B2B33A338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970583A2-34DA-4731-8204-DB99C7E3A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E712CA6-2B37-4B9C-B901-4C0A77E3E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00112385-DA70-4E04-AE47-4CB87F093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4503C6D-0B67-4E90-8618-49F8151D9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A9972DF5-FF5A-402B-BF3F-E21CEF288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11527FE-C512-4F46-9B13-0DF89C4DC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858AF96F-7CDA-4EFC-9A62-722B16D09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F6A664B-3BC9-4DDD-8DE3-39A765497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F9434C78-1FEE-4982-A826-FAE94D6FE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33F86056-CD95-4AFB-A481-BB3CA46EA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9A81E69E-EB12-476F-983E-B2D8FA0C0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FDB82D8-46E7-48D9-A308-121A891B4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D3E6334E-480B-4652-A9D7-1455FE680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8AE5DF0D-9D1C-4BA5-B0A8-EC1E5A111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86012CE5-50D4-4ABF-AB72-FFF52563A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C452AB9-4743-447D-82EA-623AD2F49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AE8FB7C-465C-427A-8561-46EB227BF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6B6B994E-DB74-44CD-A1BB-9ADCC1213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3E3BB1E8-153D-4C0E-92FA-B1A49DA5C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DCBEDF67-DB4A-4DFC-A33D-825AFD2E4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A88BCA2E-4062-4F69-94D4-34A8D9C98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73F521B5-E7F7-4D69-98BB-F4FA6CED2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557F480-E949-4D8E-A454-2F36B2670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64B0F585-FE3B-4217-90D8-51D2D84A3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9B142B7A-F438-4F4C-9C9C-887BC61C5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07101898367074699</c:v>
                </c:pt>
                <c:pt idx="1">
                  <c:v>-0.01760788408152192</c:v>
                </c:pt>
                <c:pt idx="2">
                  <c:v>-0.01635001623889165</c:v>
                </c:pt>
                <c:pt idx="3">
                  <c:v>0.021176418316869783</c:v>
                </c:pt>
                <c:pt idx="4">
                  <c:v>0.005995759415297175</c:v>
                </c:pt>
                <c:pt idx="5">
                  <c:v>0.005125702732975523</c:v>
                </c:pt>
                <c:pt idx="6">
                  <c:v>-0.003925927014110639</c:v>
                </c:pt>
              </c:numCache>
            </c:numRef>
          </c:xVal>
          <c:yVal>
            <c:numRef>
              <c:f>Sheet1!$B$2:$B$8</c:f>
              <c:numCache>
                <c:formatCode>General</c:formatCode>
                <c:ptCount val="7"/>
                <c:pt idx="0">
                  <c:v>0.007379737230868044</c:v>
                </c:pt>
                <c:pt idx="1">
                  <c:v>-0.018295595511514884</c:v>
                </c:pt>
                <c:pt idx="2">
                  <c:v>-0.016988962489525153</c:v>
                </c:pt>
                <c:pt idx="3">
                  <c:v>0.022004305596561087</c:v>
                </c:pt>
                <c:pt idx="4">
                  <c:v>0.006229383053685943</c:v>
                </c:pt>
                <c:pt idx="5">
                  <c:v>-0.0066218096913064906</c:v>
                </c:pt>
                <c:pt idx="6">
                  <c:v>-0.01220646194905893</c:v>
                </c:pt>
              </c:numCache>
            </c:numRef>
          </c:yVal>
          <c:bubbleSize>
            <c:numRef>
              <c:f>Sheet1!$C$2:$C$8</c:f>
              <c:numCache>
                <c:formatCode>General</c:formatCode>
                <c:ptCount val="7"/>
                <c:pt idx="0">
                  <c:v>15897650.0</c:v>
                </c:pt>
                <c:pt idx="1">
                  <c:v>12258120.0</c:v>
                </c:pt>
                <c:pt idx="2">
                  <c:v>4177323.0</c:v>
                </c:pt>
                <c:pt idx="3">
                  <c:v>3025266.0</c:v>
                </c:pt>
                <c:pt idx="4">
                  <c:v>1982916.0</c:v>
                </c:pt>
                <c:pt idx="5">
                  <c:v>14455.0</c:v>
                </c:pt>
                <c:pt idx="6">
                  <c:v>12577.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2642771965755769"/>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21656449967042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4D8E3D51-2AAD-4F3E-864E-CB5BDF77A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E09B126-19E6-44D3-BC26-17D8CCE9F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D43233C9-4E77-46EE-B361-EF65C3305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9AD1A4CC-74B1-453B-B5EB-BFAE64F2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0ED00DB6-0646-4CEC-ABE4-ABCC3A1CB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2A56085E-26DD-4D6F-88A3-1CBF0F3F1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360A60B-B901-4A16-882C-CA3241807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128B6D57-5FAE-4377-9612-96DE5FF4E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D5058D43-E111-4ABD-8A32-7D305E6D5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B60098DF-5C22-4B9A-A243-3251FDA67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D2C3036-5E90-4055-B29B-C49469D99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350C3775-7B73-47BC-8D36-CE8ABB581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9302672-C5DC-4B5A-BB6C-D365F65F6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22F4E8C-F6EE-4B80-BF22-A3F1C0CDF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32AD8E1-540B-406B-B88A-5CF35C695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88D34B9-DE0B-4F46-92DA-11D743510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0461085C-D49F-4FC8-A9A3-DA6F25B6E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EF5620B3-3888-4AC7-B4B7-636D2646C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2E18AC8-CA4D-46DA-AAF7-DEF33BEA8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03BBD6EE-D48A-4E20-94F2-3DCDDC709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914AA746-3199-4A5A-B0A5-81569050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7C01F32E-CA1D-4371-8F9F-66A18DBAD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4E51DA7B-E045-43A9-AF72-05E14C9A4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4EFF4BB5-43AB-4BF2-8F1E-0349FBD68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1565923-D950-41F2-B26C-ACC1D9134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9A85DED-9BA2-4782-B1F8-F2439DD40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3DE45EC9-5668-4D8C-B6AB-159628DB6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E417719E-DB57-4EDB-9960-F21FC36FB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14DFEA1F-E5C6-4EA8-9C54-AF094B657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CF377F90-3DF6-4BEB-A13B-AD55015A7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1795051-A2A5-4921-8F96-F5F686FBF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428EB947-01AD-4401-935B-1A27B022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1595746270021563</c:v>
                </c:pt>
                <c:pt idx="1">
                  <c:v>0.011936940496962534</c:v>
                </c:pt>
                <c:pt idx="2">
                  <c:v>-0.01031901276918068</c:v>
                </c:pt>
                <c:pt idx="3">
                  <c:v>-0.0003958770491320207</c:v>
                </c:pt>
                <c:pt idx="4">
                  <c:v>0.006739971993028407</c:v>
                </c:pt>
                <c:pt idx="5">
                  <c:v>0.15679058377080402</c:v>
                </c:pt>
                <c:pt idx="6">
                  <c:v>0.015035282342268586</c:v>
                </c:pt>
                <c:pt idx="7">
                  <c:v>0.1996476215247273</c:v>
                </c:pt>
                <c:pt idx="8">
                  <c:v>0.016789640531528927</c:v>
                </c:pt>
                <c:pt idx="9">
                  <c:v>0.022615006719274633</c:v>
                </c:pt>
                <c:pt idx="10">
                  <c:v>0.03618065937196202</c:v>
                </c:pt>
                <c:pt idx="11">
                  <c:v>0.20214742934368296</c:v>
                </c:pt>
                <c:pt idx="12">
                  <c:v>0.08343119910751429</c:v>
                </c:pt>
                <c:pt idx="13">
                  <c:v>0.18325773128025125</c:v>
                </c:pt>
                <c:pt idx="14">
                  <c:v>-0.0033516890186983117</c:v>
                </c:pt>
                <c:pt idx="15">
                  <c:v>0.0124953406952477</c:v>
                </c:pt>
                <c:pt idx="16">
                  <c:v>-0.0031279357856763973</c:v>
                </c:pt>
                <c:pt idx="17">
                  <c:v>0.018135626241011393</c:v>
                </c:pt>
                <c:pt idx="18">
                  <c:v>0.17919377304886394</c:v>
                </c:pt>
                <c:pt idx="19">
                  <c:v>0.007806730352636515</c:v>
                </c:pt>
                <c:pt idx="20">
                  <c:v>0.00873066307262084</c:v>
                </c:pt>
                <c:pt idx="21">
                  <c:v>0.010771020759229089</c:v>
                </c:pt>
                <c:pt idx="22">
                  <c:v>-0.00047241238064567315</c:v>
                </c:pt>
                <c:pt idx="23">
                  <c:v>0.08044492240039552</c:v>
                </c:pt>
                <c:pt idx="24">
                  <c:v>-0.0069806165261657865</c:v>
                </c:pt>
                <c:pt idx="25">
                  <c:v>0.0019766018640459057</c:v>
                </c:pt>
                <c:pt idx="26">
                  <c:v>-0.009938682694860035</c:v>
                </c:pt>
                <c:pt idx="27">
                  <c:v>0.013196953353483629</c:v>
                </c:pt>
                <c:pt idx="28">
                  <c:v>0.02756952657977539</c:v>
                </c:pt>
                <c:pt idx="29">
                  <c:v>0.006569835427042703</c:v>
                </c:pt>
              </c:numCache>
            </c:numRef>
          </c:xVal>
          <c:yVal>
            <c:numRef>
              <c:f>Sheet1!$B$2:$B$31</c:f>
              <c:numCache>
                <c:formatCode>General</c:formatCode>
                <c:ptCount val="30"/>
                <c:pt idx="0">
                  <c:v>0.17236296271547397</c:v>
                </c:pt>
                <c:pt idx="1">
                  <c:v>0.010823960727815912</c:v>
                </c:pt>
                <c:pt idx="2">
                  <c:v>-0.003865268064497482</c:v>
                </c:pt>
                <c:pt idx="3">
                  <c:v>-0.00928686354876243</c:v>
                </c:pt>
                <c:pt idx="4">
                  <c:v>-0.001595338300366747</c:v>
                </c:pt>
                <c:pt idx="5">
                  <c:v>0.22027769636659333</c:v>
                </c:pt>
                <c:pt idx="6">
                  <c:v>-0.006583360407461658</c:v>
                </c:pt>
                <c:pt idx="7">
                  <c:v>0.20374970915564558</c:v>
                </c:pt>
                <c:pt idx="8">
                  <c:v>-0.004558190567738707</c:v>
                </c:pt>
                <c:pt idx="9">
                  <c:v>-0.016676354761897993</c:v>
                </c:pt>
                <c:pt idx="10">
                  <c:v>0.03302129039789248</c:v>
                </c:pt>
                <c:pt idx="11">
                  <c:v>0.23090870090021828</c:v>
                </c:pt>
                <c:pt idx="12">
                  <c:v>0.024198984117406674</c:v>
                </c:pt>
                <c:pt idx="13">
                  <c:v>0.1997181380153228</c:v>
                </c:pt>
                <c:pt idx="14">
                  <c:v>0.02952359794396775</c:v>
                </c:pt>
                <c:pt idx="15">
                  <c:v>0.0011508577058715608</c:v>
                </c:pt>
                <c:pt idx="16">
                  <c:v>0.0032466328706115266</c:v>
                </c:pt>
                <c:pt idx="17">
                  <c:v>0.020161240469647068</c:v>
                </c:pt>
                <c:pt idx="18">
                  <c:v>0.15969917988158575</c:v>
                </c:pt>
                <c:pt idx="19">
                  <c:v>0.00013737251031709086</c:v>
                </c:pt>
                <c:pt idx="20">
                  <c:v>-0.014549695587097358</c:v>
                </c:pt>
                <c:pt idx="21">
                  <c:v>-0.0009631304285637188</c:v>
                </c:pt>
                <c:pt idx="22">
                  <c:v>0.009724241663080807</c:v>
                </c:pt>
                <c:pt idx="23">
                  <c:v>0.08431990589610541</c:v>
                </c:pt>
                <c:pt idx="24">
                  <c:v>-0.028106969868522194</c:v>
                </c:pt>
                <c:pt idx="25">
                  <c:v>0.012242371816195897</c:v>
                </c:pt>
                <c:pt idx="26">
                  <c:v>-0.030845483051641753</c:v>
                </c:pt>
                <c:pt idx="27">
                  <c:v>0.008479016425189376</c:v>
                </c:pt>
                <c:pt idx="28">
                  <c:v>0.05486899388763071</c:v>
                </c:pt>
                <c:pt idx="29">
                  <c:v>0.03064066224598408</c:v>
                </c:pt>
              </c:numCache>
            </c:numRef>
          </c:yVal>
          <c:bubbleSize>
            <c:numRef>
              <c:f>Sheet1!$C$2:$C$31</c:f>
              <c:numCache>
                <c:formatCode>General</c:formatCode>
                <c:ptCount val="30"/>
                <c:pt idx="0">
                  <c:v>747399.0</c:v>
                </c:pt>
                <c:pt idx="1">
                  <c:v>428822.0</c:v>
                </c:pt>
                <c:pt idx="2">
                  <c:v>352518.0</c:v>
                </c:pt>
                <c:pt idx="3">
                  <c:v>237909.0</c:v>
                </c:pt>
                <c:pt idx="4">
                  <c:v>237189.0</c:v>
                </c:pt>
                <c:pt idx="5">
                  <c:v>143342.0</c:v>
                </c:pt>
                <c:pt idx="6">
                  <c:v>122304.0</c:v>
                </c:pt>
                <c:pt idx="7">
                  <c:v>118405.0</c:v>
                </c:pt>
                <c:pt idx="8">
                  <c:v>78289.0</c:v>
                </c:pt>
                <c:pt idx="9">
                  <c:v>72201.0</c:v>
                </c:pt>
                <c:pt idx="10">
                  <c:v>68483.0</c:v>
                </c:pt>
                <c:pt idx="11">
                  <c:v>53872.0</c:v>
                </c:pt>
                <c:pt idx="12">
                  <c:v>52422.0</c:v>
                </c:pt>
                <c:pt idx="13">
                  <c:v>52206.0</c:v>
                </c:pt>
                <c:pt idx="14">
                  <c:v>50291.0</c:v>
                </c:pt>
                <c:pt idx="15">
                  <c:v>41175.0</c:v>
                </c:pt>
                <c:pt idx="16">
                  <c:v>39373.0</c:v>
                </c:pt>
                <c:pt idx="17">
                  <c:v>38374.0</c:v>
                </c:pt>
                <c:pt idx="18">
                  <c:v>37998.0</c:v>
                </c:pt>
                <c:pt idx="19">
                  <c:v>33731.0</c:v>
                </c:pt>
                <c:pt idx="20">
                  <c:v>32061.0</c:v>
                </c:pt>
                <c:pt idx="21">
                  <c:v>22788.0</c:v>
                </c:pt>
                <c:pt idx="22">
                  <c:v>22179.0</c:v>
                </c:pt>
                <c:pt idx="23">
                  <c:v>15406.0</c:v>
                </c:pt>
                <c:pt idx="24">
                  <c:v>14860.0</c:v>
                </c:pt>
                <c:pt idx="25">
                  <c:v>13997.0</c:v>
                </c:pt>
                <c:pt idx="26">
                  <c:v>13532.0</c:v>
                </c:pt>
                <c:pt idx="27">
                  <c:v>13214.0</c:v>
                </c:pt>
                <c:pt idx="28">
                  <c:v>12084.0</c:v>
                </c:pt>
                <c:pt idx="29">
                  <c:v>1099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4640749537086687"/>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475483820351384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DE0532C0-2736-49C0-BB85-A54818157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783F15A0-CA2B-482F-A591-EC3997A41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A359BB1F-AD0C-4638-AB05-B15F53BA1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1FDDEEB-2684-4B81-A043-A19EEDE53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C9243F0C-347D-4217-824F-66D4B2CD9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D5DF932C-CB5F-4BAD-909A-924EB9A09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BC03941-B25F-419F-AEDC-913E10880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720F471-3233-4223-B809-269C70C04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3905F27-4BE6-489B-A242-7C422F5F2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4ED1C36-A31F-4D22-ACC6-E3FDB5ACC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01B0978D-893A-45FF-AC44-FA9E09C34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77880CB-5767-42B4-85E0-9A6969577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F2E7F0BF-E2EC-41ED-9BF4-780194762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D647F7AF-93C0-4A18-A0AA-6C7207820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29447EB-B9D9-4F6E-B103-5B76B2AD6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ACBE3DD3-B7C4-4848-90C1-7B6197926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229D8E11-8F94-413E-B5A5-3AF3709A1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5A6527EE-F117-4055-879B-F3E77569F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690C17C-3108-4A55-B9C8-57D303165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0BAB19A-A848-46E2-9F8C-278627E8A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07507452-F92A-4BA7-BC26-00617A11B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001AAD1D-E2B7-49E3-9319-EA9F35035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6D8ED69-D066-41ED-87B5-7290A461E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BAA493C1-A7C5-4077-A121-174096914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09CEAB43-0C0B-4CFA-8F1D-2B21C02B4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A0C4EC8E-D3A4-49E3-B287-1A4AD8D0A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DA381B25-E597-4F7E-B7BA-734FFA6B8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E581462F-B1D3-4332-B0F4-9C4596686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153079B5-CA14-4565-9B7A-99904D654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E937994D-0FF8-4BB0-906D-E0EFC07F4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B5DBEE23-0994-47F6-8A4D-2B6C5E310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4FF4087-866D-4650-9A00-1547BA51E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27695705431916684</c:v>
                </c:pt>
                <c:pt idx="1">
                  <c:v>-0.019651142882041284</c:v>
                </c:pt>
                <c:pt idx="2">
                  <c:v>0.003965994674705306</c:v>
                </c:pt>
                <c:pt idx="3">
                  <c:v>0.006107669989182239</c:v>
                </c:pt>
                <c:pt idx="4">
                  <c:v>-0.011470667148832936</c:v>
                </c:pt>
                <c:pt idx="5">
                  <c:v>-0.008661645855693019</c:v>
                </c:pt>
                <c:pt idx="6">
                  <c:v>0.002287002915579095</c:v>
                </c:pt>
                <c:pt idx="7">
                  <c:v>0.013641403545127218</c:v>
                </c:pt>
                <c:pt idx="8">
                  <c:v>-0.02593962835096253</c:v>
                </c:pt>
                <c:pt idx="9">
                  <c:v>-0.0027854469210809585</c:v>
                </c:pt>
                <c:pt idx="10">
                  <c:v>-0.0605339556854253</c:v>
                </c:pt>
                <c:pt idx="11">
                  <c:v>-0.025103100372773968</c:v>
                </c:pt>
                <c:pt idx="12">
                  <c:v>-0.12733330503643114</c:v>
                </c:pt>
                <c:pt idx="13">
                  <c:v>0.003854871237961126</c:v>
                </c:pt>
                <c:pt idx="14">
                  <c:v>-0.011528438284228115</c:v>
                </c:pt>
                <c:pt idx="15">
                  <c:v>-0.16168309067635112</c:v>
                </c:pt>
                <c:pt idx="16">
                  <c:v>0.002175880675582928</c:v>
                </c:pt>
                <c:pt idx="17">
                  <c:v>0.00896734805666178</c:v>
                </c:pt>
                <c:pt idx="18">
                  <c:v>-0.00726810813133719</c:v>
                </c:pt>
                <c:pt idx="19">
                  <c:v>-0.0031542268529886758</c:v>
                </c:pt>
                <c:pt idx="20">
                  <c:v>0.005380996021387863</c:v>
                </c:pt>
                <c:pt idx="21">
                  <c:v>0.03891180666359628</c:v>
                </c:pt>
                <c:pt idx="22">
                  <c:v>-0.013082262151887153</c:v>
                </c:pt>
                <c:pt idx="23">
                  <c:v>0.005138315789952844</c:v>
                </c:pt>
                <c:pt idx="24">
                  <c:v>-0.010699993877834366</c:v>
                </c:pt>
                <c:pt idx="25">
                  <c:v>-0.006958442269317744</c:v>
                </c:pt>
                <c:pt idx="26">
                  <c:v>-0.0022275000935943895</c:v>
                </c:pt>
                <c:pt idx="27">
                  <c:v>-0.004631734445222458</c:v>
                </c:pt>
                <c:pt idx="28">
                  <c:v>-0.009407865967978032</c:v>
                </c:pt>
                <c:pt idx="29">
                  <c:v>0.0208547340947152</c:v>
                </c:pt>
              </c:numCache>
            </c:numRef>
          </c:xVal>
          <c:yVal>
            <c:numRef>
              <c:f>Sheet1!$B$2:$B$31</c:f>
              <c:numCache>
                <c:formatCode>General</c:formatCode>
                <c:ptCount val="30"/>
                <c:pt idx="0">
                  <c:v>0.0023012962627395606</c:v>
                </c:pt>
                <c:pt idx="1">
                  <c:v>0.002111038476788063</c:v>
                </c:pt>
                <c:pt idx="2">
                  <c:v>-0.034429087652772694</c:v>
                </c:pt>
                <c:pt idx="3">
                  <c:v>0.005817361722428319</c:v>
                </c:pt>
                <c:pt idx="4">
                  <c:v>0.0009624979599435202</c:v>
                </c:pt>
                <c:pt idx="5">
                  <c:v>0.012593169506987703</c:v>
                </c:pt>
                <c:pt idx="6">
                  <c:v>-0.011111038056328335</c:v>
                </c:pt>
                <c:pt idx="7">
                  <c:v>-0.08088218012421289</c:v>
                </c:pt>
                <c:pt idx="8">
                  <c:v>0.06626225512225825</c:v>
                </c:pt>
                <c:pt idx="9">
                  <c:v>0.10259006162349438</c:v>
                </c:pt>
                <c:pt idx="10">
                  <c:v>-0.0343477912750651</c:v>
                </c:pt>
                <c:pt idx="11">
                  <c:v>0.10171044605319812</c:v>
                </c:pt>
                <c:pt idx="12">
                  <c:v>-0.5051387365243845</c:v>
                </c:pt>
                <c:pt idx="13">
                  <c:v>-0.04379836775451045</c:v>
                </c:pt>
                <c:pt idx="14">
                  <c:v>-0.025555961484170497</c:v>
                </c:pt>
                <c:pt idx="15">
                  <c:v>0.008005216998684839</c:v>
                </c:pt>
                <c:pt idx="16">
                  <c:v>-0.008024081750650981</c:v>
                </c:pt>
                <c:pt idx="17">
                  <c:v>-0.006655733436500159</c:v>
                </c:pt>
                <c:pt idx="18">
                  <c:v>0.008496301719489698</c:v>
                </c:pt>
                <c:pt idx="19">
                  <c:v>-0.039633853109744516</c:v>
                </c:pt>
                <c:pt idx="20">
                  <c:v>-0.0750977174447621</c:v>
                </c:pt>
                <c:pt idx="21">
                  <c:v>-0.01497091606065587</c:v>
                </c:pt>
                <c:pt idx="22">
                  <c:v>0.018553259377052288</c:v>
                </c:pt>
                <c:pt idx="23">
                  <c:v>-0.07604195899109932</c:v>
                </c:pt>
                <c:pt idx="24">
                  <c:v>0.0669985600037962</c:v>
                </c:pt>
                <c:pt idx="25">
                  <c:v>-0.015299323522572988</c:v>
                </c:pt>
                <c:pt idx="26">
                  <c:v>-0.055247457329969746</c:v>
                </c:pt>
                <c:pt idx="27">
                  <c:v>-0.024545063817189627</c:v>
                </c:pt>
                <c:pt idx="28">
                  <c:v>-0.004309361403440848</c:v>
                </c:pt>
                <c:pt idx="29">
                  <c:v>0.05670958186584677</c:v>
                </c:pt>
              </c:numCache>
            </c:numRef>
          </c:yVal>
          <c:bubbleSize>
            <c:numRef>
              <c:f>Sheet1!$C$2:$C$31</c:f>
              <c:numCache>
                <c:formatCode>General</c:formatCode>
                <c:ptCount val="30"/>
                <c:pt idx="0">
                  <c:v>3647322.0</c:v>
                </c:pt>
                <c:pt idx="1">
                  <c:v>704092.0</c:v>
                </c:pt>
                <c:pt idx="2">
                  <c:v>359310.0</c:v>
                </c:pt>
                <c:pt idx="3">
                  <c:v>311285.0</c:v>
                </c:pt>
                <c:pt idx="4">
                  <c:v>286011.0</c:v>
                </c:pt>
                <c:pt idx="5">
                  <c:v>215961.0</c:v>
                </c:pt>
                <c:pt idx="6">
                  <c:v>195397.0</c:v>
                </c:pt>
                <c:pt idx="7">
                  <c:v>113838.0</c:v>
                </c:pt>
                <c:pt idx="8">
                  <c:v>112212.0</c:v>
                </c:pt>
                <c:pt idx="9">
                  <c:v>104242.0</c:v>
                </c:pt>
                <c:pt idx="10">
                  <c:v>81984.0</c:v>
                </c:pt>
                <c:pt idx="11">
                  <c:v>78627.0</c:v>
                </c:pt>
                <c:pt idx="12">
                  <c:v>69569.0</c:v>
                </c:pt>
                <c:pt idx="13">
                  <c:v>60584.0</c:v>
                </c:pt>
                <c:pt idx="14">
                  <c:v>47067.0</c:v>
                </c:pt>
                <c:pt idx="15">
                  <c:v>43644.0</c:v>
                </c:pt>
                <c:pt idx="16">
                  <c:v>33122.0</c:v>
                </c:pt>
                <c:pt idx="17">
                  <c:v>30119.0</c:v>
                </c:pt>
                <c:pt idx="18">
                  <c:v>28742.0</c:v>
                </c:pt>
                <c:pt idx="19">
                  <c:v>27112.0</c:v>
                </c:pt>
                <c:pt idx="20">
                  <c:v>21021.0</c:v>
                </c:pt>
                <c:pt idx="21">
                  <c:v>19541.0</c:v>
                </c:pt>
                <c:pt idx="22">
                  <c:v>17684.0</c:v>
                </c:pt>
                <c:pt idx="23">
                  <c:v>14297.0</c:v>
                </c:pt>
                <c:pt idx="24">
                  <c:v>13836.0</c:v>
                </c:pt>
                <c:pt idx="25">
                  <c:v>13727.0</c:v>
                </c:pt>
                <c:pt idx="26">
                  <c:v>13099.0</c:v>
                </c:pt>
                <c:pt idx="27">
                  <c:v>12622.0</c:v>
                </c:pt>
                <c:pt idx="28">
                  <c:v>12431.0</c:v>
                </c:pt>
                <c:pt idx="29">
                  <c:v>11339.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2006591943484409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1428434122571484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F3AE44D-3086-49D5-A663-3877AD635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7BAEE334-D9B6-4D50-A8B0-3BB0F9C9E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50779154-6402-4716-A3AC-2DA47AF49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7727755-A128-46EE-A7AF-CFD58B241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83E9A3F3-ACA5-461F-97F5-3DB50BBB2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CA18D6C-8A37-4077-9D58-15778C0EB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48B0ADD6-1046-46D6-BF7B-033E022A2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10C3BA9-1099-409B-9825-CAA10AA89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4B47AC0-0E30-442D-AAE1-7B1AB475A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890DF83A-C3F2-4686-BC78-5CFD3D9E9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D4864537-054B-4540-A8BF-D98F181AF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397A58CA-F658-4C9F-9E2A-8F66938C8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38428118-3B5F-42F7-909C-01361786A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1730A056-4820-4289-B470-FB396B387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63E7D415-40CF-454C-9F3F-9DBED1771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6250BB26-273C-4B26-B0F4-4982DDFF7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6E5347D4-3E87-4463-8C88-DC48056E5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E271CBC7-9E6E-4D5C-AC3E-2CD661942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CC237EB8-C07E-4DA1-A15C-BC43CCF5D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686DF333-971C-4542-A8D8-C9A699DA1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4E84722C-C69E-430E-BAB8-E6187CBFD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B28136E-11C7-4BA6-98E7-FD9DC2EC3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82FB307-D0A6-4804-AC6B-BD5EBE325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FDBB33D6-FBC7-4F1E-A4F5-8E9BA47FF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93221F43-4098-4731-A3D1-4F5B1AAC6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3BA0A66-3564-4C01-864F-18CD1AEBF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19CAD73A-E6A2-4BCB-A054-149D1AD49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8D489B0E-EB8A-40E2-9704-87E2129D5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A4806750-FBAD-47C9-8300-5657A512D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58DECED1-5244-4C52-A3A2-9A331971C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579BEE08-0C65-4372-9D07-BDA0D55EB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9874C010-9180-4652-A56E-5746A68C2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5326504751945138</c:v>
                </c:pt>
                <c:pt idx="1">
                  <c:v>0.014279245102282512</c:v>
                </c:pt>
                <c:pt idx="2">
                  <c:v>-0.0075997105299230455</c:v>
                </c:pt>
                <c:pt idx="3">
                  <c:v>0.011773742814738239</c:v>
                </c:pt>
                <c:pt idx="4">
                  <c:v>-0.01641397644490037</c:v>
                </c:pt>
                <c:pt idx="5">
                  <c:v>0.0009708439611082337</c:v>
                </c:pt>
                <c:pt idx="6">
                  <c:v>0.06051527646593824</c:v>
                </c:pt>
                <c:pt idx="7">
                  <c:v>0.007255690335550666</c:v>
                </c:pt>
                <c:pt idx="8">
                  <c:v>0.0614628296986966</c:v>
                </c:pt>
                <c:pt idx="9">
                  <c:v>-0.004137962315240051</c:v>
                </c:pt>
                <c:pt idx="10">
                  <c:v>-0.009929612163866688</c:v>
                </c:pt>
                <c:pt idx="11">
                  <c:v>0.0008993001280582155</c:v>
                </c:pt>
                <c:pt idx="12">
                  <c:v>0.059360945787237024</c:v>
                </c:pt>
                <c:pt idx="13">
                  <c:v>0.05884302324566125</c:v>
                </c:pt>
                <c:pt idx="14">
                  <c:v>0.011909789052328174</c:v>
                </c:pt>
                <c:pt idx="15">
                  <c:v>-0.020626102738137565</c:v>
                </c:pt>
                <c:pt idx="16">
                  <c:v>0.015035122175537097</c:v>
                </c:pt>
                <c:pt idx="17">
                  <c:v>0.061532002580345635</c:v>
                </c:pt>
                <c:pt idx="18">
                  <c:v>0.04155220544325472</c:v>
                </c:pt>
                <c:pt idx="19">
                  <c:v>0.0487998380552441</c:v>
                </c:pt>
                <c:pt idx="20">
                  <c:v>-0.01105329408086922</c:v>
                </c:pt>
                <c:pt idx="21">
                  <c:v>0.03676332459989293</c:v>
                </c:pt>
                <c:pt idx="22">
                  <c:v>0.013980337052648562</c:v>
                </c:pt>
                <c:pt idx="23">
                  <c:v>-0.013751779014856629</c:v>
                </c:pt>
                <c:pt idx="24">
                  <c:v>0.006906674375297135</c:v>
                </c:pt>
                <c:pt idx="25">
                  <c:v>-3.940261523865257e-05</c:v>
                </c:pt>
                <c:pt idx="26">
                  <c:v>0.006159736395978846</c:v>
                </c:pt>
                <c:pt idx="27">
                  <c:v>-0.0014723616194759412</c:v>
                </c:pt>
                <c:pt idx="28">
                  <c:v>0.06806177469462169</c:v>
                </c:pt>
                <c:pt idx="29">
                  <c:v>0.013989520551606752</c:v>
                </c:pt>
              </c:numCache>
            </c:numRef>
          </c:xVal>
          <c:yVal>
            <c:numRef>
              <c:f>Sheet1!$B$2:$B$31</c:f>
              <c:numCache>
                <c:formatCode>General</c:formatCode>
                <c:ptCount val="30"/>
                <c:pt idx="0">
                  <c:v>0.010725935110776325</c:v>
                </c:pt>
                <c:pt idx="1">
                  <c:v>0.0063183069808271375</c:v>
                </c:pt>
                <c:pt idx="2">
                  <c:v>-0.021117758414756327</c:v>
                </c:pt>
                <c:pt idx="3">
                  <c:v>0.03354686083990735</c:v>
                </c:pt>
                <c:pt idx="4">
                  <c:v>-0.006237890368567298</c:v>
                </c:pt>
                <c:pt idx="5">
                  <c:v>4.887710112053134e-05</c:v>
                </c:pt>
                <c:pt idx="6">
                  <c:v>0.014741208312028686</c:v>
                </c:pt>
                <c:pt idx="7">
                  <c:v>-0.007729440586646652</c:v>
                </c:pt>
                <c:pt idx="8">
                  <c:v>0.016468303508690718</c:v>
                </c:pt>
                <c:pt idx="9">
                  <c:v>-0.01870338535616764</c:v>
                </c:pt>
                <c:pt idx="10">
                  <c:v>-0.005128701108175288</c:v>
                </c:pt>
                <c:pt idx="11">
                  <c:v>0.016489725957628168</c:v>
                </c:pt>
                <c:pt idx="12">
                  <c:v>0.005372226614518777</c:v>
                </c:pt>
                <c:pt idx="13">
                  <c:v>0.01629832730778466</c:v>
                </c:pt>
                <c:pt idx="14">
                  <c:v>0.007045207940011955</c:v>
                </c:pt>
                <c:pt idx="15">
                  <c:v>-0.0029441506614496515</c:v>
                </c:pt>
                <c:pt idx="16">
                  <c:v>0.0017659738769150723</c:v>
                </c:pt>
                <c:pt idx="17">
                  <c:v>0.01970663067195308</c:v>
                </c:pt>
                <c:pt idx="18">
                  <c:v>0.002500936398015796</c:v>
                </c:pt>
                <c:pt idx="19">
                  <c:v>0.033357054940301833</c:v>
                </c:pt>
                <c:pt idx="20">
                  <c:v>-0.007709721710912276</c:v>
                </c:pt>
                <c:pt idx="21">
                  <c:v>0.03517810838742488</c:v>
                </c:pt>
                <c:pt idx="22">
                  <c:v>-0.007179888080763697</c:v>
                </c:pt>
                <c:pt idx="23">
                  <c:v>-0.0020994488305887335</c:v>
                </c:pt>
                <c:pt idx="24">
                  <c:v>0.018971472819097696</c:v>
                </c:pt>
                <c:pt idx="25">
                  <c:v>-0.0005812839994038636</c:v>
                </c:pt>
                <c:pt idx="26">
                  <c:v>0.0036259178338932385</c:v>
                </c:pt>
                <c:pt idx="27">
                  <c:v>-0.009385642700526935</c:v>
                </c:pt>
                <c:pt idx="28">
                  <c:v>0.05556526176788393</c:v>
                </c:pt>
                <c:pt idx="29">
                  <c:v>-0.022139698289755705</c:v>
                </c:pt>
              </c:numCache>
            </c:numRef>
          </c:yVal>
          <c:bubbleSize>
            <c:numRef>
              <c:f>Sheet1!$C$2:$C$31</c:f>
              <c:numCache>
                <c:formatCode>General</c:formatCode>
                <c:ptCount val="30"/>
                <c:pt idx="0">
                  <c:v>6106691.0</c:v>
                </c:pt>
                <c:pt idx="1">
                  <c:v>3088765.0</c:v>
                </c:pt>
                <c:pt idx="2">
                  <c:v>2973050.0</c:v>
                </c:pt>
                <c:pt idx="3">
                  <c:v>1954226.0</c:v>
                </c:pt>
                <c:pt idx="4">
                  <c:v>1391478.0</c:v>
                </c:pt>
                <c:pt idx="5">
                  <c:v>1230508.0</c:v>
                </c:pt>
                <c:pt idx="6">
                  <c:v>1010136.0</c:v>
                </c:pt>
                <c:pt idx="7">
                  <c:v>516597.0</c:v>
                </c:pt>
                <c:pt idx="8">
                  <c:v>496882.0</c:v>
                </c:pt>
                <c:pt idx="9">
                  <c:v>416905.0</c:v>
                </c:pt>
                <c:pt idx="10">
                  <c:v>276940.0</c:v>
                </c:pt>
                <c:pt idx="11">
                  <c:v>259140.0</c:v>
                </c:pt>
                <c:pt idx="12">
                  <c:v>241247.0</c:v>
                </c:pt>
                <c:pt idx="13">
                  <c:v>235698.0</c:v>
                </c:pt>
                <c:pt idx="14">
                  <c:v>218187.0</c:v>
                </c:pt>
                <c:pt idx="15">
                  <c:v>217736.0</c:v>
                </c:pt>
                <c:pt idx="16">
                  <c:v>185733.0</c:v>
                </c:pt>
                <c:pt idx="17">
                  <c:v>184954.0</c:v>
                </c:pt>
                <c:pt idx="18">
                  <c:v>156395.0</c:v>
                </c:pt>
                <c:pt idx="19">
                  <c:v>152004.0</c:v>
                </c:pt>
                <c:pt idx="20">
                  <c:v>144147.0</c:v>
                </c:pt>
                <c:pt idx="21">
                  <c:v>130617.0</c:v>
                </c:pt>
                <c:pt idx="22">
                  <c:v>129940.0</c:v>
                </c:pt>
                <c:pt idx="23">
                  <c:v>125888.0</c:v>
                </c:pt>
                <c:pt idx="24">
                  <c:v>121616.0</c:v>
                </c:pt>
                <c:pt idx="25">
                  <c:v>120425.0</c:v>
                </c:pt>
                <c:pt idx="26">
                  <c:v>116501.0</c:v>
                </c:pt>
                <c:pt idx="27">
                  <c:v>105639.0</c:v>
                </c:pt>
                <c:pt idx="28">
                  <c:v>97579.0</c:v>
                </c:pt>
                <c:pt idx="29">
                  <c:v>9746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6225644208702192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189430689504323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8A972FA9-DFE4-485E-AC02-23E91A4F9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CFBFD88-8486-4F4C-B502-FFBF58540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0E795A9-EAB5-49B2-B802-2772B238F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37B9ECE-C44B-436C-BCF8-D21770CA9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DE401ED-EF8F-42A0-8B91-761F72B22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9C1B02C-7C03-47D0-B59A-FE1433936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94D02A0F-6356-4133-964B-5452410CC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FC7135A7-F160-481F-ABC0-A2EF3C176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15B2CB87-0030-4F3A-9973-2E62A1768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9BD55B9-C914-420C-8120-78241A08E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2935DFA7-6CD4-4CA3-9169-ACC5321D3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01C9D42-7396-4435-B196-BE08571EF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7C0B9A4C-BBC9-4054-BBBB-F868F1996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D11F411-17E6-4FDF-895E-9C088B2FA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BFDBD38-C055-4221-B00F-CFA710489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EE8DDFF2-9014-4763-882F-C3FE9AA54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DBAB914-11DB-4D4C-B170-2A7D61386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BA6825B6-1BE9-4A8C-A5B1-A2F066DD0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50EFFD53-F839-40BB-A08A-811E75D05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79A832E9-5872-46F2-B165-D5EA27F28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006D4B1-9FC9-4BBA-A511-648A3BE1D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5BF34DDE-74D5-415D-88E9-0DB99E772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4386FA1F-4E39-4FA2-80F0-2EC8E38EF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B79A25A-9E5F-4A2F-BF7F-E0E912127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2F5285E4-DA87-42B9-8E39-073DAC1E8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3EC501C9-3EB7-4325-B16C-21234D8FD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BF3E1280-D86E-45EF-924B-8AF982859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A79E87EF-4302-4EE4-A539-8118FC6AC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24063F6-D2C8-4BA7-A049-05E546AC7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C393C145-BA2D-40B3-9E1A-7A9CFF8FE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9711BCF-6859-4D68-887A-A41C0743E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DFF0907-D724-4E2F-B3EC-4A0B97506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4</c:f>
              <c:numCache>
                <c:formatCode>General</c:formatCode>
                <c:ptCount val="13"/>
                <c:pt idx="0">
                  <c:v>0.0</c:v>
                </c:pt>
                <c:pt idx="1">
                  <c:v>0.0</c:v>
                </c:pt>
                <c:pt idx="2">
                  <c:v>0.0</c:v>
                </c:pt>
                <c:pt idx="3">
                  <c:v>-0.03725108693926016</c:v>
                </c:pt>
                <c:pt idx="4">
                  <c:v>0.0</c:v>
                </c:pt>
                <c:pt idx="5">
                  <c:v>0.0</c:v>
                </c:pt>
                <c:pt idx="6">
                  <c:v>0.0</c:v>
                </c:pt>
                <c:pt idx="7">
                  <c:v>0.0</c:v>
                </c:pt>
                <c:pt idx="8">
                  <c:v>0.0</c:v>
                </c:pt>
                <c:pt idx="9">
                  <c:v>0.037251086939260186</c:v>
                </c:pt>
                <c:pt idx="10">
                  <c:v>0.0</c:v>
                </c:pt>
                <c:pt idx="11">
                  <c:v>0.0</c:v>
                </c:pt>
                <c:pt idx="12">
                  <c:v>0.0</c:v>
                </c:pt>
              </c:numCache>
            </c:numRef>
          </c:xVal>
          <c:yVal>
            <c:numRef>
              <c:f>Sheet1!$B$2:$B$14</c:f>
              <c:numCache>
                <c:formatCode>General</c:formatCode>
                <c:ptCount val="13"/>
                <c:pt idx="0">
                  <c:v>0.0</c:v>
                </c:pt>
                <c:pt idx="1">
                  <c:v>0.0</c:v>
                </c:pt>
                <c:pt idx="2">
                  <c:v>0.0</c:v>
                </c:pt>
                <c:pt idx="3">
                  <c:v>-0.08254287996095411</c:v>
                </c:pt>
                <c:pt idx="4">
                  <c:v>0.0</c:v>
                </c:pt>
                <c:pt idx="5">
                  <c:v>0.0</c:v>
                </c:pt>
                <c:pt idx="6">
                  <c:v>0.0</c:v>
                </c:pt>
                <c:pt idx="7">
                  <c:v>0.0</c:v>
                </c:pt>
                <c:pt idx="8">
                  <c:v>0.0</c:v>
                </c:pt>
                <c:pt idx="9">
                  <c:v>0.08254287996095416</c:v>
                </c:pt>
                <c:pt idx="10">
                  <c:v>0.0</c:v>
                </c:pt>
                <c:pt idx="11">
                  <c:v>0.0</c:v>
                </c:pt>
                <c:pt idx="12">
                  <c:v>0.0</c:v>
                </c:pt>
              </c:numCache>
            </c:numRef>
          </c:yVal>
          <c:bubbleSize>
            <c:numRef>
              <c:f>Sheet1!$C$2:$C$14</c:f>
              <c:numCache>
                <c:formatCode>General</c:formatCode>
                <c:ptCount val="13"/>
                <c:pt idx="0">
                  <c:v>352518.0</c:v>
                </c:pt>
                <c:pt idx="1">
                  <c:v>39373.0</c:v>
                </c:pt>
                <c:pt idx="2">
                  <c:v>33731.0</c:v>
                </c:pt>
                <c:pt idx="3">
                  <c:v>27047.0</c:v>
                </c:pt>
                <c:pt idx="4">
                  <c:v>14860.0</c:v>
                </c:pt>
                <c:pt idx="5">
                  <c:v>13532.0</c:v>
                </c:pt>
                <c:pt idx="6">
                  <c:v>12084.0</c:v>
                </c:pt>
                <c:pt idx="7">
                  <c:v>10667.0</c:v>
                </c:pt>
                <c:pt idx="8">
                  <c:v>10317.0</c:v>
                </c:pt>
                <c:pt idx="9">
                  <c:v>8045.0</c:v>
                </c:pt>
                <c:pt idx="10">
                  <c:v>4617.0</c:v>
                </c:pt>
                <c:pt idx="11">
                  <c:v>3957.0</c:v>
                </c:pt>
                <c:pt idx="12">
                  <c:v>3585.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4.270088556250602e-18"/>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2.135044278125301e-1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22E033B-A04E-4D5F-B8C9-1CE2B6FA8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69888AA0-79DC-4FF1-949A-58B71533E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C1D20103-13BE-4B90-BAE2-FCF12A5A1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A8D413E3-3911-4693-9901-DA5A4B9B6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79080A6-2BD6-48D9-BF2A-CCE73352C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68ACA4D7-5B34-414B-9E0E-3C33A3774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1A8665C-CD4B-4BD1-9331-70D83444B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A3058A8-86D0-411E-AA12-670EE7B4E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8EA0BA44-AC47-4ED4-A921-A25B51302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D7DDA98B-B143-4970-9C8D-0FDF48D18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8DEF49A1-62C8-4BFA-BD57-DABB1165D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8D879631-D57F-4C11-A98C-2FE525950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20E30548-18CD-400C-93A1-A02047885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7D58D8AF-9D8B-417E-B8E3-D3CC0B549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C6109E59-8E36-45B4-A51E-02430469A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A1ABD5E3-ED24-4AA2-934B-D6F7B5346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9A74C28B-7B71-491E-8089-3CACE1560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AA3633B-B6CA-4E73-8560-F99B6D297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EB9B19D-26E5-475E-944F-B7DD2387F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F12B0C2-51E2-4668-8201-526493247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50C7AE03-54CC-40DF-8F4E-9BFCD16BF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65B1312-9853-4D97-8035-19BB78974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29FE9106-AF4D-4328-B5F1-11B43A5E2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74B0843-E591-4ED9-A8EC-8FDAF62CD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B15C764-A0CE-4567-BC9D-EC115FE5C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B626922-1812-46DF-8D37-48CDC85E2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E47CEE47-B1A7-4C8E-A5F7-266ED122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EE317DA-1A52-4395-BA44-D9B78AF6D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2A4E9E33-8F7C-47B3-B02F-726781DA5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2FFF76C1-34B1-46A1-8145-26B0D134F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6F4AEF1E-6DE6-4DC1-8C6F-8CEBCBD2A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2B11D82-7A26-45B5-84F3-C73525995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7</c:f>
              <c:numCache>
                <c:formatCode>General</c:formatCode>
                <c:ptCount val="26"/>
                <c:pt idx="0">
                  <c:v>0.487400631919383</c:v>
                </c:pt>
                <c:pt idx="1">
                  <c:v>-0.4872483554515413</c:v>
                </c:pt>
                <c:pt idx="2">
                  <c:v>0.4752115408170023</c:v>
                </c:pt>
                <c:pt idx="3">
                  <c:v>0.4099848112810164</c:v>
                </c:pt>
                <c:pt idx="4">
                  <c:v>0.4272133708466594</c:v>
                </c:pt>
                <c:pt idx="5">
                  <c:v>0.05062851128910162</c:v>
                </c:pt>
                <c:pt idx="6">
                  <c:v>0.3955963183554825</c:v>
                </c:pt>
                <c:pt idx="7">
                  <c:v>0.4259070340592299</c:v>
                </c:pt>
                <c:pt idx="8">
                  <c:v>0.3899902703852348</c:v>
                </c:pt>
                <c:pt idx="9">
                  <c:v>0.2247461824722627</c:v>
                </c:pt>
                <c:pt idx="10">
                  <c:v>0.586274784827195</c:v>
                </c:pt>
                <c:pt idx="11">
                  <c:v>0.558300296701256</c:v>
                </c:pt>
                <c:pt idx="12">
                  <c:v>-0.47521154081700234</c:v>
                </c:pt>
                <c:pt idx="13">
                  <c:v>0.3488453407178022</c:v>
                </c:pt>
                <c:pt idx="14">
                  <c:v>-0.4259070340592299</c:v>
                </c:pt>
                <c:pt idx="15">
                  <c:v>-0.42721337084665945</c:v>
                </c:pt>
                <c:pt idx="16">
                  <c:v>-0.46061332257011794</c:v>
                </c:pt>
                <c:pt idx="17">
                  <c:v>0.1586846216605472</c:v>
                </c:pt>
                <c:pt idx="18">
                  <c:v>-0.38343080413280994</c:v>
                </c:pt>
                <c:pt idx="19">
                  <c:v>-0.3955963183554825</c:v>
                </c:pt>
                <c:pt idx="20">
                  <c:v>-0.3488453407178022</c:v>
                </c:pt>
                <c:pt idx="21">
                  <c:v>-0.586274784827195</c:v>
                </c:pt>
                <c:pt idx="22">
                  <c:v>0.10094371277577391</c:v>
                </c:pt>
                <c:pt idx="23">
                  <c:v>-0.3899902703852347</c:v>
                </c:pt>
                <c:pt idx="24">
                  <c:v>-0.1009437127757738</c:v>
                </c:pt>
                <c:pt idx="25">
                  <c:v>-0.5583002967012561</c:v>
                </c:pt>
              </c:numCache>
            </c:numRef>
          </c:xVal>
          <c:yVal>
            <c:numRef>
              <c:f>Sheet1!$B$2:$B$27</c:f>
              <c:numCache>
                <c:formatCode>General</c:formatCode>
                <c:ptCount val="26"/>
                <c:pt idx="0">
                  <c:v>0.11518069861876878</c:v>
                </c:pt>
                <c:pt idx="1">
                  <c:v>-0.1151806986187687</c:v>
                </c:pt>
                <c:pt idx="2">
                  <c:v>0.1415386552146669</c:v>
                </c:pt>
                <c:pt idx="3">
                  <c:v>0.2685560178196679</c:v>
                </c:pt>
                <c:pt idx="4">
                  <c:v>0.12383560345055955</c:v>
                </c:pt>
                <c:pt idx="5">
                  <c:v>-0.021321011744781182</c:v>
                </c:pt>
                <c:pt idx="6">
                  <c:v>0.14218716084702399</c:v>
                </c:pt>
                <c:pt idx="7">
                  <c:v>0.17938931297709926</c:v>
                </c:pt>
                <c:pt idx="8">
                  <c:v>0.09393579072532698</c:v>
                </c:pt>
                <c:pt idx="9">
                  <c:v>0.2863841799194805</c:v>
                </c:pt>
                <c:pt idx="10">
                  <c:v>0.17315459893193097</c:v>
                </c:pt>
                <c:pt idx="11">
                  <c:v>0.2185040915541867</c:v>
                </c:pt>
                <c:pt idx="12">
                  <c:v>-0.14153865521466688</c:v>
                </c:pt>
                <c:pt idx="13">
                  <c:v>0.038166980539861894</c:v>
                </c:pt>
                <c:pt idx="14">
                  <c:v>-0.17938931297709926</c:v>
                </c:pt>
                <c:pt idx="15">
                  <c:v>-0.12383560345055958</c:v>
                </c:pt>
                <c:pt idx="16">
                  <c:v>-0.2472350060748868</c:v>
                </c:pt>
                <c:pt idx="17">
                  <c:v>0.0006118660887360072</c:v>
                </c:pt>
                <c:pt idx="18">
                  <c:v>-0.2869960460082165</c:v>
                </c:pt>
                <c:pt idx="19">
                  <c:v>-0.14218716084702399</c:v>
                </c:pt>
                <c:pt idx="20">
                  <c:v>-0.038166980539861894</c:v>
                </c:pt>
                <c:pt idx="21">
                  <c:v>-0.17315459893193091</c:v>
                </c:pt>
                <c:pt idx="22">
                  <c:v>0.05780346820809246</c:v>
                </c:pt>
                <c:pt idx="23">
                  <c:v>0.0</c:v>
                </c:pt>
                <c:pt idx="24">
                  <c:v>0.0</c:v>
                </c:pt>
                <c:pt idx="25">
                  <c:v>-0.21850409155418668</c:v>
                </c:pt>
              </c:numCache>
            </c:numRef>
          </c:yVal>
          <c:bubbleSize>
            <c:numRef>
              <c:f>Sheet1!$C$2:$C$27</c:f>
              <c:numCache>
                <c:formatCode>General</c:formatCode>
                <c:ptCount val="26"/>
                <c:pt idx="0">
                  <c:v>42865.0</c:v>
                </c:pt>
                <c:pt idx="1">
                  <c:v>5779.0</c:v>
                </c:pt>
                <c:pt idx="2">
                  <c:v>4845.0</c:v>
                </c:pt>
                <c:pt idx="3">
                  <c:v>3538.0</c:v>
                </c:pt>
                <c:pt idx="4">
                  <c:v>2327.0</c:v>
                </c:pt>
                <c:pt idx="5">
                  <c:v>2200.0</c:v>
                </c:pt>
                <c:pt idx="6">
                  <c:v>1442.0</c:v>
                </c:pt>
                <c:pt idx="7">
                  <c:v>1267.0</c:v>
                </c:pt>
                <c:pt idx="8">
                  <c:v>1170.0</c:v>
                </c:pt>
                <c:pt idx="9">
                  <c:v>1169.0</c:v>
                </c:pt>
                <c:pt idx="10">
                  <c:v>1054.0</c:v>
                </c:pt>
                <c:pt idx="11">
                  <c:v>788.0</c:v>
                </c:pt>
                <c:pt idx="12">
                  <c:v>720.0</c:v>
                </c:pt>
                <c:pt idx="13">
                  <c:v>621.0</c:v>
                </c:pt>
                <c:pt idx="14">
                  <c:v>601.0</c:v>
                </c:pt>
                <c:pt idx="15">
                  <c:v>530.0</c:v>
                </c:pt>
                <c:pt idx="16">
                  <c:v>396.0</c:v>
                </c:pt>
                <c:pt idx="17">
                  <c:v>393.0</c:v>
                </c:pt>
                <c:pt idx="18">
                  <c:v>365.0</c:v>
                </c:pt>
                <c:pt idx="19">
                  <c:v>239.0</c:v>
                </c:pt>
                <c:pt idx="20">
                  <c:v>210.0</c:v>
                </c:pt>
                <c:pt idx="21">
                  <c:v>203.0</c:v>
                </c:pt>
                <c:pt idx="22">
                  <c:v>151.0</c:v>
                </c:pt>
                <c:pt idx="23">
                  <c:v>137.0</c:v>
                </c:pt>
                <c:pt idx="24">
                  <c:v>109.0</c:v>
                </c:pt>
                <c:pt idx="25">
                  <c:v>75.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5836125343593059"/>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5.856787224692082e-0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0E90B03-6B03-410C-86FF-DE3528271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3A07E66-8656-4508-9460-8047F44BC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59F89324-E3DB-44DA-BA1C-74C604607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8B6BE69-A498-4EE0-BB62-F90C0EE78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5993A9B-DF2F-4405-9408-6AD98F828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9552638-6A6A-41C7-B4EA-1B26EB47B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23B1788-F2F2-4379-8795-C8A031C86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CE0B179-2653-4250-A471-331019282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443340C6-11A6-4E92-A9D4-4FA3AA792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4A277D4C-D9A2-4093-8979-7EEC20929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B0026C20-6CEE-42DB-8448-1172C77D2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ECCCE97-EB46-4F13-AE0A-ED21D03B4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AA4CF763-BBF6-4358-BE76-4763F4F1E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681E58EE-2829-4526-9565-A9131E0D5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433BDFE-9C35-4B7A-A9FF-3E2C7212D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3AC13D0F-80EA-42D3-9830-75CE7369F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66EF3F40-1953-4981-94F0-08787FA85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38E8E5A-B8C4-4743-B63B-8AF7CA95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5BEDE74-988A-44D8-A6E1-07D10986B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C6989F91-1334-4A49-A357-BFB8BAAC8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4F156FCA-B7AB-429B-87A4-BE0ECB37F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71A8FF29-4C15-4678-9845-97DEE869A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AF8E31FC-8F2B-4C1E-9083-311B6D9CE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3A0A65C1-E1E0-47F1-9C24-FDC11753C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36AAD59F-2C13-4514-A7B5-8E083BC8B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F536F5AF-5638-4C47-B70D-FEB262545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BC5A31B9-F8B5-4844-8AB4-B5805222A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F83A0167-B04D-4837-8308-832905A6B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549A8018-E2D3-4D1A-9992-B2B39CD92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4F2D3BE-9B7D-4828-8FFE-1DD04715F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188D2BD3-E31F-4A1F-80E0-2D539BA40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4C2C3FE1-0940-4BB3-B3DF-B8C9B5EB1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02650358519404611</c:v>
                </c:pt>
                <c:pt idx="1">
                  <c:v>0.025091176759904132</c:v>
                </c:pt>
                <c:pt idx="2">
                  <c:v>0.004985028444390832</c:v>
                </c:pt>
                <c:pt idx="3">
                  <c:v>0.026475913197063133</c:v>
                </c:pt>
                <c:pt idx="4">
                  <c:v>0.024065290762447483</c:v>
                </c:pt>
                <c:pt idx="5">
                  <c:v>0.006004764991038122</c:v>
                </c:pt>
                <c:pt idx="6">
                  <c:v>-0.006595343433184783</c:v>
                </c:pt>
                <c:pt idx="7">
                  <c:v>0.009037603601464064</c:v>
                </c:pt>
                <c:pt idx="8">
                  <c:v>-0.005221445550461445</c:v>
                </c:pt>
                <c:pt idx="9">
                  <c:v>0.012471264562019094</c:v>
                </c:pt>
                <c:pt idx="10">
                  <c:v>0.00969083065944501</c:v>
                </c:pt>
                <c:pt idx="11">
                  <c:v>0.0004934673204133461</c:v>
                </c:pt>
                <c:pt idx="12">
                  <c:v>0.009986363029768033</c:v>
                </c:pt>
                <c:pt idx="13">
                  <c:v>-0.0009317141328390177</c:v>
                </c:pt>
                <c:pt idx="14">
                  <c:v>-0.0005838946700860992</c:v>
                </c:pt>
              </c:numCache>
            </c:numRef>
          </c:xVal>
          <c:yVal>
            <c:numRef>
              <c:f>Sheet1!$B$2:$B$16</c:f>
              <c:numCache>
                <c:formatCode>General</c:formatCode>
                <c:ptCount val="15"/>
                <c:pt idx="0">
                  <c:v>-0.002051141739533191</c:v>
                </c:pt>
                <c:pt idx="1">
                  <c:v>-0.011087494419282529</c:v>
                </c:pt>
                <c:pt idx="2">
                  <c:v>-0.01898603203939872</c:v>
                </c:pt>
                <c:pt idx="3">
                  <c:v>0.00012939560912406112</c:v>
                </c:pt>
                <c:pt idx="4">
                  <c:v>0.0005580879702995478</c:v>
                </c:pt>
                <c:pt idx="5">
                  <c:v>-0.009644963063870512</c:v>
                </c:pt>
                <c:pt idx="6">
                  <c:v>-0.015093232982447996</c:v>
                </c:pt>
                <c:pt idx="7">
                  <c:v>-0.010301629038178162</c:v>
                </c:pt>
                <c:pt idx="8">
                  <c:v>-0.01584979189163406</c:v>
                </c:pt>
                <c:pt idx="9">
                  <c:v>-0.0037154136286270817</c:v>
                </c:pt>
                <c:pt idx="10">
                  <c:v>-0.009428793936921046</c:v>
                </c:pt>
                <c:pt idx="11">
                  <c:v>-0.008456718968466087</c:v>
                </c:pt>
                <c:pt idx="12">
                  <c:v>-0.011458024066473477</c:v>
                </c:pt>
                <c:pt idx="13">
                  <c:v>-0.0037039489880823923</c:v>
                </c:pt>
                <c:pt idx="14">
                  <c:v>-0.01190625691673601</c:v>
                </c:pt>
              </c:numCache>
            </c:numRef>
          </c:yVal>
          <c:bubbleSize>
            <c:numRef>
              <c:f>Sheet1!$C$2:$C$16</c:f>
              <c:numCache>
                <c:formatCode>General</c:formatCode>
                <c:ptCount val="15"/>
                <c:pt idx="0">
                  <c:v>4907450.0</c:v>
                </c:pt>
                <c:pt idx="1">
                  <c:v>3453150.0</c:v>
                </c:pt>
                <c:pt idx="2">
                  <c:v>2733549.0</c:v>
                </c:pt>
                <c:pt idx="3">
                  <c:v>2452284.0</c:v>
                </c:pt>
                <c:pt idx="4">
                  <c:v>2147840.0</c:v>
                </c:pt>
                <c:pt idx="5">
                  <c:v>1463201.0</c:v>
                </c:pt>
                <c:pt idx="6">
                  <c:v>1419306.0</c:v>
                </c:pt>
                <c:pt idx="7">
                  <c:v>1317521.0</c:v>
                </c:pt>
                <c:pt idx="8">
                  <c:v>1108641.0</c:v>
                </c:pt>
                <c:pt idx="9">
                  <c:v>1052215.0</c:v>
                </c:pt>
                <c:pt idx="10">
                  <c:v>1023352.0</c:v>
                </c:pt>
                <c:pt idx="11">
                  <c:v>901841.0</c:v>
                </c:pt>
                <c:pt idx="12">
                  <c:v>849490.0</c:v>
                </c:pt>
                <c:pt idx="13">
                  <c:v>800953.0</c:v>
                </c:pt>
                <c:pt idx="14">
                  <c:v>75775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873306387334851"/>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94315260490285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6F832E0-E538-4A9A-8D12-FE22F8F85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85ED8634-569E-4498-8F59-EAFC6FB33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EF7CB52A-1C17-45BD-AE7C-32C753D28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A415513-4C87-44A1-9B58-AA41A3423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75E29FF-EE87-4D32-90E9-ED3615C70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74AFE3D0-14E7-4F31-91F7-214DD1F36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298FAB57-C005-44F1-A9E5-DC5EA71AB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5D1D0CF-4052-42FD-98DD-49645690C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657115C1-4F3F-41D5-821F-2435526CE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70DD6674-8950-4D23-9761-78BCD6343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D64A3BA1-A224-450D-87F0-CF0652624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3D118815-61F3-42EF-8669-F96094AD3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6C00AA03-AA27-4D07-8D8A-0EB0C7E63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7465812-C3EF-46B6-9102-EBE24646E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5C2AC8DB-DC64-44E5-A198-E5B4334AB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BB739FCC-AB6E-4083-900F-DBB105291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909C04FB-6C6F-45DB-9FF0-1BC0EC489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E0C266CE-AEF2-4CCC-B3ED-7EC9F96E6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A545F9D2-49C5-4FE3-B285-2F4789AE7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2C0781C-9795-4008-8504-6CA28EDBF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F0EFB191-8E3E-4682-8E6E-BE636CF22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7761987-D162-4C94-8BE1-5E9D64907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59296A87-50CE-4F29-9A67-BC68626DE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6592340-FC48-4CDB-82F5-E96114BB6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99BF4088-7675-4BFB-B2B7-144746CCD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EA71B911-BBE9-4B90-A10A-75F824A65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475C773-764C-4F82-BD33-BCEED530D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546CCD3C-F7AA-4B09-A5D2-187F57544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7AEEA942-F86F-4BCB-9CF5-EF50C481F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C7AB47F-45D8-44EA-8CAA-6871F3AD5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C1A01DFB-83B1-45AC-92E3-7D7C97F9C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A47B70E-E5F4-4C49-926D-C8AF71A5F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8040199620814686</c:v>
                </c:pt>
                <c:pt idx="1">
                  <c:v>0.13329967440143947</c:v>
                </c:pt>
                <c:pt idx="2">
                  <c:v>-0.25566749390494475</c:v>
                </c:pt>
                <c:pt idx="3">
                  <c:v>0.1386634372533188</c:v>
                </c:pt>
                <c:pt idx="4">
                  <c:v>-0.3320687098881477</c:v>
                </c:pt>
                <c:pt idx="5">
                  <c:v>0.19708446162844018</c:v>
                </c:pt>
                <c:pt idx="6">
                  <c:v>0.1935854811095146</c:v>
                </c:pt>
                <c:pt idx="7">
                  <c:v>-0.29306362453266593</c:v>
                </c:pt>
                <c:pt idx="8">
                  <c:v>-0.3495148975906385</c:v>
                </c:pt>
                <c:pt idx="9">
                  <c:v>-0.3865955106956985</c:v>
                </c:pt>
              </c:numCache>
            </c:numRef>
          </c:xVal>
          <c:yVal>
            <c:numRef>
              <c:f>Sheet1!$B$2:$B$11</c:f>
              <c:numCache>
                <c:formatCode>General</c:formatCode>
                <c:ptCount val="10"/>
                <c:pt idx="0">
                  <c:v>-0.11745932648604801</c:v>
                </c:pt>
                <c:pt idx="1">
                  <c:v>-0.10146216092718213</c:v>
                </c:pt>
                <c:pt idx="2">
                  <c:v>-0.1669687926569529</c:v>
                </c:pt>
                <c:pt idx="3">
                  <c:v>-0.05171161195310536</c:v>
                </c:pt>
                <c:pt idx="4">
                  <c:v>-0.19478481233777517</c:v>
                </c:pt>
                <c:pt idx="5">
                  <c:v>0.004561238568240256</c:v>
                </c:pt>
                <c:pt idx="6">
                  <c:v>0.010414506718478711</c:v>
                </c:pt>
                <c:pt idx="7">
                  <c:v>-0.21609402630951813</c:v>
                </c:pt>
                <c:pt idx="8">
                  <c:v>-0.2472815962577714</c:v>
                </c:pt>
                <c:pt idx="9">
                  <c:v>-0.31703336916962765</c:v>
                </c:pt>
              </c:numCache>
            </c:numRef>
          </c:yVal>
          <c:bubbleSize>
            <c:numRef>
              <c:f>Sheet1!$C$2:$C$11</c:f>
              <c:numCache>
                <c:formatCode>General</c:formatCode>
                <c:ptCount val="10"/>
                <c:pt idx="0">
                  <c:v>104553.0</c:v>
                </c:pt>
                <c:pt idx="1">
                  <c:v>74377.0</c:v>
                </c:pt>
                <c:pt idx="2">
                  <c:v>56005.0</c:v>
                </c:pt>
                <c:pt idx="3">
                  <c:v>52466.0</c:v>
                </c:pt>
                <c:pt idx="4">
                  <c:v>47963.0</c:v>
                </c:pt>
                <c:pt idx="5">
                  <c:v>46128.0</c:v>
                </c:pt>
                <c:pt idx="6">
                  <c:v>45115.0</c:v>
                </c:pt>
                <c:pt idx="7">
                  <c:v>43330.0</c:v>
                </c:pt>
                <c:pt idx="8">
                  <c:v>38503.0</c:v>
                </c:pt>
                <c:pt idx="9">
                  <c:v>33594.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13978199508112618"/>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873875186011235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F5DF62BA-85F5-4B8A-A0E1-65C040612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74ECFCF1-1C66-4E2B-B31A-715E9BC61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A5EF37BE-568A-4C00-AC7E-A7F1A80EF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D1CFD3E4-1041-4A6A-8C17-9E3F25B92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A31AD7B-3286-4141-8B62-5A7F70508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C2AF4D87-B3A6-494F-AB95-BD838943D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4F4C13D-BB74-4486-A0DE-057D099E2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C8711C83-5FFE-4240-A674-0893A4BA8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A46D6C6B-AF6D-49A0-8DAA-5262784D5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5F72E7D9-7649-40B2-9356-BECA88716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CE52653E-6800-4C96-BB85-70D25616A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D76843EE-B3DE-4CD1-B635-44A58823B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DB583A0C-29F3-4379-8517-81CD800FD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12F7527-07BF-4525-8B38-46F030904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E1630C91-076F-4FE6-B0B6-BB29FE290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0793DB0D-D4C6-48DA-B6B5-D9F1D3D43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9ED7D500-1C70-4A74-A590-E15DED8C3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611A3BFA-6D78-4829-AA84-8E78AD45F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0B274DC-12BD-43C7-8880-A6B132067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E2CADF48-EB2E-4DA4-9B66-B4B56AC14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C3713F9A-C95B-4979-8882-5B8C9978C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277F21F5-8B7F-4C63-89AA-E109CDCA2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C5597DAC-672F-43DD-B044-D5EF5D68B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F874ED28-5941-421D-9558-E29FC8394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1B52D20D-82F8-4F22-960B-C4E616061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22EE23B7-A7AE-43F3-87E1-77B1ED68A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E6484B01-9D9F-47D9-A6F6-5AE744D06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36F3FE88-953A-4E2A-A5B5-2EC2DFE3C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FDF7A37-D162-4A54-B5AC-C80EACA9B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r>
                      <a:t>3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5EDC5C4-C882-4B0C-AF2A-69A033293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E69DA49B-663E-4254-AD80-0896DD9FB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5B074EB-2E15-49E4-9FC9-CDC096260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03418795442229419</c:v>
                </c:pt>
                <c:pt idx="1">
                  <c:v>-0.017337663429912983</c:v>
                </c:pt>
                <c:pt idx="2">
                  <c:v>0.009553256470705651</c:v>
                </c:pt>
                <c:pt idx="3">
                  <c:v>-0.0038498695405497635</c:v>
                </c:pt>
                <c:pt idx="4">
                  <c:v>0.007718544996618511</c:v>
                </c:pt>
                <c:pt idx="5">
                  <c:v>0.0018529981162208886</c:v>
                </c:pt>
                <c:pt idx="6">
                  <c:v>-0.009659966360154273</c:v>
                </c:pt>
                <c:pt idx="7">
                  <c:v>0.03885943913797443</c:v>
                </c:pt>
                <c:pt idx="8">
                  <c:v>-0.0130889307028388</c:v>
                </c:pt>
                <c:pt idx="9">
                  <c:v>0.005556550289463863</c:v>
                </c:pt>
                <c:pt idx="10">
                  <c:v>0.0401821037812809</c:v>
                </c:pt>
                <c:pt idx="11">
                  <c:v>-0.00155446724635587</c:v>
                </c:pt>
                <c:pt idx="12">
                  <c:v>-0.0007826049450699365</c:v>
                </c:pt>
                <c:pt idx="13">
                  <c:v>-0.004452113590918849</c:v>
                </c:pt>
                <c:pt idx="14">
                  <c:v>-0.004198022003907814</c:v>
                </c:pt>
                <c:pt idx="15">
                  <c:v>-0.0004764538596292731</c:v>
                </c:pt>
                <c:pt idx="16">
                  <c:v>0.001131413519274961</c:v>
                </c:pt>
                <c:pt idx="17">
                  <c:v>0.03678475766577899</c:v>
                </c:pt>
                <c:pt idx="18">
                  <c:v>0.03874915777280634</c:v>
                </c:pt>
                <c:pt idx="19">
                  <c:v>0.00856890031497147</c:v>
                </c:pt>
                <c:pt idx="20">
                  <c:v>-0.011969634043785676</c:v>
                </c:pt>
                <c:pt idx="21">
                  <c:v>0.01020149291963747</c:v>
                </c:pt>
                <c:pt idx="22">
                  <c:v>0.03425686610545518</c:v>
                </c:pt>
                <c:pt idx="23">
                  <c:v>-0.00019262672800199332</c:v>
                </c:pt>
                <c:pt idx="24">
                  <c:v>0.02598812354535536</c:v>
                </c:pt>
                <c:pt idx="25">
                  <c:v>0.030450491093285945</c:v>
                </c:pt>
                <c:pt idx="26">
                  <c:v>-0.0068275058987556925</c:v>
                </c:pt>
                <c:pt idx="27">
                  <c:v>0.022874842134116613</c:v>
                </c:pt>
                <c:pt idx="28">
                  <c:v>0.008058880679595204</c:v>
                </c:pt>
                <c:pt idx="29">
                  <c:v>-0.007468284457527258</c:v>
                </c:pt>
              </c:numCache>
            </c:numRef>
          </c:xVal>
          <c:yVal>
            <c:numRef>
              <c:f>Sheet1!$B$2:$B$31</c:f>
              <c:numCache>
                <c:formatCode>General</c:formatCode>
                <c:ptCount val="30"/>
                <c:pt idx="0">
                  <c:v>0.0026307505495171413</c:v>
                </c:pt>
                <c:pt idx="1">
                  <c:v>-0.010163430223643855</c:v>
                </c:pt>
                <c:pt idx="2">
                  <c:v>0.0008724108918154727</c:v>
                </c:pt>
                <c:pt idx="3">
                  <c:v>-0.014760821879734674</c:v>
                </c:pt>
                <c:pt idx="4">
                  <c:v>0.01827086179573455</c:v>
                </c:pt>
                <c:pt idx="5">
                  <c:v>0.013611637961423114</c:v>
                </c:pt>
                <c:pt idx="6">
                  <c:v>-0.0045431135193156474</c:v>
                </c:pt>
                <c:pt idx="7">
                  <c:v>0.0047940371822172145</c:v>
                </c:pt>
                <c:pt idx="8">
                  <c:v>0.0033539717537136304</c:v>
                </c:pt>
                <c:pt idx="9">
                  <c:v>-0.007021369574578634</c:v>
                </c:pt>
                <c:pt idx="10">
                  <c:v>0.009639568577478455</c:v>
                </c:pt>
                <c:pt idx="11">
                  <c:v>-0.012100923826108917</c:v>
                </c:pt>
                <c:pt idx="12">
                  <c:v>-0.005823935436053893</c:v>
                </c:pt>
                <c:pt idx="13">
                  <c:v>0.0018402816025297059</c:v>
                </c:pt>
                <c:pt idx="14">
                  <c:v>-0.0030757888836279723</c:v>
                </c:pt>
                <c:pt idx="15">
                  <c:v>-0.0003626790946550532</c:v>
                </c:pt>
                <c:pt idx="16">
                  <c:v>0.008006805375528322</c:v>
                </c:pt>
                <c:pt idx="17">
                  <c:v>-0.004317182883911766</c:v>
                </c:pt>
                <c:pt idx="18">
                  <c:v>0.00936818218174812</c:v>
                </c:pt>
                <c:pt idx="19">
                  <c:v>0.004105540678737335</c:v>
                </c:pt>
                <c:pt idx="20">
                  <c:v>-0.0022808365153615846</c:v>
                </c:pt>
                <c:pt idx="21">
                  <c:v>0.00011664613520252776</c:v>
                </c:pt>
                <c:pt idx="22">
                  <c:v>0.006449829806099802</c:v>
                </c:pt>
                <c:pt idx="23">
                  <c:v>-0.002681770801999085</c:v>
                </c:pt>
                <c:pt idx="24">
                  <c:v>-0.0025963788949631694</c:v>
                </c:pt>
                <c:pt idx="25">
                  <c:v>0.017149097116755135</c:v>
                </c:pt>
                <c:pt idx="26">
                  <c:v>-0.0054985867170611324</c:v>
                </c:pt>
                <c:pt idx="27">
                  <c:v>0.017509400002391803</c:v>
                </c:pt>
                <c:pt idx="28">
                  <c:v>-0.01012279238462177</c:v>
                </c:pt>
                <c:pt idx="29">
                  <c:v>-0.0012543246925379586</c:v>
                </c:pt>
              </c:numCache>
            </c:numRef>
          </c:yVal>
          <c:bubbleSize>
            <c:numRef>
              <c:f>Sheet1!$C$2:$C$31</c:f>
              <c:numCache>
                <c:formatCode>General</c:formatCode>
                <c:ptCount val="30"/>
                <c:pt idx="0">
                  <c:v>6106691.0</c:v>
                </c:pt>
                <c:pt idx="1">
                  <c:v>3647322.0</c:v>
                </c:pt>
                <c:pt idx="2">
                  <c:v>3088765.0</c:v>
                </c:pt>
                <c:pt idx="3">
                  <c:v>2973050.0</c:v>
                </c:pt>
                <c:pt idx="4">
                  <c:v>1954226.0</c:v>
                </c:pt>
                <c:pt idx="5">
                  <c:v>1479719.0</c:v>
                </c:pt>
                <c:pt idx="6">
                  <c:v>1391478.0</c:v>
                </c:pt>
                <c:pt idx="7">
                  <c:v>1010136.0</c:v>
                </c:pt>
                <c:pt idx="8">
                  <c:v>704092.0</c:v>
                </c:pt>
                <c:pt idx="9">
                  <c:v>516597.0</c:v>
                </c:pt>
                <c:pt idx="10">
                  <c:v>496882.0</c:v>
                </c:pt>
                <c:pt idx="11">
                  <c:v>416905.0</c:v>
                </c:pt>
                <c:pt idx="12">
                  <c:v>359310.0</c:v>
                </c:pt>
                <c:pt idx="13">
                  <c:v>286011.0</c:v>
                </c:pt>
                <c:pt idx="14">
                  <c:v>276940.0</c:v>
                </c:pt>
                <c:pt idx="15">
                  <c:v>268461.0</c:v>
                </c:pt>
                <c:pt idx="16">
                  <c:v>259140.0</c:v>
                </c:pt>
                <c:pt idx="17">
                  <c:v>241247.0</c:v>
                </c:pt>
                <c:pt idx="18">
                  <c:v>235698.0</c:v>
                </c:pt>
                <c:pt idx="19">
                  <c:v>218187.0</c:v>
                </c:pt>
                <c:pt idx="20">
                  <c:v>217736.0</c:v>
                </c:pt>
                <c:pt idx="21">
                  <c:v>185733.0</c:v>
                </c:pt>
                <c:pt idx="22">
                  <c:v>184954.0</c:v>
                </c:pt>
                <c:pt idx="23">
                  <c:v>165688.0</c:v>
                </c:pt>
                <c:pt idx="24">
                  <c:v>156395.0</c:v>
                </c:pt>
                <c:pt idx="25">
                  <c:v>152004.0</c:v>
                </c:pt>
                <c:pt idx="26">
                  <c:v>144147.0</c:v>
                </c:pt>
                <c:pt idx="27">
                  <c:v>130617.0</c:v>
                </c:pt>
                <c:pt idx="28">
                  <c:v>129940.0</c:v>
                </c:pt>
                <c:pt idx="29">
                  <c:v>125888.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037169542757240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9103921005247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C3ECB2C-7DFA-4080-A339-452EF82C5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64CC4B64-C8A7-4EEF-BA72-7D87091AB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3BB92CE1-06C7-4A37-846A-3048ED009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73C9B69-1DCE-4BC7-8BA0-F73B0BFE4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788F54B5-E6B7-45A0-B946-BF82C810A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9B90857-4C9A-4BFE-A8E2-4BB652041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60FAD50A-F789-4CE1-A037-B8CCDE50B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B48888AB-D77F-4B57-93CA-0A0E927DA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DCA6D9E3-6ABD-4F1F-AF91-8826D193F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F03C8BD-E3EC-4480-827F-14352A089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D0382910-4FEB-4FC7-BB59-1853CACD8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58D8F353-F3A6-4C15-95A7-7E307B0B3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762CBAEC-12AA-4C3C-B1D2-ABA7D941F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2AA83C21-405B-4157-8298-64CB566B8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1CB5F8A-7970-4E71-80A5-B251DA5FC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6BA3C7AF-2B9C-4207-A22B-C3A9776F6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1A36FDD-B762-42C9-A4F7-3ECAE6861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3EFAA04-AB1C-4EEA-B9C0-2720FCA4D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2E2D756-7900-4E5A-B565-3FAFFD37C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DFAA9705-D386-4118-92AD-013256E56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3FDFCA6-A07A-4366-B774-A233AE380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9C9F9FD0-BD76-4CA0-9775-F83809895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3DCBF6E-FAE0-4B72-B90E-C19A2C87C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CE1FC95E-B788-442D-BF1C-18903C7DB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D904C213-6F2C-4DBC-AD73-A6D5AB5A1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EA7E21E7-41ED-4565-97D3-8117B48B8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DFF10BA4-1CC1-4C7A-BF3E-0C92F3568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9CDBE3A3-C689-45A3-B9C2-1146FEAB9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816EFA35-B6F7-4B50-B1D0-1F6372FC9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97EB5D2-063B-4E84-82F0-805F94A73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08F0BD1-E165-4044-9EE7-11CDA81F8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C66A2B0-F140-4867-AF68-F23724494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25098627674832813</c:v>
                </c:pt>
                <c:pt idx="1">
                  <c:v>0.0031475413618916454</c:v>
                </c:pt>
                <c:pt idx="2">
                  <c:v>-0.004634374001948008</c:v>
                </c:pt>
                <c:pt idx="3">
                  <c:v>0.006548717766531924</c:v>
                </c:pt>
                <c:pt idx="4">
                  <c:v>0.0007522021062786322</c:v>
                </c:pt>
                <c:pt idx="5">
                  <c:v>-0.005135521886272677</c:v>
                </c:pt>
                <c:pt idx="6">
                  <c:v>-0.0007034421833650578</c:v>
                </c:pt>
              </c:numCache>
            </c:numRef>
          </c:xVal>
          <c:yVal>
            <c:numRef>
              <c:f>Sheet1!$B$2:$B$8</c:f>
              <c:numCache>
                <c:formatCode>General</c:formatCode>
                <c:ptCount val="7"/>
                <c:pt idx="0">
                  <c:v>-0.02147253579915734</c:v>
                </c:pt>
                <c:pt idx="1">
                  <c:v>-0.013317026774429017</c:v>
                </c:pt>
                <c:pt idx="2">
                  <c:v>-0.009983179458196226</c:v>
                </c:pt>
                <c:pt idx="3">
                  <c:v>0.022497849346683557</c:v>
                </c:pt>
                <c:pt idx="4">
                  <c:v>0.01070126708952824</c:v>
                </c:pt>
                <c:pt idx="5">
                  <c:v>0.0021022238242559346</c:v>
                </c:pt>
                <c:pt idx="6">
                  <c:v>0.001965627808900444</c:v>
                </c:pt>
              </c:numCache>
            </c:numRef>
          </c:yVal>
          <c:bubbleSize>
            <c:numRef>
              <c:f>Sheet1!$C$2:$C$8</c:f>
              <c:numCache>
                <c:formatCode>General</c:formatCode>
                <c:ptCount val="7"/>
                <c:pt idx="0">
                  <c:v>1828137.0</c:v>
                </c:pt>
                <c:pt idx="1">
                  <c:v>611372.0</c:v>
                </c:pt>
                <c:pt idx="2">
                  <c:v>586220.0</c:v>
                </c:pt>
                <c:pt idx="3">
                  <c:v>507304.0</c:v>
                </c:pt>
                <c:pt idx="4">
                  <c:v>356797.0</c:v>
                </c:pt>
                <c:pt idx="5">
                  <c:v>287512.0</c:v>
                </c:pt>
                <c:pt idx="6">
                  <c:v>286936.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0722534232020578"/>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358196440542132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D9CF2977-EBF2-4E90-A0B4-5B1025727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F68D811-60E4-44F9-BD72-A2333F2A7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3ECEA67A-4958-4D3F-92A9-C23DBE218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A2ABDB3-0B1B-4F77-A1E1-467B6B594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19BD91F-475B-41D8-A367-7D6122F02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3069B98C-6FB9-4AE8-BEDB-5F270E429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6F836CC-4A95-424E-BFDD-04C35DE3F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C5F8B06-732D-44D9-B943-DCF2524D6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68AFE1F-973C-44D6-991B-F37D858A3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4EF30060-310D-41CD-944D-33B01B4DB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71FF730-3F76-4BF7-9B57-26BB1AB38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57722DBA-8A19-405C-A944-70CB34A29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15BD6559-9E83-4736-BCC3-8DB941D68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257CF06D-4B61-47E1-A477-208E119AB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8635D22-30C5-4208-BCD2-3DACC7067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FD4623DC-7887-40C2-BBDA-6A9B34D2E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69136387-DBFE-4FD5-AAB5-D56D04B7F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29419E29-8B2A-41DD-89E3-9D47A86F8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3EFE765F-5C16-4552-AF5B-C0C74A79A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28E633EB-691F-4DBB-92E0-62D62E77B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620860FD-EC5C-4B4C-930A-5217C87DF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4A7C5E5-4F3B-4FF2-BE2C-EE2A4C38E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C9EAE01-EE7F-4914-8798-51DB52090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C4C9302F-CB24-4036-9629-EAD5D3ADB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A0EC914A-0A73-49D7-805B-8D49BF12C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ED778EFC-6B14-4C35-A529-35EB4C83D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EA098BBE-218B-4155-9454-032101556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0E789BA4-E5C4-4E7A-91C9-28E504DDA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CBC3E25E-F910-4F25-BCA1-582EC89BA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389B219-7D39-45C0-AC08-E576F9B5B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0F422726-F089-43AE-B5F7-773142AB6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46426744-72E7-48BD-9460-19E0E497B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4684002576946539</c:v>
                </c:pt>
                <c:pt idx="1">
                  <c:v>-0.013385079007968925</c:v>
                </c:pt>
                <c:pt idx="2">
                  <c:v>0.009420704192376166</c:v>
                </c:pt>
                <c:pt idx="3">
                  <c:v>0.003399702102783647</c:v>
                </c:pt>
                <c:pt idx="4">
                  <c:v>0.007962358396920485</c:v>
                </c:pt>
                <c:pt idx="5">
                  <c:v>-0.0022904725191565944</c:v>
                </c:pt>
                <c:pt idx="6">
                  <c:v>-0.0023210027847945444</c:v>
                </c:pt>
              </c:numCache>
            </c:numRef>
          </c:xVal>
          <c:yVal>
            <c:numRef>
              <c:f>Sheet1!$B$2:$B$8</c:f>
              <c:numCache>
                <c:formatCode>General</c:formatCode>
                <c:ptCount val="7"/>
                <c:pt idx="0">
                  <c:v>0.0023790311219306914</c:v>
                </c:pt>
                <c:pt idx="1">
                  <c:v>-0.007947833841580668</c:v>
                </c:pt>
                <c:pt idx="2">
                  <c:v>0.00359278908779892</c:v>
                </c:pt>
                <c:pt idx="3">
                  <c:v>0.018309402707695474</c:v>
                </c:pt>
                <c:pt idx="4">
                  <c:v>0.00989625850228959</c:v>
                </c:pt>
                <c:pt idx="5">
                  <c:v>-0.001269815023920047</c:v>
                </c:pt>
                <c:pt idx="6">
                  <c:v>-0.006674471675057637</c:v>
                </c:pt>
              </c:numCache>
            </c:numRef>
          </c:yVal>
          <c:bubbleSize>
            <c:numRef>
              <c:f>Sheet1!$C$2:$C$8</c:f>
              <c:numCache>
                <c:formatCode>General</c:formatCode>
                <c:ptCount val="7"/>
                <c:pt idx="0">
                  <c:v>343015.0</c:v>
                </c:pt>
                <c:pt idx="1">
                  <c:v>87641.0</c:v>
                </c:pt>
                <c:pt idx="2">
                  <c:v>84570.0</c:v>
                </c:pt>
                <c:pt idx="3">
                  <c:v>49376.0</c:v>
                </c:pt>
                <c:pt idx="4">
                  <c:v>47737.0</c:v>
                </c:pt>
                <c:pt idx="5">
                  <c:v>39482.0</c:v>
                </c:pt>
                <c:pt idx="6">
                  <c:v>3479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261219441130804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70894623070893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3ECEFBC-57AC-478D-9268-410E42F0F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EA3FFA2A-54D0-4EC7-B1C1-1595FCEE8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99AB11A2-9F91-4481-8760-4597035E9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FA1ED715-EDFA-48B0-BE1A-3FA22CC2F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F31C52D2-1501-4422-A2C9-4F25190E5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3D45AA4-6CA9-4202-B59C-C9A171EBD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4FEA23A3-1C42-4448-B31A-C2C1EA807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2D86E136-C60A-4AD8-97CB-931F422AD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E624E89A-7498-4797-918E-842C43BA4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8EBC3CD1-68FA-46F8-9EE6-7DD464931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66B5C5B0-C7CC-4B4E-88AD-B77454CC3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E79229C-4DC0-4EA8-B9FE-80D589557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71BE4246-71BB-4FBD-AB76-3F322BA6C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CB57D22F-43C8-48E6-9637-469DB509F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C166247A-28A7-4041-8EED-7B79B1585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9C698321-1E7D-4E8F-9112-E6435CB6E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A4BE5081-AFCA-45AB-84AA-42FF9E454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647002B8-0109-472B-A7F2-EF9792C88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9C0FDF86-8056-43BD-981E-F17D5F3EA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EC33762-323C-40F1-8E44-922187B11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6FC19D7-B0EE-4571-9196-6231EEB2A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4B273D0F-DE68-4DCD-AB23-65DD70D48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3B654C33-E6FD-4E1B-8AD7-1454F8D0B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B44D085-7055-4895-A1D1-E1FB50744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78B609A4-9259-4E10-B75E-EDDFBC363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E5DB32A-181F-41FA-BEBD-44E9AA986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19707A93-5496-42DE-8C5C-312A90014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8CF8E594-B5FC-4CC4-A2DA-8A5B8D327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864678D9-72B2-4059-BBFA-6EE8036AA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250099EC-778B-4FEA-B7DA-D531FE9D2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E1F58FC7-E0EF-4584-AE0A-86A7C2C25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1E055F1D-E52A-4416-826B-4B97AA540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16590250775750548</c:v>
                </c:pt>
                <c:pt idx="1">
                  <c:v>0.007600692236329046</c:v>
                </c:pt>
                <c:pt idx="2">
                  <c:v>-0.004320847544916601</c:v>
                </c:pt>
                <c:pt idx="3">
                  <c:v>0.008552788312606252</c:v>
                </c:pt>
                <c:pt idx="4">
                  <c:v>-6.933597579590611e-06</c:v>
                </c:pt>
                <c:pt idx="5">
                  <c:v>-0.0023973156068215276</c:v>
                </c:pt>
                <c:pt idx="6">
                  <c:v>-0.0023322860531028097</c:v>
                </c:pt>
              </c:numCache>
            </c:numRef>
          </c:xVal>
          <c:yVal>
            <c:numRef>
              <c:f>Sheet1!$B$2:$B$8</c:f>
              <c:numCache>
                <c:formatCode>General</c:formatCode>
                <c:ptCount val="7"/>
                <c:pt idx="0">
                  <c:v>-0.010085177332938955</c:v>
                </c:pt>
                <c:pt idx="1">
                  <c:v>-0.007729752632376116</c:v>
                </c:pt>
                <c:pt idx="2">
                  <c:v>-0.014223153920046874</c:v>
                </c:pt>
                <c:pt idx="3">
                  <c:v>0.023118174752528482</c:v>
                </c:pt>
                <c:pt idx="4">
                  <c:v>0.01182834826990261</c:v>
                </c:pt>
                <c:pt idx="5">
                  <c:v>-0.003209985044071696</c:v>
                </c:pt>
                <c:pt idx="6">
                  <c:v>0.005117698392535553</c:v>
                </c:pt>
              </c:numCache>
            </c:numRef>
          </c:yVal>
          <c:bubbleSize>
            <c:numRef>
              <c:f>Sheet1!$C$2:$C$8</c:f>
              <c:numCache>
                <c:formatCode>General</c:formatCode>
                <c:ptCount val="7"/>
                <c:pt idx="0">
                  <c:v>10761127.0</c:v>
                </c:pt>
                <c:pt idx="1">
                  <c:v>3788985.0</c:v>
                </c:pt>
                <c:pt idx="2">
                  <c:v>3461768.0</c:v>
                </c:pt>
                <c:pt idx="3">
                  <c:v>2407818.0</c:v>
                </c:pt>
                <c:pt idx="4">
                  <c:v>2358707.0</c:v>
                </c:pt>
                <c:pt idx="5">
                  <c:v>1672046.0</c:v>
                </c:pt>
                <c:pt idx="6">
                  <c:v>1436753.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06880217836475719"/>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338376407460933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1314656398411975</c:v>
                </c:pt>
                <c:pt idx="1">
                  <c:v>-0.009362993951060869</c:v>
                </c:pt>
                <c:pt idx="2">
                  <c:v>0.007536197948337001</c:v>
                </c:pt>
                <c:pt idx="3">
                  <c:v>-0.016182070968950316</c:v>
                </c:pt>
                <c:pt idx="4">
                  <c:v>-0.003141862776890013</c:v>
                </c:pt>
                <c:pt idx="5">
                  <c:v>0.0014178210243352071</c:v>
                </c:pt>
                <c:pt idx="6">
                  <c:v>-0.008013879259782836</c:v>
                </c:pt>
                <c:pt idx="7">
                  <c:v>-0.00837630939016934</c:v>
                </c:pt>
                <c:pt idx="8">
                  <c:v>-0.003056493875414741</c:v>
                </c:pt>
                <c:pt idx="9">
                  <c:v>-0.00213506514881606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DBA92E7-A258-4C16-9050-8F1DE8427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368CA891-2601-423D-A368-ADC74B05F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6A4E29C9-2AA5-4A82-8A66-F653EEE2E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CDB40753-9F15-49B5-B494-005AF3F31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61D69A2-8F4B-4589-8B47-E41EF095A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02245C9-D605-4E5F-BFA0-F1A966B9C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E4D2DF42-9C60-4746-AD27-C08F9B096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8734FF85-BCF0-4B62-B07F-0913C6E01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9F365B9E-779C-4647-BFA0-B8568E251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A1E13AFD-0AD7-4625-B54C-7BBFFA63A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0E95C03-607C-481E-AAC4-295758A2B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B4154D09-E8F4-4B34-8008-E9EEF0C4F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BA499DE-A21D-48BA-BE29-741F00C17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630290AA-46DB-446E-A5CA-ED1EBCC2A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A5685053-BC60-48F3-B70B-665F52BBA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37A4066B-3DA4-49AE-8031-AFA7D9EEF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6B9AAF79-DA1E-4F3B-944F-4A8E4D473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A54C1951-AD9A-4CC9-AE52-A392A8708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A6884B1-E0A4-4DA1-BF93-36388822C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2CDBBE3B-77DC-4950-A7C5-AAB73935E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59180ADD-F960-42FE-B149-8870BCADB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6DE402A2-F3F3-4F7C-8AE0-FBD1765D4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DCF2E76B-EEE2-4667-AAFB-649631199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FFC8581B-B7B7-460B-AC0A-4AD0D4B3C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EBCFC9B3-8A5F-464C-B6F6-8EF91067B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FE39F54-9BC1-44A3-8925-E0DFAF9DD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9AA7D2BD-35ED-405A-BBBF-990084510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3F7437C3-2C4A-46FC-997E-2444EE0F0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9F79F01-63D7-4987-916F-4B4954009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024BE16-6955-4843-83C5-2C8A2991D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B01D487-C34E-495F-BAE2-BFC631275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D2ABEAE-2587-42D0-98AD-E0B9FAA92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03320264504831549</c:v>
                </c:pt>
                <c:pt idx="1">
                  <c:v>0.012600775812735387</c:v>
                </c:pt>
                <c:pt idx="2">
                  <c:v>-0.002724502439271123</c:v>
                </c:pt>
                <c:pt idx="3">
                  <c:v>0.008027643610544186</c:v>
                </c:pt>
                <c:pt idx="4">
                  <c:v>0.013346362631884538</c:v>
                </c:pt>
                <c:pt idx="5">
                  <c:v>-0.019110681175755186</c:v>
                </c:pt>
                <c:pt idx="6">
                  <c:v>-0.0031182133385338345</c:v>
                </c:pt>
                <c:pt idx="7">
                  <c:v>-0.009806320558688662</c:v>
                </c:pt>
              </c:numCache>
            </c:numRef>
          </c:xVal>
          <c:yVal>
            <c:numRef>
              <c:f>Sheet1!$B$2:$B$9</c:f>
              <c:numCache>
                <c:formatCode>General</c:formatCode>
                <c:ptCount val="8"/>
                <c:pt idx="0">
                  <c:v>0.02981198419525294</c:v>
                </c:pt>
                <c:pt idx="1">
                  <c:v>-0.021057908878949566</c:v>
                </c:pt>
                <c:pt idx="2">
                  <c:v>0.026804605034468847</c:v>
                </c:pt>
                <c:pt idx="3">
                  <c:v>0.000510731693855869</c:v>
                </c:pt>
                <c:pt idx="4">
                  <c:v>-0.001572748516278033</c:v>
                </c:pt>
                <c:pt idx="5">
                  <c:v>-0.0024534239940795406</c:v>
                </c:pt>
                <c:pt idx="6">
                  <c:v>0.0139842806494931</c:v>
                </c:pt>
                <c:pt idx="7">
                  <c:v>-0.010323440539499927</c:v>
                </c:pt>
              </c:numCache>
            </c:numRef>
          </c:yVal>
          <c:bubbleSize>
            <c:numRef>
              <c:f>Sheet1!$C$2:$C$9</c:f>
              <c:numCache>
                <c:formatCode>General</c:formatCode>
                <c:ptCount val="8"/>
                <c:pt idx="0">
                  <c:v>159256.0</c:v>
                </c:pt>
                <c:pt idx="1">
                  <c:v>83861.0</c:v>
                </c:pt>
                <c:pt idx="2">
                  <c:v>55977.0</c:v>
                </c:pt>
                <c:pt idx="3">
                  <c:v>53047.0</c:v>
                </c:pt>
                <c:pt idx="4">
                  <c:v>52422.0</c:v>
                </c:pt>
                <c:pt idx="5">
                  <c:v>37818.0</c:v>
                </c:pt>
                <c:pt idx="6">
                  <c:v>28203.0</c:v>
                </c:pt>
                <c:pt idx="7">
                  <c:v>21083.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4463009955532960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40522136989038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4973A88B-B96C-4787-9EE6-29B5248E2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21E861C0-055C-4A67-9C11-24E70CFD4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80A8D23-AFC7-476E-A06F-C35831F52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3DD7334E-6934-4089-8476-6C6BEA9D5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11194BB9-DD62-4F03-8731-FCE91279A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3FD4D44-B98D-44DC-84F4-0501FE939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A7E395FE-E9C9-4329-BF63-AFEBF8BDF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875A187E-D7CF-4D60-9827-0B63BC24D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854E3F26-3736-4579-9BB5-F8E858A6A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84B5498-5A6B-4D2A-81C1-C460A593C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958AF71-6FB1-46FF-9AE5-EE4860DDA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A21D5825-6EF3-4657-B1B8-CA754D387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D2B345EA-8505-4C38-81BB-43D5F2A18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54319522-8BD3-44C9-90D5-8B83ED699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EE7FDAA0-0A62-41DF-AE69-3FBFDC4C2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7D5EF920-111C-40BA-817D-A3CD807B6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4DCC940-5B52-4932-9709-E8E5D0A1D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577E87F-032E-48EF-AC80-FEB504493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9F3222F-D05D-428B-BB22-5AC50251C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39FE593-5F0D-4180-A3C6-9C5966E84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BCA4F8FA-4BE3-43DC-BE9A-7938C2AAC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11F1241B-6BEA-4AC2-AD7C-1E7C7189C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6C50AE72-7C84-4346-B553-214FE1189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FCC0444-D092-4A78-9690-227490EF2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1166A4F2-D01F-4C0B-8E5F-43EF901A8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4A4A02C0-0F7C-4C9A-84BA-4540AD068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F9B87FCA-B957-4EA5-AAF5-7130FDA9C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C7825ED3-604D-4A26-8307-A9BB4F0BE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563A75B5-85E2-411A-84E3-B654BDBFA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C347D7E-9807-433F-8338-0788177E6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6134BDF-AB30-461E-8463-E85B8881C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BC44682-04D5-4BB9-969D-758090D4B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016340018287680308</c:v>
                </c:pt>
                <c:pt idx="1">
                  <c:v>0.015276949084866487</c:v>
                </c:pt>
                <c:pt idx="2">
                  <c:v>0.011487025645661418</c:v>
                </c:pt>
                <c:pt idx="3">
                  <c:v>-0.006597064082375731</c:v>
                </c:pt>
                <c:pt idx="4">
                  <c:v>0.004618196656712731</c:v>
                </c:pt>
                <c:pt idx="5">
                  <c:v>0.006654533320121128</c:v>
                </c:pt>
                <c:pt idx="6">
                  <c:v>0.003893113788844875</c:v>
                </c:pt>
                <c:pt idx="7">
                  <c:v>-0.004212342041523431</c:v>
                </c:pt>
              </c:numCache>
            </c:numRef>
          </c:xVal>
          <c:yVal>
            <c:numRef>
              <c:f>Sheet1!$B$2:$B$9</c:f>
              <c:numCache>
                <c:formatCode>General</c:formatCode>
                <c:ptCount val="8"/>
                <c:pt idx="0">
                  <c:v>-0.04339068087825221</c:v>
                </c:pt>
                <c:pt idx="1">
                  <c:v>0.004051271912146326</c:v>
                </c:pt>
                <c:pt idx="2">
                  <c:v>0.035615297838513464</c:v>
                </c:pt>
                <c:pt idx="3">
                  <c:v>-0.015386591037737818</c:v>
                </c:pt>
                <c:pt idx="4">
                  <c:v>0.0062779483687523535</c:v>
                </c:pt>
                <c:pt idx="5">
                  <c:v>0.016745180986961365</c:v>
                </c:pt>
                <c:pt idx="6">
                  <c:v>0.02900409555613777</c:v>
                </c:pt>
                <c:pt idx="7">
                  <c:v>-0.007720561725475316</c:v>
                </c:pt>
              </c:numCache>
            </c:numRef>
          </c:yVal>
          <c:bubbleSize>
            <c:numRef>
              <c:f>Sheet1!$C$2:$C$9</c:f>
              <c:numCache>
                <c:formatCode>General</c:formatCode>
                <c:ptCount val="8"/>
                <c:pt idx="0">
                  <c:v>92834.0</c:v>
                </c:pt>
                <c:pt idx="1">
                  <c:v>72201.0</c:v>
                </c:pt>
                <c:pt idx="2">
                  <c:v>34292.0</c:v>
                </c:pt>
                <c:pt idx="3">
                  <c:v>29790.0</c:v>
                </c:pt>
                <c:pt idx="4">
                  <c:v>25913.0</c:v>
                </c:pt>
                <c:pt idx="5">
                  <c:v>24918.0</c:v>
                </c:pt>
                <c:pt idx="6">
                  <c:v>18715.0</c:v>
                </c:pt>
                <c:pt idx="7">
                  <c:v>1123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3149495127630742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59325538324984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413214889409704</c:v>
                </c:pt>
                <c:pt idx="1">
                  <c:v>0.13975913703038115</c:v>
                </c:pt>
                <c:pt idx="2">
                  <c:v>0.11179433526660465</c:v>
                </c:pt>
                <c:pt idx="3">
                  <c:v>0.08933259351889425</c:v>
                </c:pt>
                <c:pt idx="4">
                  <c:v>0.0744815547881361</c:v>
                </c:pt>
                <c:pt idx="5">
                  <c:v>0.07021657975687341</c:v>
                </c:pt>
                <c:pt idx="6">
                  <c:v>0.06497622748005767</c:v>
                </c:pt>
                <c:pt idx="7">
                  <c:v>0.0363560366189744</c:v>
                </c:pt>
                <c:pt idx="8">
                  <c:v>0.028082813208816306</c:v>
                </c:pt>
                <c:pt idx="9">
                  <c:v>0.2308685734371649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FA2B1CE-F8C7-479F-B109-2BA485F0C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D409CB3-6CFC-43C1-9A80-D40259853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B28B8066-764D-45F7-99DE-DC2D659F1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142F2959-4E05-4374-8944-97138963B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6DE213A-355E-4EE7-BDC3-5BA472F37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A0E51FE-1C54-4066-BB17-94C644D4F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2F094342-415C-44C0-88AA-2D9FD3965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59DDD2BE-EC5B-44CA-BDBD-3B78AF119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3822FDD2-A7FC-42A0-A65E-A164F600B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6CF97B75-B661-41AC-9E3A-3AA579424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5CADA96E-5FC1-468A-AA33-0C289120B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665BC865-F98E-47EC-AA38-4C55F2BAF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3E2353EE-01B3-4353-BED9-D3A3F2D56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647DFCE-73BB-49BF-B5C1-8BF900EC3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163DF6D0-B07C-49AC-A441-980BC273F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EBDDE67E-4772-4C4D-A2D5-D54E4D647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8ADC40A0-D71A-4419-9B06-813224B52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223F0972-0394-42CD-A2D8-074B62381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E7C5C85C-7E11-4A95-A868-805FFE177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19E7FE2C-000A-43F5-B49C-748A8BDF4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BAAB0D82-A655-4EBF-84C9-E2D53F20B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07D4C88-854B-40F8-8605-F213F6B04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CB700AF-27E8-4042-BC2E-DCCFB9B45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AC99A3D-6093-4B19-822B-051E92DDA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B8699224-9FCE-495E-BA0A-F0D176DA5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562D7A7-9CEF-4C43-8386-AF4755E41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635FD44-59F7-4BF2-9ECD-85C5CA607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D5617DBA-E45B-493C-966F-2C309AAF3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90E0C71-7304-4728-A372-2BB641735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0E1DB26D-14B6-457D-A766-4057461AC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F707E909-F971-4A80-8860-E1C828624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19AE987-271E-4BD1-AFCA-70C1327B3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019594636527691667</c:v>
                </c:pt>
                <c:pt idx="1">
                  <c:v>0.008021979193643919</c:v>
                </c:pt>
                <c:pt idx="2">
                  <c:v>-0.0004258305628572767</c:v>
                </c:pt>
                <c:pt idx="3">
                  <c:v>-0.00019109588067657557</c:v>
                </c:pt>
                <c:pt idx="4">
                  <c:v>0.00479046503711153</c:v>
                </c:pt>
                <c:pt idx="5">
                  <c:v>-0.001276735990841632</c:v>
                </c:pt>
                <c:pt idx="6">
                  <c:v>-0.008498466900138668</c:v>
                </c:pt>
              </c:numCache>
            </c:numRef>
          </c:xVal>
          <c:yVal>
            <c:numRef>
              <c:f>Sheet1!$B$2:$B$8</c:f>
              <c:numCache>
                <c:formatCode>General</c:formatCode>
                <c:ptCount val="7"/>
                <c:pt idx="0">
                  <c:v>-0.0196079539769895</c:v>
                </c:pt>
                <c:pt idx="1">
                  <c:v>-0.009781650604871114</c:v>
                </c:pt>
                <c:pt idx="2">
                  <c:v>-0.008487913748978476</c:v>
                </c:pt>
                <c:pt idx="3">
                  <c:v>0.012444434537008997</c:v>
                </c:pt>
                <c:pt idx="4">
                  <c:v>0.019577232971056957</c:v>
                </c:pt>
                <c:pt idx="5">
                  <c:v>-0.003943329387907542</c:v>
                </c:pt>
                <c:pt idx="6">
                  <c:v>-0.004091699594795734</c:v>
                </c:pt>
              </c:numCache>
            </c:numRef>
          </c:yVal>
          <c:bubbleSize>
            <c:numRef>
              <c:f>Sheet1!$C$2:$C$8</c:f>
              <c:numCache>
                <c:formatCode>General</c:formatCode>
                <c:ptCount val="7"/>
                <c:pt idx="0">
                  <c:v>2733549.0</c:v>
                </c:pt>
                <c:pt idx="1">
                  <c:v>1023352.0</c:v>
                </c:pt>
                <c:pt idx="2">
                  <c:v>901841.0</c:v>
                </c:pt>
                <c:pt idx="3">
                  <c:v>629281.0</c:v>
                </c:pt>
                <c:pt idx="4">
                  <c:v>511679.0</c:v>
                </c:pt>
                <c:pt idx="5">
                  <c:v>429337.0</c:v>
                </c:pt>
                <c:pt idx="6">
                  <c:v>40527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984411400782344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625682649858637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8090627945436278</c:v>
                </c:pt>
                <c:pt idx="1">
                  <c:v>0.005302912029661211</c:v>
                </c:pt>
                <c:pt idx="2">
                  <c:v>0.006109549935323075</c:v>
                </c:pt>
                <c:pt idx="3">
                  <c:v>0.0024967059757137755</c:v>
                </c:pt>
                <c:pt idx="4">
                  <c:v>0.0017535895742236823</c:v>
                </c:pt>
                <c:pt idx="5">
                  <c:v>0.0038078791170148563</c:v>
                </c:pt>
                <c:pt idx="6">
                  <c:v>-0.007078236408601113</c:v>
                </c:pt>
                <c:pt idx="7">
                  <c:v>0.017227457594348905</c:v>
                </c:pt>
                <c:pt idx="8">
                  <c:v>0.005742125402508198</c:v>
                </c:pt>
                <c:pt idx="9">
                  <c:v>-0.1162682626745553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975913703038115</c:v>
                </c:pt>
                <c:pt idx="1">
                  <c:v>0.11670434751403025</c:v>
                </c:pt>
                <c:pt idx="2">
                  <c:v>0.08933259351889425</c:v>
                </c:pt>
                <c:pt idx="3">
                  <c:v>0.0744815547881361</c:v>
                </c:pt>
                <c:pt idx="4">
                  <c:v>0.07021657975687341</c:v>
                </c:pt>
                <c:pt idx="5">
                  <c:v>0.06497622748005767</c:v>
                </c:pt>
                <c:pt idx="6">
                  <c:v>0.0363560366189744</c:v>
                </c:pt>
                <c:pt idx="7">
                  <c:v>0.023172800961390704</c:v>
                </c:pt>
                <c:pt idx="8">
                  <c:v>0.02091195011957573</c:v>
                </c:pt>
                <c:pt idx="9">
                  <c:v>0.364088772211686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5095612121001217</c:v>
                </c:pt>
                <c:pt idx="1">
                  <c:v>0.00940834947565014</c:v>
                </c:pt>
                <c:pt idx="2">
                  <c:v>-0.007172736149292841</c:v>
                </c:pt>
                <c:pt idx="3">
                  <c:v>0.0028464331522255054</c:v>
                </c:pt>
                <c:pt idx="4">
                  <c:v>0.005806581136324346</c:v>
                </c:pt>
                <c:pt idx="5">
                  <c:v>0.01002833082886917</c:v>
                </c:pt>
                <c:pt idx="6">
                  <c:v>-0.006107424115927143</c:v>
                </c:pt>
                <c:pt idx="7">
                  <c:v>0.035009665672096665</c:v>
                </c:pt>
                <c:pt idx="8">
                  <c:v>-0.0005649104145576331</c:v>
                </c:pt>
                <c:pt idx="9">
                  <c:v>-0.2002104107954004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940834947565014</c:v>
                </c:pt>
                <c:pt idx="1">
                  <c:v>-0.006006041538362997</c:v>
                </c:pt>
                <c:pt idx="2">
                  <c:v>0.0028464331522255054</c:v>
                </c:pt>
                <c:pt idx="3">
                  <c:v>0.005806581136324346</c:v>
                </c:pt>
                <c:pt idx="4">
                  <c:v>0.01002833082886917</c:v>
                </c:pt>
                <c:pt idx="5">
                  <c:v>-0.006107424115927143</c:v>
                </c:pt>
                <c:pt idx="6">
                  <c:v>0.035008408751965765</c:v>
                </c:pt>
                <c:pt idx="7">
                  <c:v>-0.0017316050254874704</c:v>
                </c:pt>
                <c:pt idx="8">
                  <c:v>-0.170928627158702</c:v>
                </c:pt>
                <c:pt idx="9">
                  <c:v>0.1217285946256307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2733776155157795</c:v>
                </c:pt>
                <c:pt idx="1">
                  <c:v>0.007914313472103668</c:v>
                </c:pt>
                <c:pt idx="2">
                  <c:v>-0.006689384538259388</c:v>
                </c:pt>
                <c:pt idx="3">
                  <c:v>0.001578901486327118</c:v>
                </c:pt>
                <c:pt idx="4">
                  <c:v>-0.008013879259782836</c:v>
                </c:pt>
                <c:pt idx="5">
                  <c:v>-0.008124926850502354</c:v>
                </c:pt>
                <c:pt idx="6">
                  <c:v>-0.0026736094128014948</c:v>
                </c:pt>
                <c:pt idx="7">
                  <c:v>0.0006019083204682092</c:v>
                </c:pt>
                <c:pt idx="8">
                  <c:v>-0.003056493875414741</c:v>
                </c:pt>
                <c:pt idx="9">
                  <c:v>-0.0141095250353040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413361461802515</c:v>
                </c:pt>
                <c:pt idx="1">
                  <c:v>0.10857785336195755</c:v>
                </c:pt>
                <c:pt idx="2">
                  <c:v>0.09935347640535515</c:v>
                </c:pt>
                <c:pt idx="3">
                  <c:v>0.07096344912765985</c:v>
                </c:pt>
                <c:pt idx="4">
                  <c:v>0.04615248165833515</c:v>
                </c:pt>
                <c:pt idx="5">
                  <c:v>0.039662845672071984</c:v>
                </c:pt>
                <c:pt idx="6">
                  <c:v>0.03948158823344874</c:v>
                </c:pt>
                <c:pt idx="7">
                  <c:v>0.03536766406025183</c:v>
                </c:pt>
                <c:pt idx="8">
                  <c:v>0.02804765211585139</c:v>
                </c:pt>
                <c:pt idx="9">
                  <c:v>0.208259374747043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85910852342416</c:v>
                </c:pt>
                <c:pt idx="1">
                  <c:v>0.1485907663790593</c:v>
                </c:pt>
                <c:pt idx="2">
                  <c:v>0.10911436910250769</c:v>
                </c:pt>
                <c:pt idx="3">
                  <c:v>0.10055417030693</c:v>
                </c:pt>
                <c:pt idx="4">
                  <c:v>0.08576779265060061</c:v>
                </c:pt>
                <c:pt idx="5">
                  <c:v>0.06467871088975476</c:v>
                </c:pt>
                <c:pt idx="6">
                  <c:v>0.04808336149887444</c:v>
                </c:pt>
                <c:pt idx="7">
                  <c:v>0.04016512447043469</c:v>
                </c:pt>
                <c:pt idx="8">
                  <c:v>0.03271879311187778</c:v>
                </c:pt>
                <c:pt idx="9">
                  <c:v>0.210467803066536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1794948159837337</c:v>
                </c:pt>
                <c:pt idx="1">
                  <c:v>0.08252457821562867</c:v>
                </c:pt>
                <c:pt idx="2">
                  <c:v>-0.005636434769637988</c:v>
                </c:pt>
                <c:pt idx="3">
                  <c:v>0.005052777360800051</c:v>
                </c:pt>
                <c:pt idx="4">
                  <c:v>-0.006069120724080834</c:v>
                </c:pt>
                <c:pt idx="5">
                  <c:v>-0.0073773441871131384</c:v>
                </c:pt>
                <c:pt idx="6">
                  <c:v>-0.0037417750160679136</c:v>
                </c:pt>
                <c:pt idx="7">
                  <c:v>0.018715886210343514</c:v>
                </c:pt>
                <c:pt idx="8">
                  <c:v>0.0026188003353247447</c:v>
                </c:pt>
                <c:pt idx="9">
                  <c:v>-0.0978823155850344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5985910852342416</c:v>
                </c:pt>
                <c:pt idx="1">
                  <c:v>0.12057402435628453</c:v>
                </c:pt>
                <c:pt idx="2">
                  <c:v>0.10911436910250769</c:v>
                </c:pt>
                <c:pt idx="3">
                  <c:v>0.08576779265060061</c:v>
                </c:pt>
                <c:pt idx="4">
                  <c:v>0.06467871088975476</c:v>
                </c:pt>
                <c:pt idx="5">
                  <c:v>0.04808336149887444</c:v>
                </c:pt>
                <c:pt idx="6">
                  <c:v>0.04016512447043469</c:v>
                </c:pt>
                <c:pt idx="7">
                  <c:v>0.019569205391628562</c:v>
                </c:pt>
                <c:pt idx="8">
                  <c:v>0.014971313662094284</c:v>
                </c:pt>
                <c:pt idx="9">
                  <c:v>0.3372169894543962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5144655962087361</c:v>
                </c:pt>
                <c:pt idx="1">
                  <c:v>0.14497613790990885</c:v>
                </c:pt>
                <c:pt idx="2">
                  <c:v>0.007346464786505816</c:v>
                </c:pt>
                <c:pt idx="3">
                  <c:v>-0.010208226883471228</c:v>
                </c:pt>
                <c:pt idx="4">
                  <c:v>0.00200529488280303</c:v>
                </c:pt>
                <c:pt idx="5">
                  <c:v>-0.00575009776072237</c:v>
                </c:pt>
                <c:pt idx="6">
                  <c:v>-0.0017332386977646358</c:v>
                </c:pt>
                <c:pt idx="7">
                  <c:v>0.038890459916577545</c:v>
                </c:pt>
                <c:pt idx="8">
                  <c:v>-0.0015719412467976382</c:v>
                </c:pt>
                <c:pt idx="9">
                  <c:v>-0.1890995088691267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5144655962087361</c:v>
                </c:pt>
                <c:pt idx="1">
                  <c:v>-0.009987751717379173</c:v>
                </c:pt>
                <c:pt idx="2">
                  <c:v>0.007346464786505816</c:v>
                </c:pt>
                <c:pt idx="3">
                  <c:v>0.00200529488280303</c:v>
                </c:pt>
                <c:pt idx="4">
                  <c:v>-0.00575009776072237</c:v>
                </c:pt>
                <c:pt idx="5">
                  <c:v>-0.0017332386977646358</c:v>
                </c:pt>
                <c:pt idx="6">
                  <c:v>0.038890459916577545</c:v>
                </c:pt>
                <c:pt idx="7">
                  <c:v>-0.18223420890308784</c:v>
                </c:pt>
                <c:pt idx="8">
                  <c:v>0.0026536615079932914</c:v>
                </c:pt>
                <c:pt idx="9">
                  <c:v>0.1336647600229869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0496812156791</c:v>
                </c:pt>
                <c:pt idx="1">
                  <c:v>-0.0011996772703298658</c:v>
                </c:pt>
                <c:pt idx="2">
                  <c:v>0.022589587215027726</c:v>
                </c:pt>
                <c:pt idx="3">
                  <c:v>-0.018565241991572654</c:v>
                </c:pt>
                <c:pt idx="4">
                  <c:v>0.0014600516144281928</c:v>
                </c:pt>
                <c:pt idx="5">
                  <c:v>-0.0030228906594596677</c:v>
                </c:pt>
                <c:pt idx="6">
                  <c:v>-0.007049576882576819</c:v>
                </c:pt>
                <c:pt idx="7">
                  <c:v>-0.006485549474439349</c:v>
                </c:pt>
                <c:pt idx="8">
                  <c:v>0.0019524582305287738</c:v>
                </c:pt>
                <c:pt idx="9">
                  <c:v>-0.0101531637676348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944166215820482</c:v>
                </c:pt>
                <c:pt idx="1">
                  <c:v>0.11971331146108907</c:v>
                </c:pt>
                <c:pt idx="2">
                  <c:v>0.11690400202508525</c:v>
                </c:pt>
                <c:pt idx="3">
                  <c:v>0.08213507517136291</c:v>
                </c:pt>
                <c:pt idx="4">
                  <c:v>0.06712561981009862</c:v>
                </c:pt>
                <c:pt idx="5">
                  <c:v>0.04381728569088662</c:v>
                </c:pt>
                <c:pt idx="6">
                  <c:v>0.03667985288351293</c:v>
                </c:pt>
                <c:pt idx="7">
                  <c:v>0.03465476763635822</c:v>
                </c:pt>
                <c:pt idx="8">
                  <c:v>0.01895539352667603</c:v>
                </c:pt>
                <c:pt idx="9">
                  <c:v>0.3505730296367255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7880474302168876</c:v>
                </c:pt>
                <c:pt idx="1">
                  <c:v>-0.0004232511960448604</c:v>
                </c:pt>
                <c:pt idx="2">
                  <c:v>0.004746820406292415</c:v>
                </c:pt>
                <c:pt idx="3">
                  <c:v>0.0038655276867901045</c:v>
                </c:pt>
                <c:pt idx="4">
                  <c:v>-0.0014852107161964917</c:v>
                </c:pt>
                <c:pt idx="5">
                  <c:v>-0.005758774054638378</c:v>
                </c:pt>
                <c:pt idx="6">
                  <c:v>0.009934302698541283</c:v>
                </c:pt>
                <c:pt idx="7">
                  <c:v>-0.0055973284225531925</c:v>
                </c:pt>
                <c:pt idx="8">
                  <c:v>-0.0850966550017379</c:v>
                </c:pt>
                <c:pt idx="9">
                  <c:v>0.001009825577858235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373370128999915</c:v>
                </c:pt>
                <c:pt idx="1">
                  <c:v>0.11690400202508525</c:v>
                </c:pt>
                <c:pt idx="2">
                  <c:v>0.08213507517136291</c:v>
                </c:pt>
                <c:pt idx="3">
                  <c:v>0.06712561981009862</c:v>
                </c:pt>
                <c:pt idx="4">
                  <c:v>0.04381728569088662</c:v>
                </c:pt>
                <c:pt idx="5">
                  <c:v>0.03465476763635822</c:v>
                </c:pt>
                <c:pt idx="6">
                  <c:v>0.03265946305460285</c:v>
                </c:pt>
                <c:pt idx="7">
                  <c:v>0.01895539352667603</c:v>
                </c:pt>
                <c:pt idx="8">
                  <c:v>0.016136157202205754</c:v>
                </c:pt>
                <c:pt idx="9">
                  <c:v>0.46387853459272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2670279848126859</c:v>
                </c:pt>
                <c:pt idx="1">
                  <c:v>-0.007782436958074512</c:v>
                </c:pt>
                <c:pt idx="2">
                  <c:v>0.016021740278037863</c:v>
                </c:pt>
                <c:pt idx="3">
                  <c:v>0.0033845231705360856</c:v>
                </c:pt>
                <c:pt idx="4">
                  <c:v>0.00411296372305632</c:v>
                </c:pt>
                <c:pt idx="5">
                  <c:v>0.001879316490183823</c:v>
                </c:pt>
                <c:pt idx="6">
                  <c:v>0.004396025803057049</c:v>
                </c:pt>
                <c:pt idx="7">
                  <c:v>-0.005850348354283608</c:v>
                </c:pt>
                <c:pt idx="8">
                  <c:v>-0.14256239734252563</c:v>
                </c:pt>
                <c:pt idx="9">
                  <c:v>-0.000302185291255977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770268202913829</c:v>
                </c:pt>
                <c:pt idx="1">
                  <c:v>0.09969391505610266</c:v>
                </c:pt>
                <c:pt idx="2">
                  <c:v>0.08102982110897794</c:v>
                </c:pt>
                <c:pt idx="3">
                  <c:v>0.039662845672071984</c:v>
                </c:pt>
                <c:pt idx="4">
                  <c:v>0.03948158823344874</c:v>
                </c:pt>
                <c:pt idx="5">
                  <c:v>0.03662678357513256</c:v>
                </c:pt>
                <c:pt idx="6">
                  <c:v>0.02804765211585139</c:v>
                </c:pt>
                <c:pt idx="7">
                  <c:v>0.027638273670071958</c:v>
                </c:pt>
                <c:pt idx="8">
                  <c:v>0.027548032252979613</c:v>
                </c:pt>
                <c:pt idx="9">
                  <c:v>0.34324426802398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05787934154137392</c:v>
                </c:pt>
                <c:pt idx="1">
                  <c:v>0.016021740278037863</c:v>
                </c:pt>
                <c:pt idx="2">
                  <c:v>0.0033845231705360856</c:v>
                </c:pt>
                <c:pt idx="3">
                  <c:v>0.00411296372305632</c:v>
                </c:pt>
                <c:pt idx="4">
                  <c:v>0.001879316490183823</c:v>
                </c:pt>
                <c:pt idx="5">
                  <c:v>-0.005850348354283608</c:v>
                </c:pt>
                <c:pt idx="6">
                  <c:v>-0.003965204570431209</c:v>
                </c:pt>
                <c:pt idx="7">
                  <c:v>-0.14256239734252563</c:v>
                </c:pt>
                <c:pt idx="8">
                  <c:v>0.015454964692504633</c:v>
                </c:pt>
                <c:pt idx="9">
                  <c:v>0.11094564849750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636939385912407</c:v>
                </c:pt>
                <c:pt idx="1">
                  <c:v>-0.005615609376409744</c:v>
                </c:pt>
                <c:pt idx="2">
                  <c:v>0.014310012515536819</c:v>
                </c:pt>
                <c:pt idx="3">
                  <c:v>-0.014119638224124695</c:v>
                </c:pt>
                <c:pt idx="4">
                  <c:v>0.003855959988704062</c:v>
                </c:pt>
                <c:pt idx="5">
                  <c:v>0.0016134849983241162</c:v>
                </c:pt>
                <c:pt idx="6">
                  <c:v>-0.006647910722794768</c:v>
                </c:pt>
                <c:pt idx="7">
                  <c:v>0.001074743045728646</c:v>
                </c:pt>
                <c:pt idx="8">
                  <c:v>-0.00030682953476043537</c:v>
                </c:pt>
                <c:pt idx="9">
                  <c:v>-0.020523108025217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7927661392495223</c:v>
                </c:pt>
                <c:pt idx="1">
                  <c:v>0.013700165403231282</c:v>
                </c:pt>
                <c:pt idx="2">
                  <c:v>-0.0012396617811370608</c:v>
                </c:pt>
                <c:pt idx="3">
                  <c:v>0.0016134849983241162</c:v>
                </c:pt>
                <c:pt idx="4">
                  <c:v>-0.006647910722794768</c:v>
                </c:pt>
                <c:pt idx="5">
                  <c:v>-0.002004059869521249</c:v>
                </c:pt>
                <c:pt idx="6">
                  <c:v>-0.00030682953476043537</c:v>
                </c:pt>
                <c:pt idx="7">
                  <c:v>-1.1113554782046786e-05</c:v>
                </c:pt>
                <c:pt idx="8">
                  <c:v>-0.004375947595272687</c:v>
                </c:pt>
                <c:pt idx="9">
                  <c:v>-0.0286537567633738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573836620887913</c:v>
                </c:pt>
                <c:pt idx="1">
                  <c:v>0.2194669749980537</c:v>
                </c:pt>
                <c:pt idx="2">
                  <c:v>0.09316836450767417</c:v>
                </c:pt>
                <c:pt idx="3">
                  <c:v>0.09244463154495362</c:v>
                </c:pt>
                <c:pt idx="4">
                  <c:v>0.06395088996087228</c:v>
                </c:pt>
                <c:pt idx="5">
                  <c:v>0.047890361664643485</c:v>
                </c:pt>
                <c:pt idx="6">
                  <c:v>0.03575413839734958</c:v>
                </c:pt>
                <c:pt idx="7">
                  <c:v>0.03480838376877453</c:v>
                </c:pt>
                <c:pt idx="8">
                  <c:v>0.024765507636680287</c:v>
                </c:pt>
                <c:pt idx="9">
                  <c:v>0.16201238131211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0138236324386808</c:v>
                </c:pt>
                <c:pt idx="1">
                  <c:v>0.12349721157150473</c:v>
                </c:pt>
                <c:pt idx="2">
                  <c:v>0.002039510503143105</c:v>
                </c:pt>
                <c:pt idx="3">
                  <c:v>0.005083203378062326</c:v>
                </c:pt>
                <c:pt idx="4">
                  <c:v>-0.008807699565585227</c:v>
                </c:pt>
                <c:pt idx="5">
                  <c:v>-0.010213568750688809</c:v>
                </c:pt>
                <c:pt idx="6">
                  <c:v>0.008406932890158536</c:v>
                </c:pt>
                <c:pt idx="7">
                  <c:v>-0.0020118584134695347</c:v>
                </c:pt>
                <c:pt idx="8">
                  <c:v>0.01082900615050749</c:v>
                </c:pt>
                <c:pt idx="9">
                  <c:v>-0.1589609740880194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573836620887913</c:v>
                </c:pt>
                <c:pt idx="1">
                  <c:v>0.11352803960635847</c:v>
                </c:pt>
                <c:pt idx="2">
                  <c:v>0.09244463154495362</c:v>
                </c:pt>
                <c:pt idx="3">
                  <c:v>0.06395088996087228</c:v>
                </c:pt>
                <c:pt idx="4">
                  <c:v>0.047890361664643485</c:v>
                </c:pt>
                <c:pt idx="5">
                  <c:v>0.03480838376877453</c:v>
                </c:pt>
                <c:pt idx="6">
                  <c:v>0.024765507636680287</c:v>
                </c:pt>
                <c:pt idx="7">
                  <c:v>0.023793802423784576</c:v>
                </c:pt>
                <c:pt idx="8">
                  <c:v>0.015394463298665275</c:v>
                </c:pt>
                <c:pt idx="9">
                  <c:v>0.357685553886388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6789640531528927</c:v>
                </c:pt>
                <c:pt idx="1">
                  <c:v>0.21414709978970267</c:v>
                </c:pt>
                <c:pt idx="2">
                  <c:v>-0.007816520863828308</c:v>
                </c:pt>
                <c:pt idx="3">
                  <c:v>0.00873066307262084</c:v>
                </c:pt>
                <c:pt idx="4">
                  <c:v>-0.00047241238064567315</c:v>
                </c:pt>
                <c:pt idx="5">
                  <c:v>0.0030179227401599534</c:v>
                </c:pt>
                <c:pt idx="6">
                  <c:v>0.0004703559016711739</c:v>
                </c:pt>
                <c:pt idx="7">
                  <c:v>-0.005604634339410865</c:v>
                </c:pt>
                <c:pt idx="8">
                  <c:v>0.024206469902921364</c:v>
                </c:pt>
                <c:pt idx="9">
                  <c:v>-0.253468584354720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6789640531528927</c:v>
                </c:pt>
                <c:pt idx="1">
                  <c:v>-0.0031279357856763973</c:v>
                </c:pt>
                <c:pt idx="2">
                  <c:v>0.00873066307262084</c:v>
                </c:pt>
                <c:pt idx="3">
                  <c:v>-0.00047241238064567315</c:v>
                </c:pt>
                <c:pt idx="4">
                  <c:v>0.0030179227401599534</c:v>
                </c:pt>
                <c:pt idx="5">
                  <c:v>-0.005604634339410865</c:v>
                </c:pt>
                <c:pt idx="6">
                  <c:v>0.024206469902921364</c:v>
                </c:pt>
                <c:pt idx="7">
                  <c:v>-0.22563749905212657</c:v>
                </c:pt>
                <c:pt idx="8">
                  <c:v>-0.0042182291764807315</c:v>
                </c:pt>
                <c:pt idx="9">
                  <c:v>0.1863160144871091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9166823751178133</c:v>
                </c:pt>
                <c:pt idx="1">
                  <c:v>0.09810556079170593</c:v>
                </c:pt>
                <c:pt idx="2">
                  <c:v>0.07288407163053723</c:v>
                </c:pt>
                <c:pt idx="3">
                  <c:v>0.07063147973609803</c:v>
                </c:pt>
                <c:pt idx="4">
                  <c:v>0.06399622997172479</c:v>
                </c:pt>
                <c:pt idx="5">
                  <c:v>0.052563619227144205</c:v>
                </c:pt>
                <c:pt idx="6">
                  <c:v>0.05158341187558907</c:v>
                </c:pt>
                <c:pt idx="7">
                  <c:v>0.032818096135721016</c:v>
                </c:pt>
                <c:pt idx="8">
                  <c:v>0.02646559849198869</c:v>
                </c:pt>
                <c:pt idx="9">
                  <c:v>0.339283694627709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109037104484407</c:v>
                </c:pt>
                <c:pt idx="1">
                  <c:v>0.004417339760596231</c:v>
                </c:pt>
                <c:pt idx="2">
                  <c:v>0.0034107024918816273</c:v>
                </c:pt>
                <c:pt idx="3">
                  <c:v>-0.013972830401983702</c:v>
                </c:pt>
                <c:pt idx="4">
                  <c:v>-0.017678634019744538</c:v>
                </c:pt>
                <c:pt idx="5">
                  <c:v>0.010821425680688578</c:v>
                </c:pt>
                <c:pt idx="6">
                  <c:v>-0.005155263052129336</c:v>
                </c:pt>
                <c:pt idx="7">
                  <c:v>0.024948782153425903</c:v>
                </c:pt>
                <c:pt idx="8">
                  <c:v>0.0081146306274344</c:v>
                </c:pt>
                <c:pt idx="9">
                  <c:v>-0.1257214567810835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09723845428840716</c:v>
                </c:pt>
                <c:pt idx="1">
                  <c:v>0.07288407163053723</c:v>
                </c:pt>
                <c:pt idx="2">
                  <c:v>0.07063147973609803</c:v>
                </c:pt>
                <c:pt idx="3">
                  <c:v>0.06399622997172479</c:v>
                </c:pt>
                <c:pt idx="4">
                  <c:v>0.052563619227144205</c:v>
                </c:pt>
                <c:pt idx="5">
                  <c:v>0.05158341187558907</c:v>
                </c:pt>
                <c:pt idx="6">
                  <c:v>0.032818096135721016</c:v>
                </c:pt>
                <c:pt idx="7">
                  <c:v>0.027332704995287466</c:v>
                </c:pt>
                <c:pt idx="8">
                  <c:v>0.024363807728557965</c:v>
                </c:pt>
                <c:pt idx="9">
                  <c:v>0.5065881244109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858796184322727</c:v>
                </c:pt>
                <c:pt idx="1">
                  <c:v>0.004606978131876743</c:v>
                </c:pt>
                <c:pt idx="2">
                  <c:v>0.02377713354399233</c:v>
                </c:pt>
                <c:pt idx="3">
                  <c:v>-0.03213256294006038</c:v>
                </c:pt>
                <c:pt idx="4">
                  <c:v>-0.014218930522555392</c:v>
                </c:pt>
                <c:pt idx="5">
                  <c:v>0.009603075408857305</c:v>
                </c:pt>
                <c:pt idx="6">
                  <c:v>-0.016614043333709416</c:v>
                </c:pt>
                <c:pt idx="7">
                  <c:v>0.027919328166691505</c:v>
                </c:pt>
                <c:pt idx="8">
                  <c:v>0.0006323951197281935</c:v>
                </c:pt>
                <c:pt idx="9">
                  <c:v>-0.1894529920070934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4259614642945872</c:v>
                </c:pt>
                <c:pt idx="1">
                  <c:v>0.02377713354399233</c:v>
                </c:pt>
                <c:pt idx="2">
                  <c:v>-0.03213256294006038</c:v>
                </c:pt>
                <c:pt idx="3">
                  <c:v>-0.014218930522555392</c:v>
                </c:pt>
                <c:pt idx="4">
                  <c:v>0.009603075408857305</c:v>
                </c:pt>
                <c:pt idx="5">
                  <c:v>-0.016614043333709416</c:v>
                </c:pt>
                <c:pt idx="6">
                  <c:v>0.027864285829960835</c:v>
                </c:pt>
                <c:pt idx="7">
                  <c:v>0.009498987894550816</c:v>
                </c:pt>
                <c:pt idx="8">
                  <c:v>-0.1704860642980091</c:v>
                </c:pt>
                <c:pt idx="9">
                  <c:v>0.166967733059918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3294682723575216</c:v>
                </c:pt>
                <c:pt idx="1">
                  <c:v>0.10688252667588181</c:v>
                </c:pt>
                <c:pt idx="2">
                  <c:v>0.07886912161019899</c:v>
                </c:pt>
                <c:pt idx="3">
                  <c:v>0.06431050428106883</c:v>
                </c:pt>
                <c:pt idx="4">
                  <c:v>0.06049185055539534</c:v>
                </c:pt>
                <c:pt idx="5">
                  <c:v>0.037689316719537784</c:v>
                </c:pt>
                <c:pt idx="6">
                  <c:v>0.029186845533467915</c:v>
                </c:pt>
                <c:pt idx="7">
                  <c:v>0.027148241330959933</c:v>
                </c:pt>
                <c:pt idx="8">
                  <c:v>0.0161298342266729</c:v>
                </c:pt>
                <c:pt idx="9">
                  <c:v>0.446344931831064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3267650725966024</c:v>
                </c:pt>
                <c:pt idx="1">
                  <c:v>0.06429689623817693</c:v>
                </c:pt>
                <c:pt idx="2">
                  <c:v>0.009778509915241596</c:v>
                </c:pt>
                <c:pt idx="3">
                  <c:v>0.0002865381653959012</c:v>
                </c:pt>
                <c:pt idx="4">
                  <c:v>-0.0032799442539631074</c:v>
                </c:pt>
                <c:pt idx="5">
                  <c:v>-0.00688897914966876</c:v>
                </c:pt>
                <c:pt idx="6">
                  <c:v>-0.0012577188851743935</c:v>
                </c:pt>
                <c:pt idx="7">
                  <c:v>0.008201056730984393</c:v>
                </c:pt>
                <c:pt idx="8">
                  <c:v>0.009252228690345622</c:v>
                </c:pt>
                <c:pt idx="9">
                  <c:v>-0.057069297613909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2016825942978748</c:v>
                </c:pt>
                <c:pt idx="1">
                  <c:v>0.07886912161019899</c:v>
                </c:pt>
                <c:pt idx="2">
                  <c:v>0.06431050428106883</c:v>
                </c:pt>
                <c:pt idx="3">
                  <c:v>0.06049185055539534</c:v>
                </c:pt>
                <c:pt idx="4">
                  <c:v>0.03992680913692459</c:v>
                </c:pt>
                <c:pt idx="5">
                  <c:v>0.037689316719537784</c:v>
                </c:pt>
                <c:pt idx="6">
                  <c:v>0.029186845533467915</c:v>
                </c:pt>
                <c:pt idx="7">
                  <c:v>0.0161298342266729</c:v>
                </c:pt>
                <c:pt idx="8">
                  <c:v>0.015205004027486351</c:v>
                </c:pt>
                <c:pt idx="9">
                  <c:v>0.53802245447945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579730120445092</c:v>
                </c:pt>
                <c:pt idx="1">
                  <c:v>0.10349509601515361</c:v>
                </c:pt>
                <c:pt idx="2">
                  <c:v>0.018361365469360735</c:v>
                </c:pt>
                <c:pt idx="3">
                  <c:v>0.006607684110621917</c:v>
                </c:pt>
                <c:pt idx="4">
                  <c:v>0.006884416130855289</c:v>
                </c:pt>
                <c:pt idx="5">
                  <c:v>-0.011329851836502688</c:v>
                </c:pt>
                <c:pt idx="6">
                  <c:v>0.0025085887160396746</c:v>
                </c:pt>
                <c:pt idx="7">
                  <c:v>0.006223239762704998</c:v>
                </c:pt>
                <c:pt idx="8">
                  <c:v>0.01522472709245716</c:v>
                </c:pt>
                <c:pt idx="9">
                  <c:v>-0.153992018943653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756952657977539</c:v>
                </c:pt>
                <c:pt idx="1">
                  <c:v>0.018361365469360735</c:v>
                </c:pt>
                <c:pt idx="2">
                  <c:v>0.006607684110621917</c:v>
                </c:pt>
                <c:pt idx="3">
                  <c:v>0.006884416130855289</c:v>
                </c:pt>
                <c:pt idx="4">
                  <c:v>-0.012766556696625311</c:v>
                </c:pt>
                <c:pt idx="5">
                  <c:v>-0.011329851836502688</c:v>
                </c:pt>
                <c:pt idx="6">
                  <c:v>0.0025085887160396746</c:v>
                </c:pt>
                <c:pt idx="7">
                  <c:v>0.01522472709245716</c:v>
                </c:pt>
                <c:pt idx="8">
                  <c:v>-0.11256744666209774</c:v>
                </c:pt>
                <c:pt idx="9">
                  <c:v>0.062070523733597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8385236830060073</c:v>
                </c:pt>
                <c:pt idx="1">
                  <c:v>0.10361588661084292</c:v>
                </c:pt>
                <c:pt idx="2">
                  <c:v>0.08364717943626779</c:v>
                </c:pt>
                <c:pt idx="3">
                  <c:v>0.06635423303496553</c:v>
                </c:pt>
                <c:pt idx="4">
                  <c:v>0.05075357290818052</c:v>
                </c:pt>
                <c:pt idx="5">
                  <c:v>0.04879617778071018</c:v>
                </c:pt>
                <c:pt idx="6">
                  <c:v>0.0477999108118998</c:v>
                </c:pt>
                <c:pt idx="7">
                  <c:v>0.03478539056345855</c:v>
                </c:pt>
                <c:pt idx="8">
                  <c:v>0.033420305936705655</c:v>
                </c:pt>
                <c:pt idx="9">
                  <c:v>0.246974974616368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671889677822283</c:v>
                </c:pt>
                <c:pt idx="1">
                  <c:v>0.03569852158157538</c:v>
                </c:pt>
                <c:pt idx="2">
                  <c:v>0.03216735585446082</c:v>
                </c:pt>
                <c:pt idx="3">
                  <c:v>0.03199038601032804</c:v>
                </c:pt>
                <c:pt idx="4">
                  <c:v>0.02963010215892921</c:v>
                </c:pt>
                <c:pt idx="5">
                  <c:v>0.024839569634032537</c:v>
                </c:pt>
                <c:pt idx="6">
                  <c:v>0.017683608785523868</c:v>
                </c:pt>
                <c:pt idx="7">
                  <c:v>0.015345960611862948</c:v>
                </c:pt>
                <c:pt idx="8">
                  <c:v>0.013185282282334808</c:v>
                </c:pt>
                <c:pt idx="9">
                  <c:v>0.032270245298724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1765249912234386</c:v>
                </c:pt>
                <c:pt idx="1">
                  <c:v>-0.009522325021696663</c:v>
                </c:pt>
                <c:pt idx="2">
                  <c:v>0.0027141232950245037</c:v>
                </c:pt>
                <c:pt idx="3">
                  <c:v>0.02039015492038023</c:v>
                </c:pt>
                <c:pt idx="4">
                  <c:v>0.0007273120916694298</c:v>
                </c:pt>
                <c:pt idx="5">
                  <c:v>0.0026799638656325384</c:v>
                </c:pt>
                <c:pt idx="6">
                  <c:v>0.0064646769306532</c:v>
                </c:pt>
                <c:pt idx="7">
                  <c:v>0.001717588105001399</c:v>
                </c:pt>
                <c:pt idx="8">
                  <c:v>0.0076734675781301165</c:v>
                </c:pt>
                <c:pt idx="9">
                  <c:v>-0.01107971185256029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671889677822283</c:v>
                </c:pt>
                <c:pt idx="1">
                  <c:v>0.033651021640736814</c:v>
                </c:pt>
                <c:pt idx="2">
                  <c:v>0.03199038601032804</c:v>
                </c:pt>
                <c:pt idx="3">
                  <c:v>0.02963010215892921</c:v>
                </c:pt>
                <c:pt idx="4">
                  <c:v>0.024839569634032537</c:v>
                </c:pt>
                <c:pt idx="5">
                  <c:v>0.022994761898392557</c:v>
                </c:pt>
                <c:pt idx="6">
                  <c:v>0.015345960611862948</c:v>
                </c:pt>
                <c:pt idx="7">
                  <c:v>0.013185282282334808</c:v>
                </c:pt>
                <c:pt idx="8">
                  <c:v>0.061173947981154775</c:v>
                </c:pt>
                <c:pt idx="9">
                  <c:v>0.0100831655377979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2020254443899</c:v>
                </c:pt>
                <c:pt idx="1">
                  <c:v>-0.0011847596190010037</c:v>
                </c:pt>
                <c:pt idx="2">
                  <c:v>0.005214134752995248</c:v>
                </c:pt>
                <c:pt idx="3">
                  <c:v>0.004488189405400616</c:v>
                </c:pt>
                <c:pt idx="4">
                  <c:v>0.006921776147612298</c:v>
                </c:pt>
                <c:pt idx="5">
                  <c:v>0.008730899195063008</c:v>
                </c:pt>
                <c:pt idx="6">
                  <c:v>0.009943827391646246</c:v>
                </c:pt>
                <c:pt idx="7">
                  <c:v>0.004660268417718218</c:v>
                </c:pt>
                <c:pt idx="8">
                  <c:v>-0.013522621980836036</c:v>
                </c:pt>
                <c:pt idx="9">
                  <c:v>0.00676854073330038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2020254443899</c:v>
                </c:pt>
                <c:pt idx="1">
                  <c:v>0.006015271456222</c:v>
                </c:pt>
                <c:pt idx="2">
                  <c:v>0.004488189405400616</c:v>
                </c:pt>
                <c:pt idx="3">
                  <c:v>0.006921776147612298</c:v>
                </c:pt>
                <c:pt idx="4">
                  <c:v>0.008730899195063008</c:v>
                </c:pt>
                <c:pt idx="5">
                  <c:v>-0.0062204350931373345</c:v>
                </c:pt>
                <c:pt idx="6">
                  <c:v>0.004660268417718218</c:v>
                </c:pt>
                <c:pt idx="7">
                  <c:v>-0.013522621980836036</c:v>
                </c:pt>
                <c:pt idx="8">
                  <c:v>0.020946906895856203</c:v>
                </c:pt>
                <c:pt idx="9">
                  <c:v>0.0081150075228259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326190351217315</c:v>
                </c:pt>
                <c:pt idx="1">
                  <c:v>0.05153377141667076</c:v>
                </c:pt>
                <c:pt idx="2">
                  <c:v>0.04317113187708156</c:v>
                </c:pt>
                <c:pt idx="3">
                  <c:v>0.04304922257421652</c:v>
                </c:pt>
                <c:pt idx="4">
                  <c:v>0.022057117894761794</c:v>
                </c:pt>
                <c:pt idx="5">
                  <c:v>0.018337190972616123</c:v>
                </c:pt>
                <c:pt idx="6">
                  <c:v>0.0172891096049292</c:v>
                </c:pt>
                <c:pt idx="7">
                  <c:v>0.01704021144491308</c:v>
                </c:pt>
                <c:pt idx="8">
                  <c:v>0.013604739562785831</c:v>
                </c:pt>
                <c:pt idx="9">
                  <c:v>0.0412984695302936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9196234980111266</c:v>
                </c:pt>
                <c:pt idx="1">
                  <c:v>-0.016098800953519503</c:v>
                </c:pt>
                <c:pt idx="2">
                  <c:v>0.009403257982689088</c:v>
                </c:pt>
                <c:pt idx="3">
                  <c:v>0.01935631409360073</c:v>
                </c:pt>
                <c:pt idx="4">
                  <c:v>0.002310674441286926</c:v>
                </c:pt>
                <c:pt idx="5">
                  <c:v>0.00102248329536995</c:v>
                </c:pt>
                <c:pt idx="6">
                  <c:v>-0.0016857179817521863</c:v>
                </c:pt>
                <c:pt idx="7">
                  <c:v>0.008863471289794377</c:v>
                </c:pt>
                <c:pt idx="8">
                  <c:v>0.003906374215245392</c:v>
                </c:pt>
                <c:pt idx="9">
                  <c:v>0.01211817859739648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326190351217315</c:v>
                </c:pt>
                <c:pt idx="1">
                  <c:v>0.045876841126780595</c:v>
                </c:pt>
                <c:pt idx="2">
                  <c:v>0.04317113187708156</c:v>
                </c:pt>
                <c:pt idx="3">
                  <c:v>0.028460742664700316</c:v>
                </c:pt>
                <c:pt idx="4">
                  <c:v>0.022057117894761794</c:v>
                </c:pt>
                <c:pt idx="5">
                  <c:v>0.018337190972616123</c:v>
                </c:pt>
                <c:pt idx="6">
                  <c:v>0.01770393987162273</c:v>
                </c:pt>
                <c:pt idx="7">
                  <c:v>0.0172891096049292</c:v>
                </c:pt>
                <c:pt idx="8">
                  <c:v>0.01704021144491308</c:v>
                </c:pt>
                <c:pt idx="9">
                  <c:v>0.057444679420863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8631268940540355</c:v>
                </c:pt>
                <c:pt idx="1">
                  <c:v>-0.0064676582965426666</c:v>
                </c:pt>
                <c:pt idx="2">
                  <c:v>0.01299698486483468</c:v>
                </c:pt>
                <c:pt idx="3">
                  <c:v>-0.0019941900717954236</c:v>
                </c:pt>
                <c:pt idx="4">
                  <c:v>0.004525756043283181</c:v>
                </c:pt>
                <c:pt idx="5">
                  <c:v>0.005003129544590765</c:v>
                </c:pt>
                <c:pt idx="6">
                  <c:v>0.0002281134721048711</c:v>
                </c:pt>
                <c:pt idx="7">
                  <c:v>0.0010105448957344228</c:v>
                </c:pt>
                <c:pt idx="8">
                  <c:v>0.004858915765010822</c:v>
                </c:pt>
                <c:pt idx="9">
                  <c:v>0.00846967272331979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8631268940540355</c:v>
                </c:pt>
                <c:pt idx="1">
                  <c:v>-0.0014439358826366516</c:v>
                </c:pt>
                <c:pt idx="2">
                  <c:v>0.01299698486483468</c:v>
                </c:pt>
                <c:pt idx="3">
                  <c:v>-0.01682095551688319</c:v>
                </c:pt>
                <c:pt idx="4">
                  <c:v>0.004525756043283181</c:v>
                </c:pt>
                <c:pt idx="5">
                  <c:v>0.005003129544590765</c:v>
                </c:pt>
                <c:pt idx="6">
                  <c:v>0.005066118992845533</c:v>
                </c:pt>
                <c:pt idx="7">
                  <c:v>0.0002281134721048711</c:v>
                </c:pt>
                <c:pt idx="8">
                  <c:v>0.0010105448957344228</c:v>
                </c:pt>
                <c:pt idx="9">
                  <c:v>0.0198030112235428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377496128368424</c:v>
                </c:pt>
                <c:pt idx="1">
                  <c:v>0.05960950482932339</c:v>
                </c:pt>
                <c:pt idx="2">
                  <c:v>0.03917734901684657</c:v>
                </c:pt>
                <c:pt idx="3">
                  <c:v>0.034705326401069596</c:v>
                </c:pt>
                <c:pt idx="4">
                  <c:v>0.019198891843692962</c:v>
                </c:pt>
                <c:pt idx="5">
                  <c:v>0.018555540886315485</c:v>
                </c:pt>
                <c:pt idx="6">
                  <c:v>0.018233865407626747</c:v>
                </c:pt>
                <c:pt idx="7">
                  <c:v>0.018029543849501978</c:v>
                </c:pt>
                <c:pt idx="8">
                  <c:v>0.016229418532279664</c:v>
                </c:pt>
                <c:pt idx="9">
                  <c:v>0.03851094639650117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4110298345166536</c:v>
                </c:pt>
                <c:pt idx="1">
                  <c:v>0.016008501049049842</c:v>
                </c:pt>
                <c:pt idx="2">
                  <c:v>-0.00618036512999897</c:v>
                </c:pt>
                <c:pt idx="3">
                  <c:v>0.0038742573594033117</c:v>
                </c:pt>
                <c:pt idx="4">
                  <c:v>0.005178277792318624</c:v>
                </c:pt>
                <c:pt idx="5">
                  <c:v>0.0002286231975708597</c:v>
                </c:pt>
                <c:pt idx="6">
                  <c:v>0.0036123995148941296</c:v>
                </c:pt>
                <c:pt idx="7">
                  <c:v>-0.003387475250939083</c:v>
                </c:pt>
                <c:pt idx="8">
                  <c:v>0.002070636218660155</c:v>
                </c:pt>
                <c:pt idx="9">
                  <c:v>0.00270544359420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7377496128368424</c:v>
                </c:pt>
                <c:pt idx="1">
                  <c:v>0.06348008860221002</c:v>
                </c:pt>
                <c:pt idx="2">
                  <c:v>0.034705326401069596</c:v>
                </c:pt>
                <c:pt idx="3">
                  <c:v>0.03011594986472865</c:v>
                </c:pt>
                <c:pt idx="4">
                  <c:v>0.019198891843692962</c:v>
                </c:pt>
                <c:pt idx="5">
                  <c:v>0.018555540886315485</c:v>
                </c:pt>
                <c:pt idx="6">
                  <c:v>0.018233865407626747</c:v>
                </c:pt>
                <c:pt idx="7">
                  <c:v>0.018029543849501978</c:v>
                </c:pt>
                <c:pt idx="8">
                  <c:v>0.016229418532279664</c:v>
                </c:pt>
                <c:pt idx="9">
                  <c:v>0.043701761775732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9651142882041284</c:v>
                </c:pt>
                <c:pt idx="1">
                  <c:v>0.0038069597230007274</c:v>
                </c:pt>
                <c:pt idx="2">
                  <c:v>-0.0038106445253177704</c:v>
                </c:pt>
                <c:pt idx="3">
                  <c:v>0.002175880675582928</c:v>
                </c:pt>
                <c:pt idx="4">
                  <c:v>0.009227793078218183</c:v>
                </c:pt>
                <c:pt idx="5">
                  <c:v>-0.002825668471323463</c:v>
                </c:pt>
                <c:pt idx="6">
                  <c:v>0.010627413103306428</c:v>
                </c:pt>
                <c:pt idx="7">
                  <c:v>-0.007498439528831086</c:v>
                </c:pt>
                <c:pt idx="8">
                  <c:v>0.0009344081437378284</c:v>
                </c:pt>
                <c:pt idx="9">
                  <c:v>0.0071854306857762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9651142882041284</c:v>
                </c:pt>
                <c:pt idx="1">
                  <c:v>0.003854871237961126</c:v>
                </c:pt>
                <c:pt idx="2">
                  <c:v>0.002175880675582928</c:v>
                </c:pt>
                <c:pt idx="3">
                  <c:v>-0.00726810813133719</c:v>
                </c:pt>
                <c:pt idx="4">
                  <c:v>0.009227793078218183</c:v>
                </c:pt>
                <c:pt idx="5">
                  <c:v>-0.002825668471323463</c:v>
                </c:pt>
                <c:pt idx="6">
                  <c:v>0.010627413103306428</c:v>
                </c:pt>
                <c:pt idx="7">
                  <c:v>-0.007498439528831086</c:v>
                </c:pt>
                <c:pt idx="8">
                  <c:v>0.0009344081437378284</c:v>
                </c:pt>
                <c:pt idx="9">
                  <c:v>0.01059498277683527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72514893312724</c:v>
                </c:pt>
                <c:pt idx="1">
                  <c:v>0.07334165781960801</c:v>
                </c:pt>
                <c:pt idx="2">
                  <c:v>0.07048126165473918</c:v>
                </c:pt>
                <c:pt idx="3">
                  <c:v>0.04863773632648122</c:v>
                </c:pt>
                <c:pt idx="4">
                  <c:v>0.04793363880897504</c:v>
                </c:pt>
                <c:pt idx="5">
                  <c:v>0.03811477889687722</c:v>
                </c:pt>
                <c:pt idx="6">
                  <c:v>0.03558992920519492</c:v>
                </c:pt>
                <c:pt idx="7">
                  <c:v>0.019500200777807727</c:v>
                </c:pt>
                <c:pt idx="8">
                  <c:v>0.012618747696555972</c:v>
                </c:pt>
                <c:pt idx="9">
                  <c:v>0.03653055948248832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8164729164197784</c:v>
                </c:pt>
                <c:pt idx="1">
                  <c:v>0.04608192838583516</c:v>
                </c:pt>
                <c:pt idx="2">
                  <c:v>-0.023394689912557387</c:v>
                </c:pt>
                <c:pt idx="3">
                  <c:v>0.0131254747964301</c:v>
                </c:pt>
                <c:pt idx="4">
                  <c:v>-0.001231561087149606</c:v>
                </c:pt>
                <c:pt idx="5">
                  <c:v>0.01438601645028257</c:v>
                </c:pt>
                <c:pt idx="6">
                  <c:v>0.02090979772725451</c:v>
                </c:pt>
                <c:pt idx="7">
                  <c:v>0.0035251203255157806</c:v>
                </c:pt>
                <c:pt idx="8">
                  <c:v>-0.004157843455987938</c:v>
                </c:pt>
                <c:pt idx="9">
                  <c:v>-0.02107951406542541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72514893312724</c:v>
                </c:pt>
                <c:pt idx="1">
                  <c:v>0.0786443922483264</c:v>
                </c:pt>
                <c:pt idx="2">
                  <c:v>0.04863773632648122</c:v>
                </c:pt>
                <c:pt idx="3">
                  <c:v>0.04793363880897504</c:v>
                </c:pt>
                <c:pt idx="4">
                  <c:v>0.04764209843063264</c:v>
                </c:pt>
                <c:pt idx="5">
                  <c:v>0.03811477889687722</c:v>
                </c:pt>
                <c:pt idx="6">
                  <c:v>0.03558992920519492</c:v>
                </c:pt>
                <c:pt idx="7">
                  <c:v>0.019500200777807727</c:v>
                </c:pt>
                <c:pt idx="8">
                  <c:v>0.017767460793319874</c:v>
                </c:pt>
                <c:pt idx="9">
                  <c:v>0.0489182751811125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593962835096253</c:v>
                </c:pt>
                <c:pt idx="1">
                  <c:v>0.010006174222043307</c:v>
                </c:pt>
                <c:pt idx="2">
                  <c:v>-0.017437863297586162</c:v>
                </c:pt>
                <c:pt idx="3">
                  <c:v>0.02856964985760747</c:v>
                </c:pt>
                <c:pt idx="4">
                  <c:v>0.0008899382199282005</c:v>
                </c:pt>
                <c:pt idx="5">
                  <c:v>-0.00023683168242279867</c:v>
                </c:pt>
                <c:pt idx="6">
                  <c:v>0.012899148188418152</c:v>
                </c:pt>
                <c:pt idx="7">
                  <c:v>-0.00036070694760510086</c:v>
                </c:pt>
                <c:pt idx="8">
                  <c:v>0.002787174597774089</c:v>
                </c:pt>
                <c:pt idx="9">
                  <c:v>-0.01117705480719464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593962835096253</c:v>
                </c:pt>
                <c:pt idx="1">
                  <c:v>0.005138315789952844</c:v>
                </c:pt>
                <c:pt idx="2">
                  <c:v>0.02856964985760747</c:v>
                </c:pt>
                <c:pt idx="3">
                  <c:v>0.0008899382199282005</c:v>
                </c:pt>
                <c:pt idx="4">
                  <c:v>-0.023533217163805555</c:v>
                </c:pt>
                <c:pt idx="5">
                  <c:v>-0.00023683168242279867</c:v>
                </c:pt>
                <c:pt idx="6">
                  <c:v>0.012899148188418152</c:v>
                </c:pt>
                <c:pt idx="7">
                  <c:v>-0.00036070694760510086</c:v>
                </c:pt>
                <c:pt idx="8">
                  <c:v>0.0010236514354327216</c:v>
                </c:pt>
                <c:pt idx="9">
                  <c:v>0.001549680653456575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56634902240214</c:v>
                </c:pt>
                <c:pt idx="1">
                  <c:v>0.08580310231694999</c:v>
                </c:pt>
                <c:pt idx="2">
                  <c:v>0.07718990533313497</c:v>
                </c:pt>
                <c:pt idx="3">
                  <c:v>0.06389426126175506</c:v>
                </c:pt>
                <c:pt idx="4">
                  <c:v>0.04850012919795476</c:v>
                </c:pt>
                <c:pt idx="5">
                  <c:v>0.025745628802530715</c:v>
                </c:pt>
                <c:pt idx="6">
                  <c:v>0.01698365841626798</c:v>
                </c:pt>
                <c:pt idx="7">
                  <c:v>0.015777810838533878</c:v>
                </c:pt>
                <c:pt idx="8">
                  <c:v>0.01350705890643719</c:v>
                </c:pt>
                <c:pt idx="9">
                  <c:v>0.0369349547024140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7313185792385035</c:v>
                </c:pt>
                <c:pt idx="1">
                  <c:v>0.003528001977408435</c:v>
                </c:pt>
                <c:pt idx="2">
                  <c:v>0.033139245606836065</c:v>
                </c:pt>
                <c:pt idx="3">
                  <c:v>0.018440682593636105</c:v>
                </c:pt>
                <c:pt idx="4">
                  <c:v>0.021558840825083362</c:v>
                </c:pt>
                <c:pt idx="5">
                  <c:v>0.0019240811405209363</c:v>
                </c:pt>
                <c:pt idx="6">
                  <c:v>0.00485390697025702</c:v>
                </c:pt>
                <c:pt idx="7">
                  <c:v>-0.007320806111656801</c:v>
                </c:pt>
                <c:pt idx="8">
                  <c:v>0.006365151595928004</c:v>
                </c:pt>
                <c:pt idx="9">
                  <c:v>-0.0093572466741627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56634902240214</c:v>
                </c:pt>
                <c:pt idx="1">
                  <c:v>0.08727517598327474</c:v>
                </c:pt>
                <c:pt idx="2">
                  <c:v>0.08580310231694999</c:v>
                </c:pt>
                <c:pt idx="3">
                  <c:v>0.04850012919795476</c:v>
                </c:pt>
                <c:pt idx="4">
                  <c:v>0.038681084636405634</c:v>
                </c:pt>
                <c:pt idx="5">
                  <c:v>0.025745628802530715</c:v>
                </c:pt>
                <c:pt idx="6">
                  <c:v>0.02263704770928111</c:v>
                </c:pt>
                <c:pt idx="7">
                  <c:v>0.01698365841626798</c:v>
                </c:pt>
                <c:pt idx="8">
                  <c:v>0.015777810838533878</c:v>
                </c:pt>
                <c:pt idx="9">
                  <c:v>0.0429328718747797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5103100372773968</c:v>
                </c:pt>
                <c:pt idx="1">
                  <c:v>-0.003991630096684476</c:v>
                </c:pt>
                <c:pt idx="2">
                  <c:v>0.005319010230864368</c:v>
                </c:pt>
                <c:pt idx="3">
                  <c:v>0.019390359906419977</c:v>
                </c:pt>
                <c:pt idx="4">
                  <c:v>0.030116240675627143</c:v>
                </c:pt>
                <c:pt idx="5">
                  <c:v>-0.012045156855978116</c:v>
                </c:pt>
                <c:pt idx="6">
                  <c:v>-0.001715001987245359</c:v>
                </c:pt>
                <c:pt idx="7">
                  <c:v>-0.018762349816191633</c:v>
                </c:pt>
                <c:pt idx="8">
                  <c:v>-0.004295712296778326</c:v>
                </c:pt>
                <c:pt idx="9">
                  <c:v>0.0143137523948940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5103100372773968</c:v>
                </c:pt>
                <c:pt idx="1">
                  <c:v>0.010180278314402644</c:v>
                </c:pt>
                <c:pt idx="2">
                  <c:v>-0.003991630096684476</c:v>
                </c:pt>
                <c:pt idx="3">
                  <c:v>0.030116240675627143</c:v>
                </c:pt>
                <c:pt idx="4">
                  <c:v>0.005835849495757085</c:v>
                </c:pt>
                <c:pt idx="5">
                  <c:v>-0.012045156855978116</c:v>
                </c:pt>
                <c:pt idx="6">
                  <c:v>0.010978381494594581</c:v>
                </c:pt>
                <c:pt idx="7">
                  <c:v>-0.001715001987245359</c:v>
                </c:pt>
                <c:pt idx="8">
                  <c:v>-0.018762349816191633</c:v>
                </c:pt>
                <c:pt idx="9">
                  <c:v>0.00773290093064573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344373003356383</c:v>
                </c:pt>
                <c:pt idx="1">
                  <c:v>0.10563845417660776</c:v>
                </c:pt>
                <c:pt idx="2">
                  <c:v>0.06400043134241848</c:v>
                </c:pt>
                <c:pt idx="3">
                  <c:v>0.05476700769676628</c:v>
                </c:pt>
                <c:pt idx="4">
                  <c:v>0.03214848962756278</c:v>
                </c:pt>
                <c:pt idx="5">
                  <c:v>0.029830024128216535</c:v>
                </c:pt>
                <c:pt idx="6">
                  <c:v>0.025516599943386307</c:v>
                </c:pt>
                <c:pt idx="7">
                  <c:v>0.02201194279321175</c:v>
                </c:pt>
                <c:pt idx="8">
                  <c:v>0.014301697062827719</c:v>
                </c:pt>
                <c:pt idx="9">
                  <c:v>0.01734805289336406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521151946208614</c:v>
                </c:pt>
                <c:pt idx="1">
                  <c:v>0.0033690360201638347</c:v>
                </c:pt>
                <c:pt idx="2">
                  <c:v>-0.008946976024827046</c:v>
                </c:pt>
                <c:pt idx="3">
                  <c:v>-0.012388307340318441</c:v>
                </c:pt>
                <c:pt idx="4">
                  <c:v>-0.009369323179464248</c:v>
                </c:pt>
                <c:pt idx="5">
                  <c:v>0.00827936643488749</c:v>
                </c:pt>
                <c:pt idx="6">
                  <c:v>-0.0002090522227576018</c:v>
                </c:pt>
                <c:pt idx="7">
                  <c:v>0.006016944721276538</c:v>
                </c:pt>
                <c:pt idx="8">
                  <c:v>0.004283313279638591</c:v>
                </c:pt>
                <c:pt idx="9">
                  <c:v>0.002443846365192190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344373003356383</c:v>
                </c:pt>
                <c:pt idx="1">
                  <c:v>0.10563845417660776</c:v>
                </c:pt>
                <c:pt idx="2">
                  <c:v>0.058810842870044615</c:v>
                </c:pt>
                <c:pt idx="3">
                  <c:v>0.053715610551713915</c:v>
                </c:pt>
                <c:pt idx="4">
                  <c:v>0.03214848962756278</c:v>
                </c:pt>
                <c:pt idx="5">
                  <c:v>0.029830024128216535</c:v>
                </c:pt>
                <c:pt idx="6">
                  <c:v>0.025516599943386307</c:v>
                </c:pt>
                <c:pt idx="7">
                  <c:v>0.02201194279321175</c:v>
                </c:pt>
                <c:pt idx="8">
                  <c:v>0.014301697062827719</c:v>
                </c:pt>
                <c:pt idx="9">
                  <c:v>0.02358903851079030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1528438284228115</c:v>
                </c:pt>
                <c:pt idx="1">
                  <c:v>-0.002221446243863029</c:v>
                </c:pt>
                <c:pt idx="2">
                  <c:v>0.0014890055055095247</c:v>
                </c:pt>
                <c:pt idx="3">
                  <c:v>-0.015530117831510641</c:v>
                </c:pt>
                <c:pt idx="4">
                  <c:v>-0.007414478831750483</c:v>
                </c:pt>
                <c:pt idx="5">
                  <c:v>0.008085984382434686</c:v>
                </c:pt>
                <c:pt idx="6">
                  <c:v>0.009558066321853041</c:v>
                </c:pt>
                <c:pt idx="7">
                  <c:v>0.005289894422939357</c:v>
                </c:pt>
                <c:pt idx="8">
                  <c:v>0.012333764682274762</c:v>
                </c:pt>
                <c:pt idx="9">
                  <c:v>0.00845471912988157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1528438284228115</c:v>
                </c:pt>
                <c:pt idx="1">
                  <c:v>-0.002221446243863029</c:v>
                </c:pt>
                <c:pt idx="2">
                  <c:v>-0.01264768537462422</c:v>
                </c:pt>
                <c:pt idx="3">
                  <c:v>-0.002580160006727228</c:v>
                </c:pt>
                <c:pt idx="4">
                  <c:v>-0.007414478831750483</c:v>
                </c:pt>
                <c:pt idx="5">
                  <c:v>0.008085984382434686</c:v>
                </c:pt>
                <c:pt idx="6">
                  <c:v>0.009558066321853041</c:v>
                </c:pt>
                <c:pt idx="7">
                  <c:v>0.005289894422939357</c:v>
                </c:pt>
                <c:pt idx="8">
                  <c:v>0.012333764682274762</c:v>
                </c:pt>
                <c:pt idx="9">
                  <c:v>0.0096414521852319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515758724334465</c:v>
                </c:pt>
                <c:pt idx="1">
                  <c:v>-0.0022486202668264843</c:v>
                </c:pt>
                <c:pt idx="2">
                  <c:v>0.013555832404642906</c:v>
                </c:pt>
                <c:pt idx="3">
                  <c:v>-0.01621871509236862</c:v>
                </c:pt>
                <c:pt idx="4">
                  <c:v>-0.00636726379520991</c:v>
                </c:pt>
                <c:pt idx="5">
                  <c:v>-0.0023244895175758354</c:v>
                </c:pt>
                <c:pt idx="6">
                  <c:v>-0.004115559725865678</c:v>
                </c:pt>
                <c:pt idx="7">
                  <c:v>-0.0014117980092470395</c:v>
                </c:pt>
                <c:pt idx="8">
                  <c:v>-0.003566361891355181</c:v>
                </c:pt>
                <c:pt idx="9">
                  <c:v>0.0075450054149586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01898509084951</c:v>
                </c:pt>
                <c:pt idx="1">
                  <c:v>0.08285907236392553</c:v>
                </c:pt>
                <c:pt idx="2">
                  <c:v>0.07042026141962605</c:v>
                </c:pt>
                <c:pt idx="3">
                  <c:v>0.06744482495434548</c:v>
                </c:pt>
                <c:pt idx="4">
                  <c:v>0.03830984339597761</c:v>
                </c:pt>
                <c:pt idx="5">
                  <c:v>0.03672662028619495</c:v>
                </c:pt>
                <c:pt idx="6">
                  <c:v>0.024653844770608474</c:v>
                </c:pt>
                <c:pt idx="7">
                  <c:v>0.023989706252572438</c:v>
                </c:pt>
                <c:pt idx="8">
                  <c:v>0.010674168528145967</c:v>
                </c:pt>
                <c:pt idx="9">
                  <c:v>0.034731807120108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298798305826403</c:v>
                </c:pt>
                <c:pt idx="1">
                  <c:v>0.028001970279714322</c:v>
                </c:pt>
                <c:pt idx="2">
                  <c:v>0.0009233294109008694</c:v>
                </c:pt>
                <c:pt idx="3">
                  <c:v>0.013457857730348799</c:v>
                </c:pt>
                <c:pt idx="4">
                  <c:v>0.009862779267056882</c:v>
                </c:pt>
                <c:pt idx="5">
                  <c:v>0.006617370168762498</c:v>
                </c:pt>
                <c:pt idx="6">
                  <c:v>0.005146250943710077</c:v>
                </c:pt>
                <c:pt idx="7">
                  <c:v>0.006252944590990685</c:v>
                </c:pt>
                <c:pt idx="8">
                  <c:v>-0.0005586894148175495</c:v>
                </c:pt>
                <c:pt idx="9">
                  <c:v>-0.0052217308369644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6101898509084951</c:v>
                </c:pt>
                <c:pt idx="1">
                  <c:v>0.0866488976978929</c:v>
                </c:pt>
                <c:pt idx="2">
                  <c:v>0.06744482495434548</c:v>
                </c:pt>
                <c:pt idx="3">
                  <c:v>0.04550987216732135</c:v>
                </c:pt>
                <c:pt idx="4">
                  <c:v>0.03830984339597761</c:v>
                </c:pt>
                <c:pt idx="5">
                  <c:v>0.03672662028619495</c:v>
                </c:pt>
                <c:pt idx="6">
                  <c:v>0.024653844770608474</c:v>
                </c:pt>
                <c:pt idx="7">
                  <c:v>0.023989706252572438</c:v>
                </c:pt>
                <c:pt idx="8">
                  <c:v>0.02169519158917718</c:v>
                </c:pt>
                <c:pt idx="9">
                  <c:v>0.044831347977414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630893169698358</c:v>
                </c:pt>
                <c:pt idx="1">
                  <c:v>0.003171756620574964</c:v>
                </c:pt>
                <c:pt idx="2">
                  <c:v>0.002836367560705086</c:v>
                </c:pt>
                <c:pt idx="3">
                  <c:v>0.008739933872425117</c:v>
                </c:pt>
                <c:pt idx="4">
                  <c:v>0.019594570355081015</c:v>
                </c:pt>
                <c:pt idx="5">
                  <c:v>0.0008192625063156017</c:v>
                </c:pt>
                <c:pt idx="6">
                  <c:v>0.005745499664118248</c:v>
                </c:pt>
                <c:pt idx="7">
                  <c:v>0.007296487359719342</c:v>
                </c:pt>
                <c:pt idx="8">
                  <c:v>0.0015148066139809516</c:v>
                </c:pt>
                <c:pt idx="9">
                  <c:v>-0.00173337863371665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630893169698358</c:v>
                </c:pt>
                <c:pt idx="1">
                  <c:v>0.004341235627189216</c:v>
                </c:pt>
                <c:pt idx="2">
                  <c:v>0.008739933872425117</c:v>
                </c:pt>
                <c:pt idx="3">
                  <c:v>-0.00440445932932243</c:v>
                </c:pt>
                <c:pt idx="4">
                  <c:v>0.019594570355081015</c:v>
                </c:pt>
                <c:pt idx="5">
                  <c:v>0.0008192625063156017</c:v>
                </c:pt>
                <c:pt idx="6">
                  <c:v>0.005745499664118248</c:v>
                </c:pt>
                <c:pt idx="7">
                  <c:v>0.007296487359719342</c:v>
                </c:pt>
                <c:pt idx="8">
                  <c:v>0.004062047011727535</c:v>
                </c:pt>
                <c:pt idx="9">
                  <c:v>0.00179072885195002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414437276132573</c:v>
                </c:pt>
                <c:pt idx="1">
                  <c:v>0.13339728495918288</c:v>
                </c:pt>
                <c:pt idx="2">
                  <c:v>0.11077809294202341</c:v>
                </c:pt>
                <c:pt idx="3">
                  <c:v>0.08869538444967486</c:v>
                </c:pt>
                <c:pt idx="4">
                  <c:v>0.07381043899284172</c:v>
                </c:pt>
                <c:pt idx="5">
                  <c:v>0.062488332263766024</c:v>
                </c:pt>
                <c:pt idx="6">
                  <c:v>0.04122210913590003</c:v>
                </c:pt>
                <c:pt idx="7">
                  <c:v>0.03981590415215324</c:v>
                </c:pt>
                <c:pt idx="8">
                  <c:v>0.039075221838904335</c:v>
                </c:pt>
                <c:pt idx="9">
                  <c:v>0.15657285850422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049588600682728</c:v>
                </c:pt>
                <c:pt idx="1">
                  <c:v>-0.007477062385806921</c:v>
                </c:pt>
                <c:pt idx="2">
                  <c:v>0.017688802372490237</c:v>
                </c:pt>
                <c:pt idx="3">
                  <c:v>-0.030133664251670605</c:v>
                </c:pt>
                <c:pt idx="4">
                  <c:v>-0.01248713007245962</c:v>
                </c:pt>
                <c:pt idx="5">
                  <c:v>-0.00513908972507459</c:v>
                </c:pt>
                <c:pt idx="6">
                  <c:v>0.0006514782985821213</c:v>
                </c:pt>
                <c:pt idx="7">
                  <c:v>0.0017048402977443491</c:v>
                </c:pt>
                <c:pt idx="8">
                  <c:v>-0.0038215197188312885</c:v>
                </c:pt>
                <c:pt idx="9">
                  <c:v>-0.0114825408218009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15199905824062</c:v>
                </c:pt>
                <c:pt idx="1">
                  <c:v>0.11077809294202341</c:v>
                </c:pt>
                <c:pt idx="2">
                  <c:v>0.10173682162405356</c:v>
                </c:pt>
                <c:pt idx="3">
                  <c:v>0.062488332263766024</c:v>
                </c:pt>
                <c:pt idx="4">
                  <c:v>0.04986329952738072</c:v>
                </c:pt>
                <c:pt idx="5">
                  <c:v>0.0419663182808316</c:v>
                </c:pt>
                <c:pt idx="6">
                  <c:v>0.04122210913590003</c:v>
                </c:pt>
                <c:pt idx="7">
                  <c:v>0.039075221838904335</c:v>
                </c:pt>
                <c:pt idx="8">
                  <c:v>0.03778923892163785</c:v>
                </c:pt>
                <c:pt idx="9">
                  <c:v>0.303560574883096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050816009538292</c:v>
                </c:pt>
                <c:pt idx="1">
                  <c:v>-0.010891529772138309</c:v>
                </c:pt>
                <c:pt idx="2">
                  <c:v>0.014133330916551418</c:v>
                </c:pt>
                <c:pt idx="3">
                  <c:v>-0.03134385964986604</c:v>
                </c:pt>
                <c:pt idx="4">
                  <c:v>-0.0007383823222265329</c:v>
                </c:pt>
                <c:pt idx="5">
                  <c:v>0.008794879212181278</c:v>
                </c:pt>
                <c:pt idx="6">
                  <c:v>-0.0020091564672868323</c:v>
                </c:pt>
                <c:pt idx="7">
                  <c:v>-0.002203951152998755</c:v>
                </c:pt>
                <c:pt idx="8">
                  <c:v>-0.003901820902207212</c:v>
                </c:pt>
                <c:pt idx="9">
                  <c:v>-0.0223467292429117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49511308364338</c:v>
                </c:pt>
                <c:pt idx="1">
                  <c:v>0.014132390202071243</c:v>
                </c:pt>
                <c:pt idx="2">
                  <c:v>-0.006784418904075246</c:v>
                </c:pt>
                <c:pt idx="3">
                  <c:v>0.008794879212181278</c:v>
                </c:pt>
                <c:pt idx="4">
                  <c:v>-0.017324326456499492</c:v>
                </c:pt>
                <c:pt idx="5">
                  <c:v>0.0008876164559437558</c:v>
                </c:pt>
                <c:pt idx="6">
                  <c:v>-0.0020091564672868323</c:v>
                </c:pt>
                <c:pt idx="7">
                  <c:v>-0.003901820902207212</c:v>
                </c:pt>
                <c:pt idx="8">
                  <c:v>-0.0053621077602667155</c:v>
                </c:pt>
                <c:pt idx="9">
                  <c:v>-0.0433841862162945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3231358422506</c:v>
                </c:pt>
                <c:pt idx="1">
                  <c:v>0.15093682455685703</c:v>
                </c:pt>
                <c:pt idx="2">
                  <c:v>0.08864365560319426</c:v>
                </c:pt>
                <c:pt idx="3">
                  <c:v>0.08479607938254333</c:v>
                </c:pt>
                <c:pt idx="4">
                  <c:v>0.08087287965995246</c:v>
                </c:pt>
                <c:pt idx="5">
                  <c:v>0.07142424569399472</c:v>
                </c:pt>
                <c:pt idx="6">
                  <c:v>0.040946744761765984</c:v>
                </c:pt>
                <c:pt idx="7">
                  <c:v>0.03448800583592098</c:v>
                </c:pt>
                <c:pt idx="8">
                  <c:v>0.023795887864487605</c:v>
                </c:pt>
                <c:pt idx="9">
                  <c:v>0.1308643182187775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903476768439469</c:v>
                </c:pt>
                <c:pt idx="1">
                  <c:v>-0.012014713020043366</c:v>
                </c:pt>
                <c:pt idx="2">
                  <c:v>-0.0065363151030337074</c:v>
                </c:pt>
                <c:pt idx="3">
                  <c:v>0.012899557797460395</c:v>
                </c:pt>
                <c:pt idx="4">
                  <c:v>-0.01958868521998733</c:v>
                </c:pt>
                <c:pt idx="5">
                  <c:v>-0.01510762275358657</c:v>
                </c:pt>
                <c:pt idx="6">
                  <c:v>-0.003368140274013963</c:v>
                </c:pt>
                <c:pt idx="7">
                  <c:v>0.003277347368138235</c:v>
                </c:pt>
                <c:pt idx="8">
                  <c:v>-6.254332577094318e-05</c:v>
                </c:pt>
                <c:pt idx="9">
                  <c:v>-0.00853365315355740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87763318113335</c:v>
                </c:pt>
                <c:pt idx="1">
                  <c:v>0.11495171931261311</c:v>
                </c:pt>
                <c:pt idx="2">
                  <c:v>0.08864365560319426</c:v>
                </c:pt>
                <c:pt idx="3">
                  <c:v>0.08479607938254333</c:v>
                </c:pt>
                <c:pt idx="4">
                  <c:v>0.04850725048010164</c:v>
                </c:pt>
                <c:pt idx="5">
                  <c:v>0.041826867062798555</c:v>
                </c:pt>
                <c:pt idx="6">
                  <c:v>0.0411382628174919</c:v>
                </c:pt>
                <c:pt idx="7">
                  <c:v>0.040946744761765984</c:v>
                </c:pt>
                <c:pt idx="8">
                  <c:v>0.039046012597153915</c:v>
                </c:pt>
                <c:pt idx="9">
                  <c:v>0.28136707617100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588185449895593</c:v>
                </c:pt>
                <c:pt idx="1">
                  <c:v>-0.012974513609699867</c:v>
                </c:pt>
                <c:pt idx="2">
                  <c:v>0.01685108781763367</c:v>
                </c:pt>
                <c:pt idx="3">
                  <c:v>0.007239105915500879</c:v>
                </c:pt>
                <c:pt idx="4">
                  <c:v>-0.002641810655558019</c:v>
                </c:pt>
                <c:pt idx="5">
                  <c:v>-0.02122513051086712</c:v>
                </c:pt>
                <c:pt idx="6">
                  <c:v>-0.00808949908227323</c:v>
                </c:pt>
                <c:pt idx="7">
                  <c:v>-0.0029623665213820496</c:v>
                </c:pt>
                <c:pt idx="8">
                  <c:v>-0.004918419561594205</c:v>
                </c:pt>
                <c:pt idx="9">
                  <c:v>-0.01716030829071601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256407389823677</c:v>
                </c:pt>
                <c:pt idx="1">
                  <c:v>0.11451609749690303</c:v>
                </c:pt>
                <c:pt idx="2">
                  <c:v>0.10818628868961527</c:v>
                </c:pt>
                <c:pt idx="3">
                  <c:v>0.07777001828355197</c:v>
                </c:pt>
                <c:pt idx="4">
                  <c:v>0.05635866042275262</c:v>
                </c:pt>
                <c:pt idx="5">
                  <c:v>0.04801049186113725</c:v>
                </c:pt>
                <c:pt idx="6">
                  <c:v>0.037884602562103666</c:v>
                </c:pt>
                <c:pt idx="7">
                  <c:v>0.03573990732389861</c:v>
                </c:pt>
                <c:pt idx="8">
                  <c:v>0.035045062162572714</c:v>
                </c:pt>
                <c:pt idx="9">
                  <c:v>0.2539247972992280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0475097019589604</c:v>
                </c:pt>
                <c:pt idx="1">
                  <c:v>-0.010795461677300056</c:v>
                </c:pt>
                <c:pt idx="2">
                  <c:v>0.01685108781763367</c:v>
                </c:pt>
                <c:pt idx="3">
                  <c:v>0.007239105915500879</c:v>
                </c:pt>
                <c:pt idx="4">
                  <c:v>0.003127654007163874</c:v>
                </c:pt>
                <c:pt idx="5">
                  <c:v>-1.1535467044687664e-05</c:v>
                </c:pt>
                <c:pt idx="6">
                  <c:v>-0.011501034543077417</c:v>
                </c:pt>
                <c:pt idx="7">
                  <c:v>-0.00808949908227323</c:v>
                </c:pt>
                <c:pt idx="8">
                  <c:v>-0.0026302751885133313</c:v>
                </c:pt>
                <c:pt idx="9">
                  <c:v>-0.044665138801679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139208081615502</c:v>
                </c:pt>
                <c:pt idx="1">
                  <c:v>-0.004773911160055447</c:v>
                </c:pt>
                <c:pt idx="2">
                  <c:v>0.011499040851138898</c:v>
                </c:pt>
                <c:pt idx="3">
                  <c:v>-0.02264966026165198</c:v>
                </c:pt>
                <c:pt idx="4">
                  <c:v>-0.010099571979173667</c:v>
                </c:pt>
                <c:pt idx="5">
                  <c:v>-0.0065689092039069655</c:v>
                </c:pt>
                <c:pt idx="6">
                  <c:v>-0.006091121691072239</c:v>
                </c:pt>
                <c:pt idx="7">
                  <c:v>-0.006015808602381573</c:v>
                </c:pt>
                <c:pt idx="8">
                  <c:v>-0.004831316843982046</c:v>
                </c:pt>
                <c:pt idx="9">
                  <c:v>0.0181391780749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980694734868443</c:v>
                </c:pt>
                <c:pt idx="1">
                  <c:v>0.10860389765021013</c:v>
                </c:pt>
                <c:pt idx="2">
                  <c:v>0.0851621480842377</c:v>
                </c:pt>
                <c:pt idx="3">
                  <c:v>0.04801049186113725</c:v>
                </c:pt>
                <c:pt idx="4">
                  <c:v>0.045642202869720545</c:v>
                </c:pt>
                <c:pt idx="5">
                  <c:v>0.036766633796045396</c:v>
                </c:pt>
                <c:pt idx="6">
                  <c:v>0.03573990732389861</c:v>
                </c:pt>
                <c:pt idx="7">
                  <c:v>0.035045062162572714</c:v>
                </c:pt>
                <c:pt idx="8">
                  <c:v>0.029353949412665333</c:v>
                </c:pt>
                <c:pt idx="9">
                  <c:v>0.377606233352668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559121917161674</c:v>
                </c:pt>
                <c:pt idx="1">
                  <c:v>0.13304842223536792</c:v>
                </c:pt>
                <c:pt idx="2">
                  <c:v>0.10637980942892324</c:v>
                </c:pt>
                <c:pt idx="3">
                  <c:v>0.0861139643473438</c:v>
                </c:pt>
                <c:pt idx="4">
                  <c:v>0.07384804873082572</c:v>
                </c:pt>
                <c:pt idx="5">
                  <c:v>0.0673052787962331</c:v>
                </c:pt>
                <c:pt idx="6">
                  <c:v>0.04127978069144629</c:v>
                </c:pt>
                <c:pt idx="7">
                  <c:v>0.03935580936500095</c:v>
                </c:pt>
                <c:pt idx="8">
                  <c:v>0.03930476796898226</c:v>
                </c:pt>
                <c:pt idx="9">
                  <c:v>0.15745192671970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9747095553817594</c:v>
                </c:pt>
                <c:pt idx="1">
                  <c:v>-0.009054375098547035</c:v>
                </c:pt>
                <c:pt idx="2">
                  <c:v>0.018214370543182964</c:v>
                </c:pt>
                <c:pt idx="3">
                  <c:v>-0.027861042609741413</c:v>
                </c:pt>
                <c:pt idx="4">
                  <c:v>-0.014513493379740783</c:v>
                </c:pt>
                <c:pt idx="5">
                  <c:v>-0.005474400508755431</c:v>
                </c:pt>
                <c:pt idx="6">
                  <c:v>0.003392937672103351</c:v>
                </c:pt>
                <c:pt idx="7">
                  <c:v>-0.0037595731668202542</c:v>
                </c:pt>
                <c:pt idx="8">
                  <c:v>-0.00070527706007633</c:v>
                </c:pt>
                <c:pt idx="9">
                  <c:v>-0.0099862419454226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031986079268597</c:v>
                </c:pt>
                <c:pt idx="1">
                  <c:v>0.10637980942892324</c:v>
                </c:pt>
                <c:pt idx="2">
                  <c:v>0.10239448207379333</c:v>
                </c:pt>
                <c:pt idx="3">
                  <c:v>0.0673052787962331</c:v>
                </c:pt>
                <c:pt idx="4">
                  <c:v>0.04792373795498824</c:v>
                </c:pt>
                <c:pt idx="5">
                  <c:v>0.042379788213336225</c:v>
                </c:pt>
                <c:pt idx="6">
                  <c:v>0.03935580936500095</c:v>
                </c:pt>
                <c:pt idx="7">
                  <c:v>0.03930476796898226</c:v>
                </c:pt>
                <c:pt idx="8">
                  <c:v>0.036319948410305045</c:v>
                </c:pt>
                <c:pt idx="9">
                  <c:v>0.30831651699575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8053016347285205</c:v>
                </c:pt>
                <c:pt idx="1">
                  <c:v>-0.012542679363419879</c:v>
                </c:pt>
                <c:pt idx="2">
                  <c:v>0.014279245102282512</c:v>
                </c:pt>
                <c:pt idx="3">
                  <c:v>-0.031217827370286735</c:v>
                </c:pt>
                <c:pt idx="4">
                  <c:v>-0.0007719953938933599</c:v>
                </c:pt>
                <c:pt idx="5">
                  <c:v>0.011773742814738239</c:v>
                </c:pt>
                <c:pt idx="6">
                  <c:v>-0.0015941214730209458</c:v>
                </c:pt>
                <c:pt idx="7">
                  <c:v>-0.004223815353413353</c:v>
                </c:pt>
                <c:pt idx="8">
                  <c:v>-0.0029531682971480483</c:v>
                </c:pt>
                <c:pt idx="9">
                  <c:v>-0.0208023970131236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190759400151389</c:v>
                </c:pt>
                <c:pt idx="1">
                  <c:v>-0.007804758767533157</c:v>
                </c:pt>
                <c:pt idx="2">
                  <c:v>0.005386876145674138</c:v>
                </c:pt>
                <c:pt idx="3">
                  <c:v>-0.017204893384377917</c:v>
                </c:pt>
                <c:pt idx="4">
                  <c:v>-0.0047426172716847625</c:v>
                </c:pt>
                <c:pt idx="5">
                  <c:v>-0.004126458270320668</c:v>
                </c:pt>
                <c:pt idx="6">
                  <c:v>-0.004992942537293807</c:v>
                </c:pt>
                <c:pt idx="7">
                  <c:v>-0.005124273824879358</c:v>
                </c:pt>
                <c:pt idx="8">
                  <c:v>-0.0011176712623725757</c:v>
                </c:pt>
                <c:pt idx="9">
                  <c:v>-0.00218085482872578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326504751945138</c:v>
                </c:pt>
                <c:pt idx="1">
                  <c:v>0.014279245102282512</c:v>
                </c:pt>
                <c:pt idx="2">
                  <c:v>-0.0075997105299230455</c:v>
                </c:pt>
                <c:pt idx="3">
                  <c:v>0.011773742814738239</c:v>
                </c:pt>
                <c:pt idx="4">
                  <c:v>-0.01641397644490037</c:v>
                </c:pt>
                <c:pt idx="5">
                  <c:v>0.0009708439611082337</c:v>
                </c:pt>
                <c:pt idx="6">
                  <c:v>-0.004223815353413353</c:v>
                </c:pt>
                <c:pt idx="7">
                  <c:v>-0.0029531682971480483</c:v>
                </c:pt>
                <c:pt idx="8">
                  <c:v>-0.005070589592106267</c:v>
                </c:pt>
                <c:pt idx="9">
                  <c:v>-0.04402761918008927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231817052121367</c:v>
                </c:pt>
                <c:pt idx="1">
                  <c:v>0.13919868661026238</c:v>
                </c:pt>
                <c:pt idx="2">
                  <c:v>0.12624538521072912</c:v>
                </c:pt>
                <c:pt idx="3">
                  <c:v>0.09307853090182885</c:v>
                </c:pt>
                <c:pt idx="4">
                  <c:v>0.06332833741486757</c:v>
                </c:pt>
                <c:pt idx="5">
                  <c:v>0.06282345069302178</c:v>
                </c:pt>
                <c:pt idx="6">
                  <c:v>0.03984328472556376</c:v>
                </c:pt>
                <c:pt idx="7">
                  <c:v>0.03449138772245502</c:v>
                </c:pt>
                <c:pt idx="8">
                  <c:v>0.03441660779172665</c:v>
                </c:pt>
                <c:pt idx="9">
                  <c:v>0.114256158408331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696727677072699</c:v>
                </c:pt>
                <c:pt idx="1">
                  <c:v>-0.0007881915561129826</c:v>
                </c:pt>
                <c:pt idx="2">
                  <c:v>0.014742891184245752</c:v>
                </c:pt>
                <c:pt idx="3">
                  <c:v>-0.03357549471634329</c:v>
                </c:pt>
                <c:pt idx="4">
                  <c:v>-0.008365510925979064</c:v>
                </c:pt>
                <c:pt idx="5">
                  <c:v>-0.0005882895669271082</c:v>
                </c:pt>
                <c:pt idx="6">
                  <c:v>-0.003348716085069356</c:v>
                </c:pt>
                <c:pt idx="7">
                  <c:v>-0.002879981332007224</c:v>
                </c:pt>
                <c:pt idx="8">
                  <c:v>-0.005844751838972921</c:v>
                </c:pt>
                <c:pt idx="9">
                  <c:v>-0.0163192319335608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685588270010292</c:v>
                </c:pt>
                <c:pt idx="1">
                  <c:v>0.12624538521072912</c:v>
                </c:pt>
                <c:pt idx="2">
                  <c:v>0.10188276804023062</c:v>
                </c:pt>
                <c:pt idx="3">
                  <c:v>0.06332833741486757</c:v>
                </c:pt>
                <c:pt idx="4">
                  <c:v>0.05321007515383038</c:v>
                </c:pt>
                <c:pt idx="5">
                  <c:v>0.03984328472556376</c:v>
                </c:pt>
                <c:pt idx="6">
                  <c:v>0.03731591857003177</c:v>
                </c:pt>
                <c:pt idx="7">
                  <c:v>0.03449138772245502</c:v>
                </c:pt>
                <c:pt idx="8">
                  <c:v>0.03441660779172665</c:v>
                </c:pt>
                <c:pt idx="9">
                  <c:v>0.262410352670462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0446475812301115</c:v>
                </c:pt>
                <c:pt idx="1">
                  <c:v>-0.005971165661810468</c:v>
                </c:pt>
                <c:pt idx="2">
                  <c:v>0.007255690335550666</c:v>
                </c:pt>
                <c:pt idx="3">
                  <c:v>-0.03208720281593275</c:v>
                </c:pt>
                <c:pt idx="4">
                  <c:v>0.0008993001280582155</c:v>
                </c:pt>
                <c:pt idx="5">
                  <c:v>0.0021939841175100602</c:v>
                </c:pt>
                <c:pt idx="6">
                  <c:v>-0.000683917115640649</c:v>
                </c:pt>
                <c:pt idx="7">
                  <c:v>-0.004867919392403573</c:v>
                </c:pt>
                <c:pt idx="8">
                  <c:v>-0.004878388926650504</c:v>
                </c:pt>
                <c:pt idx="9">
                  <c:v>-0.0223068564809821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051527646593824</c:v>
                </c:pt>
                <c:pt idx="1">
                  <c:v>0.007255690335550666</c:v>
                </c:pt>
                <c:pt idx="2">
                  <c:v>-0.004137962315240051</c:v>
                </c:pt>
                <c:pt idx="3">
                  <c:v>0.0008993001280582155</c:v>
                </c:pt>
                <c:pt idx="4">
                  <c:v>-0.020626102738137565</c:v>
                </c:pt>
                <c:pt idx="5">
                  <c:v>-0.000683917115640649</c:v>
                </c:pt>
                <c:pt idx="6">
                  <c:v>-0.0018332033465704167</c:v>
                </c:pt>
                <c:pt idx="7">
                  <c:v>-0.004867919392403573</c:v>
                </c:pt>
                <c:pt idx="8">
                  <c:v>-0.004878388926650504</c:v>
                </c:pt>
                <c:pt idx="9">
                  <c:v>-0.031642773094904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103044877265672</c:v>
                </c:pt>
                <c:pt idx="1">
                  <c:v>0.0839914278968324</c:v>
                </c:pt>
                <c:pt idx="2">
                  <c:v>0.07343379794436342</c:v>
                </c:pt>
                <c:pt idx="3">
                  <c:v>0.048435647994621335</c:v>
                </c:pt>
                <c:pt idx="4">
                  <c:v>0.0477999108118998</c:v>
                </c:pt>
                <c:pt idx="5">
                  <c:v>0.033420305936705655</c:v>
                </c:pt>
                <c:pt idx="6">
                  <c:v>0.030802972451864724</c:v>
                </c:pt>
                <c:pt idx="7">
                  <c:v>0.030182088666479506</c:v>
                </c:pt>
                <c:pt idx="8">
                  <c:v>0.028331434851284296</c:v>
                </c:pt>
                <c:pt idx="9">
                  <c:v>0.392571964673292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374231818594426</c:v>
                </c:pt>
                <c:pt idx="1">
                  <c:v>0.005562035783350336</c:v>
                </c:pt>
                <c:pt idx="2">
                  <c:v>-0.005254806275464444</c:v>
                </c:pt>
                <c:pt idx="3">
                  <c:v>-0.004126458270320668</c:v>
                </c:pt>
                <c:pt idx="4">
                  <c:v>-0.006730899199645153</c:v>
                </c:pt>
                <c:pt idx="5">
                  <c:v>0.004087703721758741</c:v>
                </c:pt>
                <c:pt idx="6">
                  <c:v>-0.005124273824879358</c:v>
                </c:pt>
                <c:pt idx="7">
                  <c:v>-0.0008972627869919814</c:v>
                </c:pt>
                <c:pt idx="8">
                  <c:v>-0.0025499524920687237</c:v>
                </c:pt>
                <c:pt idx="9">
                  <c:v>-0.0221688600398007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103415112609205</c:v>
                </c:pt>
                <c:pt idx="1">
                  <c:v>0.08246830946109564</c:v>
                </c:pt>
                <c:pt idx="2">
                  <c:v>0.0792199302373971</c:v>
                </c:pt>
                <c:pt idx="3">
                  <c:v>0.054917160322369415</c:v>
                </c:pt>
                <c:pt idx="4">
                  <c:v>0.05445240398084832</c:v>
                </c:pt>
                <c:pt idx="5">
                  <c:v>0.03912090600726243</c:v>
                </c:pt>
                <c:pt idx="6">
                  <c:v>0.03740059757507508</c:v>
                </c:pt>
                <c:pt idx="7">
                  <c:v>0.03620730426576417</c:v>
                </c:pt>
                <c:pt idx="8">
                  <c:v>0.03604455762678264</c:v>
                </c:pt>
                <c:pt idx="9">
                  <c:v>0.379134679397313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979343900675367</c:v>
                </c:pt>
                <c:pt idx="1">
                  <c:v>0.006139732207414927</c:v>
                </c:pt>
                <c:pt idx="2">
                  <c:v>-0.00038632324043236244</c:v>
                </c:pt>
                <c:pt idx="3">
                  <c:v>-0.005951809857373029</c:v>
                </c:pt>
                <c:pt idx="4">
                  <c:v>-0.007698020620986991</c:v>
                </c:pt>
                <c:pt idx="5">
                  <c:v>-0.0038529754439169325</c:v>
                </c:pt>
                <c:pt idx="6">
                  <c:v>0.0027230336771795066</c:v>
                </c:pt>
                <c:pt idx="7">
                  <c:v>0.0030181387851903954</c:v>
                </c:pt>
                <c:pt idx="8">
                  <c:v>-0.005812277645338364</c:v>
                </c:pt>
                <c:pt idx="9">
                  <c:v>0.0052246086756249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165412394968032</c:v>
                </c:pt>
                <c:pt idx="1">
                  <c:v>0.14273784658556418</c:v>
                </c:pt>
                <c:pt idx="2">
                  <c:v>0.12570752084695228</c:v>
                </c:pt>
                <c:pt idx="3">
                  <c:v>0.12237519730863056</c:v>
                </c:pt>
                <c:pt idx="4">
                  <c:v>0.08004552049618138</c:v>
                </c:pt>
                <c:pt idx="5">
                  <c:v>0.049673942505460866</c:v>
                </c:pt>
                <c:pt idx="6">
                  <c:v>0.04447416253447919</c:v>
                </c:pt>
                <c:pt idx="7">
                  <c:v>0.04216824247835584</c:v>
                </c:pt>
                <c:pt idx="8">
                  <c:v>0.03793108946252332</c:v>
                </c:pt>
                <c:pt idx="9">
                  <c:v>0.13834523828504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146403975211941</c:v>
                </c:pt>
                <c:pt idx="1">
                  <c:v>0.02933209465159281</c:v>
                </c:pt>
                <c:pt idx="2">
                  <c:v>-0.00527548919456354</c:v>
                </c:pt>
                <c:pt idx="3">
                  <c:v>-0.04902599109589227</c:v>
                </c:pt>
                <c:pt idx="4">
                  <c:v>-0.00603707361197213</c:v>
                </c:pt>
                <c:pt idx="5">
                  <c:v>-0.015913788586822</c:v>
                </c:pt>
                <c:pt idx="6">
                  <c:v>-0.0022454082661182845</c:v>
                </c:pt>
                <c:pt idx="7">
                  <c:v>0.000567921352678552</c:v>
                </c:pt>
                <c:pt idx="8">
                  <c:v>0.003413832506963803</c:v>
                </c:pt>
                <c:pt idx="9">
                  <c:v>-0.00628013750798637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9447655415424353</c:v>
                </c:pt>
                <c:pt idx="1">
                  <c:v>0.14273784658556418</c:v>
                </c:pt>
                <c:pt idx="2">
                  <c:v>0.0949931440233422</c:v>
                </c:pt>
                <c:pt idx="3">
                  <c:v>0.07537189687335576</c:v>
                </c:pt>
                <c:pt idx="4">
                  <c:v>0.049673942505460866</c:v>
                </c:pt>
                <c:pt idx="5">
                  <c:v>0.04861565075973788</c:v>
                </c:pt>
                <c:pt idx="6">
                  <c:v>0.04447416253447919</c:v>
                </c:pt>
                <c:pt idx="7">
                  <c:v>0.03793108946252332</c:v>
                </c:pt>
                <c:pt idx="8">
                  <c:v>0.03314784993383185</c:v>
                </c:pt>
                <c:pt idx="9">
                  <c:v>0.278577863167461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089463813834792</c:v>
                </c:pt>
                <c:pt idx="1">
                  <c:v>0.024470461194799675</c:v>
                </c:pt>
                <c:pt idx="2">
                  <c:v>0.004055679255523567</c:v>
                </c:pt>
                <c:pt idx="3">
                  <c:v>-0.03768221161311641</c:v>
                </c:pt>
                <c:pt idx="4">
                  <c:v>0.003948659629373422</c:v>
                </c:pt>
                <c:pt idx="5">
                  <c:v>-0.012968536758903887</c:v>
                </c:pt>
                <c:pt idx="6">
                  <c:v>-0.005626803737779289</c:v>
                </c:pt>
                <c:pt idx="7">
                  <c:v>-0.000666489919301072</c:v>
                </c:pt>
                <c:pt idx="8">
                  <c:v>-0.002275182128404739</c:v>
                </c:pt>
                <c:pt idx="9">
                  <c:v>-0.0334075695786380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639475781060988</c:v>
                </c:pt>
                <c:pt idx="1">
                  <c:v>0.08303191527125987</c:v>
                </c:pt>
                <c:pt idx="2">
                  <c:v>0.055594907231685135</c:v>
                </c:pt>
                <c:pt idx="3">
                  <c:v>0.03912090600726243</c:v>
                </c:pt>
                <c:pt idx="4">
                  <c:v>0.03740059757507508</c:v>
                </c:pt>
                <c:pt idx="5">
                  <c:v>0.03620730426576417</c:v>
                </c:pt>
                <c:pt idx="6">
                  <c:v>0.027459399355676227</c:v>
                </c:pt>
                <c:pt idx="7">
                  <c:v>0.027130629299747088</c:v>
                </c:pt>
                <c:pt idx="8">
                  <c:v>0.0269930046251721</c:v>
                </c:pt>
                <c:pt idx="9">
                  <c:v>0.50311375826225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6806177469462169</c:v>
                </c:pt>
                <c:pt idx="1">
                  <c:v>0.024470461194799675</c:v>
                </c:pt>
                <c:pt idx="2">
                  <c:v>0.011409759233368746</c:v>
                </c:pt>
                <c:pt idx="3">
                  <c:v>-0.030502504421682716</c:v>
                </c:pt>
                <c:pt idx="4">
                  <c:v>-0.012968536758903887</c:v>
                </c:pt>
                <c:pt idx="5">
                  <c:v>0.004661110615214258</c:v>
                </c:pt>
                <c:pt idx="6">
                  <c:v>-0.005626803737779289</c:v>
                </c:pt>
                <c:pt idx="7">
                  <c:v>-0.002275182128404739</c:v>
                </c:pt>
                <c:pt idx="8">
                  <c:v>-0.00124409946621154</c:v>
                </c:pt>
                <c:pt idx="9">
                  <c:v>-0.055243334743121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7727297380037227</c:v>
                </c:pt>
                <c:pt idx="1">
                  <c:v>0.0036608794145941564</c:v>
                </c:pt>
                <c:pt idx="2">
                  <c:v>-0.0001648193547085508</c:v>
                </c:pt>
                <c:pt idx="3">
                  <c:v>-0.01323660947744898</c:v>
                </c:pt>
                <c:pt idx="4">
                  <c:v>-0.0019409641309345999</c:v>
                </c:pt>
                <c:pt idx="5">
                  <c:v>-0.0022305618518858664</c:v>
                </c:pt>
                <c:pt idx="6">
                  <c:v>0.0059150264873194525</c:v>
                </c:pt>
                <c:pt idx="7">
                  <c:v>0.0038081109844796193</c:v>
                </c:pt>
                <c:pt idx="8">
                  <c:v>-0.005943337516089935</c:v>
                </c:pt>
                <c:pt idx="9">
                  <c:v>-0.0069458559149744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3728270145643657</c:v>
                </c:pt>
                <c:pt idx="1">
                  <c:v>0.12172961861070379</c:v>
                </c:pt>
                <c:pt idx="2">
                  <c:v>0.11584540743918942</c:v>
                </c:pt>
                <c:pt idx="3">
                  <c:v>0.0860000094298256</c:v>
                </c:pt>
                <c:pt idx="4">
                  <c:v>0.07187884560075061</c:v>
                </c:pt>
                <c:pt idx="5">
                  <c:v>0.06891788036380267</c:v>
                </c:pt>
                <c:pt idx="6">
                  <c:v>0.056305488629987785</c:v>
                </c:pt>
                <c:pt idx="7">
                  <c:v>0.04799781228046187</c:v>
                </c:pt>
                <c:pt idx="8">
                  <c:v>0.038733008633005335</c:v>
                </c:pt>
                <c:pt idx="9">
                  <c:v>0.155309227555836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9613667542705354</c:v>
                </c:pt>
                <c:pt idx="1">
                  <c:v>-0.0029851129483720595</c:v>
                </c:pt>
                <c:pt idx="2">
                  <c:v>0.02065141620961433</c:v>
                </c:pt>
                <c:pt idx="3">
                  <c:v>-0.018564024196672135</c:v>
                </c:pt>
                <c:pt idx="4">
                  <c:v>0.007325135305498054</c:v>
                </c:pt>
                <c:pt idx="5">
                  <c:v>-0.0037321174707179994</c:v>
                </c:pt>
                <c:pt idx="6">
                  <c:v>-0.021992085236743696</c:v>
                </c:pt>
                <c:pt idx="7">
                  <c:v>0.007761334812409974</c:v>
                </c:pt>
                <c:pt idx="8">
                  <c:v>0.008592481150322753</c:v>
                </c:pt>
                <c:pt idx="9">
                  <c:v>-0.0166706951680445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18968565676377816</c:v>
                </c:pt>
                <c:pt idx="1">
                  <c:v>0.11584540743918942</c:v>
                </c:pt>
                <c:pt idx="2">
                  <c:v>0.08686755338460016</c:v>
                </c:pt>
                <c:pt idx="3">
                  <c:v>0.07187884560075061</c:v>
                </c:pt>
                <c:pt idx="4">
                  <c:v>0.056305488629987785</c:v>
                </c:pt>
                <c:pt idx="5">
                  <c:v>0.04022292107707468</c:v>
                </c:pt>
                <c:pt idx="6">
                  <c:v>0.038733008633005335</c:v>
                </c:pt>
                <c:pt idx="7">
                  <c:v>0.036903622467502464</c:v>
                </c:pt>
                <c:pt idx="8">
                  <c:v>0.03486206522610364</c:v>
                </c:pt>
                <c:pt idx="9">
                  <c:v>0.32869543077800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204071421645015</c:v>
                </c:pt>
                <c:pt idx="1">
                  <c:v>-0.019763076470273214</c:v>
                </c:pt>
                <c:pt idx="2">
                  <c:v>0.0343587526013322</c:v>
                </c:pt>
                <c:pt idx="3">
                  <c:v>-0.016731313005902443</c:v>
                </c:pt>
                <c:pt idx="4">
                  <c:v>-0.014142710516883122</c:v>
                </c:pt>
                <c:pt idx="5">
                  <c:v>-0.004556014460464011</c:v>
                </c:pt>
                <c:pt idx="6">
                  <c:v>-0.016899426617850946</c:v>
                </c:pt>
                <c:pt idx="7">
                  <c:v>0.00241757142576747</c:v>
                </c:pt>
                <c:pt idx="8">
                  <c:v>4.668567317692163e-06</c:v>
                </c:pt>
                <c:pt idx="9">
                  <c:v>-0.0151058504010514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4827790260167314</c:v>
                </c:pt>
                <c:pt idx="1">
                  <c:v>0.03414640030415224</c:v>
                </c:pt>
                <c:pt idx="2">
                  <c:v>-0.015014359862408039</c:v>
                </c:pt>
                <c:pt idx="3">
                  <c:v>-0.014142710516883122</c:v>
                </c:pt>
                <c:pt idx="4">
                  <c:v>-0.016899426617850946</c:v>
                </c:pt>
                <c:pt idx="5">
                  <c:v>-0.009241007346044348</c:v>
                </c:pt>
                <c:pt idx="6">
                  <c:v>4.668567317692163e-06</c:v>
                </c:pt>
                <c:pt idx="7">
                  <c:v>-0.0035518496152488685</c:v>
                </c:pt>
                <c:pt idx="8">
                  <c:v>-0.004748716607865175</c:v>
                </c:pt>
                <c:pt idx="9">
                  <c:v>-0.0174199378655801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8179233560978725</c:v>
                </c:pt>
                <c:pt idx="1">
                  <c:v>0.0032267873692482796</c:v>
                </c:pt>
                <c:pt idx="2">
                  <c:v>0.0013946400239448764</c:v>
                </c:pt>
                <c:pt idx="3">
                  <c:v>-0.0022305618518858664</c:v>
                </c:pt>
                <c:pt idx="4">
                  <c:v>0.0059150264873194525</c:v>
                </c:pt>
                <c:pt idx="5">
                  <c:v>0.0038081109844796193</c:v>
                </c:pt>
                <c:pt idx="6">
                  <c:v>-0.0005775409424509763</c:v>
                </c:pt>
                <c:pt idx="7">
                  <c:v>-0.001915218942154389</c:v>
                </c:pt>
                <c:pt idx="8">
                  <c:v>-0.0013634231884836236</c:v>
                </c:pt>
                <c:pt idx="9">
                  <c:v>-0.0261848265150524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4647023786139657</c:v>
                </c:pt>
                <c:pt idx="1">
                  <c:v>0.12959797772750276</c:v>
                </c:pt>
                <c:pt idx="2">
                  <c:v>0.12182972793721734</c:v>
                </c:pt>
                <c:pt idx="3">
                  <c:v>0.09496300819677814</c:v>
                </c:pt>
                <c:pt idx="4">
                  <c:v>0.07560427263126515</c:v>
                </c:pt>
                <c:pt idx="5">
                  <c:v>0.053153835754776065</c:v>
                </c:pt>
                <c:pt idx="6">
                  <c:v>0.04626011887292567</c:v>
                </c:pt>
                <c:pt idx="7">
                  <c:v>0.04373300040903009</c:v>
                </c:pt>
                <c:pt idx="8">
                  <c:v>0.04081143943928214</c:v>
                </c:pt>
                <c:pt idx="9">
                  <c:v>0.1475763811698260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097482021974284</c:v>
                </c:pt>
                <c:pt idx="1">
                  <c:v>-0.004628836423552413</c:v>
                </c:pt>
                <c:pt idx="2">
                  <c:v>0.0158823706273208</c:v>
                </c:pt>
                <c:pt idx="3">
                  <c:v>-0.030708647872762937</c:v>
                </c:pt>
                <c:pt idx="4">
                  <c:v>-0.009084740704830965</c:v>
                </c:pt>
                <c:pt idx="5">
                  <c:v>-0.005648745138671557</c:v>
                </c:pt>
                <c:pt idx="6">
                  <c:v>0.0015862722111966154</c:v>
                </c:pt>
                <c:pt idx="7">
                  <c:v>-0.004118942951646533</c:v>
                </c:pt>
                <c:pt idx="8">
                  <c:v>0.001548075876361743</c:v>
                </c:pt>
                <c:pt idx="9">
                  <c:v>-0.01580162584315760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0810099114692499</c:v>
                </c:pt>
                <c:pt idx="1">
                  <c:v>0.12182972793721734</c:v>
                </c:pt>
                <c:pt idx="2">
                  <c:v>0.10102869912254958</c:v>
                </c:pt>
                <c:pt idx="3">
                  <c:v>0.053153835754776065</c:v>
                </c:pt>
                <c:pt idx="4">
                  <c:v>0.053088552703642676</c:v>
                </c:pt>
                <c:pt idx="5">
                  <c:v>0.04626011887292567</c:v>
                </c:pt>
                <c:pt idx="6">
                  <c:v>0.044343945776937635</c:v>
                </c:pt>
                <c:pt idx="7">
                  <c:v>0.04373300040903009</c:v>
                </c:pt>
                <c:pt idx="8">
                  <c:v>0.04078963027839466</c:v>
                </c:pt>
                <c:pt idx="9">
                  <c:v>0.287671497997601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426470092722069</c:v>
                </c:pt>
                <c:pt idx="1">
                  <c:v>-0.005120935942509008</c:v>
                </c:pt>
                <c:pt idx="2">
                  <c:v>0.01911579053260573</c:v>
                </c:pt>
                <c:pt idx="3">
                  <c:v>-0.03688322747237077</c:v>
                </c:pt>
                <c:pt idx="4">
                  <c:v>-0.001403483784392659</c:v>
                </c:pt>
                <c:pt idx="5">
                  <c:v>0.006794969000031209</c:v>
                </c:pt>
                <c:pt idx="6">
                  <c:v>-0.0007593959683392867</c:v>
                </c:pt>
                <c:pt idx="7">
                  <c:v>-0.003241360893548338</c:v>
                </c:pt>
                <c:pt idx="8">
                  <c:v>-0.0027324866263629607</c:v>
                </c:pt>
                <c:pt idx="9">
                  <c:v>-0.0300345697723346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59208184290693244</c:v>
                </c:pt>
                <c:pt idx="1">
                  <c:v>0.01911579053260573</c:v>
                </c:pt>
                <c:pt idx="2">
                  <c:v>-0.003994854122910355</c:v>
                </c:pt>
                <c:pt idx="3">
                  <c:v>0.006794969000031209</c:v>
                </c:pt>
                <c:pt idx="4">
                  <c:v>-0.02079028554762246</c:v>
                </c:pt>
                <c:pt idx="5">
                  <c:v>-0.0007593959683392867</c:v>
                </c:pt>
                <c:pt idx="6">
                  <c:v>0.0008145774095575861</c:v>
                </c:pt>
                <c:pt idx="7">
                  <c:v>-0.003241360893548338</c:v>
                </c:pt>
                <c:pt idx="8">
                  <c:v>-0.0028886460703915068</c:v>
                </c:pt>
                <c:pt idx="9">
                  <c:v>-0.0542589786300758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3731325431490258</c:v>
                </c:pt>
                <c:pt idx="1">
                  <c:v>-0.005844009056360247</c:v>
                </c:pt>
                <c:pt idx="2">
                  <c:v>0.007497315197638785</c:v>
                </c:pt>
                <c:pt idx="3">
                  <c:v>-0.019803855592785108</c:v>
                </c:pt>
                <c:pt idx="4">
                  <c:v>-0.000154063792415067</c:v>
                </c:pt>
                <c:pt idx="5">
                  <c:v>0.006876724535294858</c:v>
                </c:pt>
                <c:pt idx="6">
                  <c:v>-0.0003806446418643805</c:v>
                </c:pt>
                <c:pt idx="7">
                  <c:v>-0.0029725791436403942</c:v>
                </c:pt>
                <c:pt idx="8">
                  <c:v>-0.0024217666730832477</c:v>
                </c:pt>
                <c:pt idx="9">
                  <c:v>-0.00651979169594751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168613583002406</c:v>
                </c:pt>
                <c:pt idx="1">
                  <c:v>0.2044310463105211</c:v>
                </c:pt>
                <c:pt idx="2">
                  <c:v>0.053760012367508235</c:v>
                </c:pt>
                <c:pt idx="3">
                  <c:v>0.02494758302173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2226207024012012</c:v>
                </c:pt>
                <c:pt idx="1">
                  <c:v>0.027471099939904903</c:v>
                </c:pt>
                <c:pt idx="2">
                  <c:v>0.01223732735119918</c:v>
                </c:pt>
                <c:pt idx="3">
                  <c:v>-0.0126386482683630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168613583002406</c:v>
                </c:pt>
                <c:pt idx="1">
                  <c:v>0.2044310463105211</c:v>
                </c:pt>
                <c:pt idx="2">
                  <c:v>0.053760012367508235</c:v>
                </c:pt>
                <c:pt idx="3">
                  <c:v>0.02494758302173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888801093631944</c:v>
                </c:pt>
                <c:pt idx="1">
                  <c:v>-0.013829544453954123</c:v>
                </c:pt>
                <c:pt idx="2">
                  <c:v>0.022544694911758024</c:v>
                </c:pt>
                <c:pt idx="3">
                  <c:v>-0.0443476265738765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3888801093631944</c:v>
                </c:pt>
                <c:pt idx="1">
                  <c:v>-0.013829544453954123</c:v>
                </c:pt>
                <c:pt idx="2">
                  <c:v>0.022544694911758024</c:v>
                </c:pt>
                <c:pt idx="3">
                  <c:v>-0.0443476265738765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106142519492515</c:v>
                </c:pt>
                <c:pt idx="1">
                  <c:v>0.1593305984949333</c:v>
                </c:pt>
                <c:pt idx="2">
                  <c:v>0.07932842511342335</c:v>
                </c:pt>
                <c:pt idx="3">
                  <c:v>0.03740932924013149</c:v>
                </c:pt>
                <c:pt idx="4">
                  <c:v>0.0133173952022603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5562759458188848</c:v>
                </c:pt>
                <c:pt idx="1">
                  <c:v>0.025533129321457654</c:v>
                </c:pt>
                <c:pt idx="2">
                  <c:v>-0.003046457606121114</c:v>
                </c:pt>
                <c:pt idx="3">
                  <c:v>-0.016585944832633592</c:v>
                </c:pt>
                <c:pt idx="4">
                  <c:v>-0.01146348634089178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106142519492515</c:v>
                </c:pt>
                <c:pt idx="1">
                  <c:v>0.1593305984949333</c:v>
                </c:pt>
                <c:pt idx="2">
                  <c:v>0.07932842511342335</c:v>
                </c:pt>
                <c:pt idx="3">
                  <c:v>0.03740932924013149</c:v>
                </c:pt>
                <c:pt idx="4">
                  <c:v>0.0133173952022603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6905712833158051</c:v>
                </c:pt>
                <c:pt idx="1">
                  <c:v>-0.04124225000371046</c:v>
                </c:pt>
                <c:pt idx="2">
                  <c:v>0.03652601990846878</c:v>
                </c:pt>
                <c:pt idx="3">
                  <c:v>-0.05292812025625501</c:v>
                </c:pt>
                <c:pt idx="4">
                  <c:v>-0.0114127779800838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6905712833158051</c:v>
                </c:pt>
                <c:pt idx="1">
                  <c:v>-0.04124225000371046</c:v>
                </c:pt>
                <c:pt idx="2">
                  <c:v>0.03652601990846878</c:v>
                </c:pt>
                <c:pt idx="3">
                  <c:v>-0.05292812025625501</c:v>
                </c:pt>
                <c:pt idx="4">
                  <c:v>-0.0114127779800838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83854035793059</c:v>
                </c:pt>
                <c:pt idx="1">
                  <c:v>0.16516598263394477</c:v>
                </c:pt>
                <c:pt idx="2">
                  <c:v>0.06545774352960884</c:v>
                </c:pt>
                <c:pt idx="3">
                  <c:v>0.0309908702571404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03019217317444811</c:v>
                </c:pt>
                <c:pt idx="1">
                  <c:v>0.006480915587372127</c:v>
                </c:pt>
                <c:pt idx="2">
                  <c:v>0.01254915298091916</c:v>
                </c:pt>
                <c:pt idx="3">
                  <c:v>-0.01933199030003575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83854035793059</c:v>
                </c:pt>
                <c:pt idx="1">
                  <c:v>0.16516598263394477</c:v>
                </c:pt>
                <c:pt idx="2">
                  <c:v>0.06545774352960884</c:v>
                </c:pt>
                <c:pt idx="3">
                  <c:v>0.0309908702571404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7118635227004324</c:v>
                </c:pt>
                <c:pt idx="1">
                  <c:v>-0.030215701660094324</c:v>
                </c:pt>
                <c:pt idx="2">
                  <c:v>0.016827426683874887</c:v>
                </c:pt>
                <c:pt idx="3">
                  <c:v>-0.0337303602507848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47118635227004324</c:v>
                </c:pt>
                <c:pt idx="1">
                  <c:v>-0.030215701660094324</c:v>
                </c:pt>
                <c:pt idx="2">
                  <c:v>0.016827426683874887</c:v>
                </c:pt>
                <c:pt idx="3">
                  <c:v>-0.0337303602507848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691504437334865</c:v>
                </c:pt>
                <c:pt idx="1">
                  <c:v>0.0990921155766113</c:v>
                </c:pt>
                <c:pt idx="2">
                  <c:v>0.08434396828720085</c:v>
                </c:pt>
                <c:pt idx="3">
                  <c:v>0.07351147270377222</c:v>
                </c:pt>
                <c:pt idx="4">
                  <c:v>0.05006255007033639</c:v>
                </c:pt>
                <c:pt idx="5">
                  <c:v>0.04540892865485338</c:v>
                </c:pt>
                <c:pt idx="6">
                  <c:v>0.044933963390473355</c:v>
                </c:pt>
                <c:pt idx="7">
                  <c:v>0.040975054374438734</c:v>
                </c:pt>
                <c:pt idx="8">
                  <c:v>0.03913315811238941</c:v>
                </c:pt>
                <c:pt idx="9">
                  <c:v>0.253388345096437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2014075990988748</c:v>
                </c:pt>
                <c:pt idx="1">
                  <c:v>0.009997819715119705</c:v>
                </c:pt>
                <c:pt idx="2">
                  <c:v>0.0005004839342178796</c:v>
                </c:pt>
                <c:pt idx="3">
                  <c:v>-0.034971687659888465</c:v>
                </c:pt>
                <c:pt idx="4">
                  <c:v>-0.0068053869351623955</c:v>
                </c:pt>
                <c:pt idx="5">
                  <c:v>-0.00020860518312059567</c:v>
                </c:pt>
                <c:pt idx="6">
                  <c:v>0.00020445541571501719</c:v>
                </c:pt>
                <c:pt idx="7">
                  <c:v>-0.0011263945945916912</c:v>
                </c:pt>
                <c:pt idx="8">
                  <c:v>-0.0005630005943193725</c:v>
                </c:pt>
                <c:pt idx="9">
                  <c:v>0.02095823991104115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246793335605784</c:v>
                </c:pt>
                <c:pt idx="1">
                  <c:v>0.10020642388357208</c:v>
                </c:pt>
                <c:pt idx="2">
                  <c:v>0.06316086355433205</c:v>
                </c:pt>
                <c:pt idx="3">
                  <c:v>0.05006255007033639</c:v>
                </c:pt>
                <c:pt idx="4">
                  <c:v>0.044933963390473355</c:v>
                </c:pt>
                <c:pt idx="5">
                  <c:v>0.040975054374438734</c:v>
                </c:pt>
                <c:pt idx="6">
                  <c:v>0.03913315811238941</c:v>
                </c:pt>
                <c:pt idx="7">
                  <c:v>0.038945421386760146</c:v>
                </c:pt>
                <c:pt idx="8">
                  <c:v>0.03388864184158481</c:v>
                </c:pt>
                <c:pt idx="9">
                  <c:v>0.36401458982553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12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39686011091151</c:v>
                </c:pt>
                <c:pt idx="1">
                  <c:v>0.1894868390221042</c:v>
                </c:pt>
                <c:pt idx="2">
                  <c:v>0.05280012497070999</c:v>
                </c:pt>
                <c:pt idx="3">
                  <c:v>0.0237444348980707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782363721903434</c:v>
                </c:pt>
                <c:pt idx="1">
                  <c:v>0.014761915317893004</c:v>
                </c:pt>
                <c:pt idx="2">
                  <c:v>0.0051004916331773426</c:v>
                </c:pt>
                <c:pt idx="3">
                  <c:v>-0.02768604417010466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7339686011091151</c:v>
                </c:pt>
                <c:pt idx="1">
                  <c:v>0.1894868390221042</c:v>
                </c:pt>
                <c:pt idx="2">
                  <c:v>0.05280012497070999</c:v>
                </c:pt>
                <c:pt idx="3">
                  <c:v>0.02374443489807076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688828663401107</c:v>
                </c:pt>
                <c:pt idx="1">
                  <c:v>-0.06949265843434718</c:v>
                </c:pt>
                <c:pt idx="2">
                  <c:v>-0.00994074137737079</c:v>
                </c:pt>
                <c:pt idx="3">
                  <c:v>-0.037454886822293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11688828663401107</c:v>
                </c:pt>
                <c:pt idx="1">
                  <c:v>-0.06949265843434718</c:v>
                </c:pt>
                <c:pt idx="2">
                  <c:v>-0.00994074137737079</c:v>
                </c:pt>
                <c:pt idx="3">
                  <c:v>-0.037454886822293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12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2416084395440901</c:v>
                </c:pt>
                <c:pt idx="1">
                  <c:v>0.005034513281987618</c:v>
                </c:pt>
                <c:pt idx="2">
                  <c:v>-0.007550047698739321</c:v>
                </c:pt>
                <c:pt idx="3">
                  <c:v>-0.025995706117371065</c:v>
                </c:pt>
                <c:pt idx="4">
                  <c:v>-0.00202519081912423</c:v>
                </c:pt>
                <c:pt idx="5">
                  <c:v>0.0016227995869127487</c:v>
                </c:pt>
                <c:pt idx="6">
                  <c:v>-0.0018983590573727685</c:v>
                </c:pt>
                <c:pt idx="7">
                  <c:v>0.0013675785919855174</c:v>
                </c:pt>
                <c:pt idx="8">
                  <c:v>0.001265369712213353</c:v>
                </c:pt>
                <c:pt idx="9">
                  <c:v>0.0040181985650991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9/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9.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10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10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10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10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8.xml"/></Relationships>
</file>

<file path=ppt/notesSlides/_rels/notesSlide10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8.xml"/></Relationships>
</file>

<file path=ppt/notesSlides/_rels/notesSlide10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10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10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10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0.xml"/></Relationships>
</file>

<file path=ppt/notesSlides/_rels/notesSlide10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10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10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10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2.xml"/></Relationships>
</file>

<file path=ppt/notesSlides/_rels/notesSlide10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10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1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1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1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1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1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1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7.xml"/></Relationships>
</file>

<file path=ppt/notesSlides/_rels/notesSlide1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1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1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1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9.xml"/></Relationships>
</file>

<file path=ppt/notesSlides/_rels/notesSlide1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1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1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1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1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8.xml"/></Relationships>
</file>

<file path=ppt/notesSlides/_rels/notesSlide1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1.xml"/></Relationships>
</file>

<file path=ppt/notesSlides/_rels/notesSlide1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8.xml"/></Relationships>
</file>

<file path=ppt/notesSlides/_rels/notesSlide1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1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9.xml"/></Relationships>
</file>

<file path=ppt/notesSlides/_rels/notesSlide1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0.xml"/></Relationships>
</file>

<file path=ppt/notesSlides/_rels/notesSlide1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9.xml"/></Relationships>
</file>

<file path=ppt/notesSlides/_rels/notesSlide1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3.xml"/></Relationships>
</file>

<file path=ppt/notesSlides/_rels/notesSlide1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6.xml"/></Relationships>
</file>

<file path=ppt/notesSlides/_rels/notesSlide1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4.xml"/></Relationships>
</file>

<file path=ppt/notesSlides/_rels/notesSlide1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5.xml"/></Relationships>
</file>

<file path=ppt/notesSlides/_rels/notesSlide1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6.xml"/></Relationships>
</file>

<file path=ppt/notesSlides/_rels/notesSlide1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1.xml"/></Relationships>
</file>

<file path=ppt/notesSlides/_rels/notesSlide1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5.xml"/></Relationships>
</file>

<file path=ppt/notesSlides/_rels/notesSlide1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7.xml"/></Relationships>
</file>

<file path=ppt/notesSlides/_rels/notesSlide1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8.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3.xml"/></Relationships>
</file>

<file path=ppt/notesSlides/_rels/notesSlide1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0.xml"/></Relationships>
</file>

<file path=ppt/notesSlides/_rels/notesSlide1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6.xml"/></Relationships>
</file>

<file path=ppt/notesSlides/_rels/notesSlide1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7.xml"/></Relationships>
</file>

<file path=ppt/notesSlides/_rels/notesSlide1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5.xml"/></Relationships>
</file>

<file path=ppt/notesSlides/_rels/notesSlide1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7.xml"/></Relationships>
</file>

<file path=ppt/notesSlides/_rels/notesSlide1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2.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3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3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4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4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4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4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4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2.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3.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4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4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4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4.xml"/></Relationships>
</file>

<file path=ppt/notesSlides/_rels/notesSlide4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4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4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7.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5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5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5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9.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0.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5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5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1.xml"/></Relationships>
</file>

<file path=ppt/notesSlides/_rels/notesSlide5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8.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5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5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5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0.xml"/></Relationships>
</file>

<file path=ppt/notesSlides/_rels/notesSlide5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5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5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5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5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2.xml"/></Relationships>
</file>

<file path=ppt/notesSlides/_rels/notesSlide5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7.xml"/></Relationships>
</file>

<file path=ppt/notesSlides/_rels/notesSlide5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0.xml"/></Relationships>
</file>

<file path=ppt/notesSlides/_rels/notesSlide6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6.xml"/></Relationships>
</file>

<file path=ppt/notesSlides/_rels/notesSlide6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5.xml"/></Relationships>
</file>

<file path=ppt/notesSlides/_rels/notesSlide6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7.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2.xml"/></Relationships>
</file>

<file path=ppt/notesSlides/_rels/notesSlide6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8.xml"/></Relationships>
</file>

<file path=ppt/notesSlides/_rels/notesSlide6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9.xml"/></Relationships>
</file>

<file path=ppt/notesSlides/_rels/notesSlide6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9.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4.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0.xml"/></Relationships>
</file>

<file path=ppt/notesSlides/_rels/notesSlide6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1.xml"/></Relationships>
</file>

<file path=ppt/notesSlides/_rels/notesSlide6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7.xml"/></Relationships>
</file>

<file path=ppt/notesSlides/_rels/notesSlide6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8.xml"/></Relationships>
</file>

<file path=ppt/notesSlides/_rels/notesSlide6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1.xml"/></Relationships>
</file>

<file path=ppt/notesSlides/_rels/notesSlide6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3.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2.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3.xml"/></Relationships>
</file>

<file path=ppt/notesSlides/_rels/notesSlide7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9.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3.xml"/></Relationships>
</file>

<file path=ppt/notesSlides/_rels/notesSlide7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6.xml"/></Relationships>
</file>

<file path=ppt/notesSlides/_rels/notesSlide7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4.xml"/></Relationships>
</file>

<file path=ppt/notesSlides/_rels/notesSlide7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5.xml"/></Relationships>
</file>

<file path=ppt/notesSlides/_rels/notesSlide7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6.xml"/></Relationships>
</file>

<file path=ppt/notesSlides/_rels/notesSlide7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1.xml"/></Relationships>
</file>

<file path=ppt/notesSlides/_rels/notesSlide7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5.xml"/></Relationships>
</file>

<file path=ppt/notesSlides/_rels/notesSlide7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7.xml"/></Relationships>
</file>

<file path=ppt/notesSlides/_rels/notesSlide7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8.xml"/></Relationships>
</file>

<file path=ppt/notesSlides/_rels/notesSlide7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8.xml"/></Relationships>
</file>

<file path=ppt/notesSlides/_rels/notesSlide7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3.xml"/></Relationships>
</file>

<file path=ppt/notesSlides/_rels/notesSlide7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0.xml"/></Relationships>
</file>

<file path=ppt/notesSlides/_rels/notesSlide7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6.xml"/></Relationships>
</file>

<file path=ppt/notesSlides/_rels/notesSlide7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7.xml"/></Relationships>
</file>

<file path=ppt/notesSlides/_rels/notesSlide7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5.xml"/></Relationships>
</file>

<file path=ppt/notesSlides/_rels/notesSlide7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7.xml"/></Relationships>
</file>

<file path=ppt/notesSlides/_rels/notesSlide7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7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7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7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8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2.xml"/></Relationships>
</file>

<file path=ppt/notesSlides/_rels/notesSlide8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8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8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4.xml"/></Relationships>
</file>

<file path=ppt/notesSlides/_rels/notesSlide8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5.xml"/></Relationships>
</file>

<file path=ppt/notesSlides/_rels/notesSlide8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2.xml"/></Relationships>
</file>

<file path=ppt/notesSlides/_rels/notesSlide8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3.xml"/></Relationships>
</file>

<file path=ppt/notesSlides/_rels/notesSlide8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9.xml"/></Relationships>
</file>

<file path=ppt/notesSlides/_rels/notesSlide8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3.xml"/></Relationships>
</file>

<file path=ppt/notesSlides/_rels/notesSlide8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6.xml"/></Relationships>
</file>

<file path=ppt/notesSlides/_rels/notesSlide8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4.xml"/></Relationships>
</file>

<file path=ppt/notesSlides/_rels/notesSlide8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5.xml"/></Relationships>
</file>

<file path=ppt/notesSlides/_rels/notesSlide8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6.xml"/></Relationships>
</file>

<file path=ppt/notesSlides/_rels/notesSlide8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1.xml"/></Relationships>
</file>

<file path=ppt/notesSlides/_rels/notesSlide8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5.xml"/></Relationships>
</file>

<file path=ppt/notesSlides/_rels/notesSlide8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7.xml"/></Relationships>
</file>

<file path=ppt/notesSlides/_rels/notesSlide8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8.xml"/></Relationships>
</file>

<file path=ppt/notesSlides/_rels/notesSlide8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8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2.xml"/></Relationships>
</file>

<file path=ppt/notesSlides/_rels/notesSlide9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3.xml"/></Relationships>
</file>

<file path=ppt/notesSlides/_rels/notesSlide9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9.xml"/></Relationships>
</file>

<file path=ppt/notesSlides/_rels/notesSlide9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0.xml"/></Relationships>
</file>

<file path=ppt/notesSlides/_rels/notesSlide9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6.xml"/></Relationships>
</file>

<file path=ppt/notesSlides/_rels/notesSlide9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0.xml"/></Relationships>
</file>

<file path=ppt/notesSlides/_rels/notesSlide9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5.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9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2.xml"/></Relationships>
</file>

<file path=ppt/notesSlides/_rels/notesSlide9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9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2.xml"/></Relationships>
</file>

<file path=ppt/notesSlides/_rels/notesSlide9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9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9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4.xml"/></Relationships>
</file>

<file path=ppt/notesSlides/_rels/notesSlide9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9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9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9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9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9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3.xml"/></Relationships>
</file>

<file path=ppt/notesSlides/_rels/notesSlide9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9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9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46.xml"/><Relationship Id="rId4" Type="http://schemas.openxmlformats.org/officeDocument/2006/relationships/chart" Target="../charts/chart47.xml"/><Relationship Id="rId5" Type="http://schemas.openxmlformats.org/officeDocument/2006/relationships/chart" Target="../charts/chart48.xml"/><Relationship Id="rId6" Type="http://schemas.openxmlformats.org/officeDocument/2006/relationships/chart" Target="../charts/chart49.xml"/><Relationship Id="rId7" Type="http://schemas.openxmlformats.org/officeDocument/2006/relationships/chart" Target="../charts/chart50.xml"/></Relationships>
</file>

<file path=ppt/slides/_rels/slide10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9.xml"/><Relationship Id="rId3" Type="http://schemas.openxmlformats.org/officeDocument/2006/relationships/chart" Target="../charts/chart3775.xml"/><Relationship Id="rId4" Type="http://schemas.openxmlformats.org/officeDocument/2006/relationships/chart" Target="../charts/chart3776.xml"/><Relationship Id="rId5" Type="http://schemas.openxmlformats.org/officeDocument/2006/relationships/chart" Target="../charts/chart377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501.xml"/><Relationship Id="rId4" Type="http://schemas.openxmlformats.org/officeDocument/2006/relationships/chart" Target="../charts/chart502.xml"/><Relationship Id="rId5" Type="http://schemas.openxmlformats.org/officeDocument/2006/relationships/chart" Target="../charts/chart503.xml"/><Relationship Id="rId6" Type="http://schemas.openxmlformats.org/officeDocument/2006/relationships/chart" Target="../charts/chart504.xml"/><Relationship Id="rId7" Type="http://schemas.openxmlformats.org/officeDocument/2006/relationships/chart" Target="../charts/chart505.xml"/></Relationships>
</file>

<file path=ppt/slides/_rels/slide10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4.xml"/><Relationship Id="rId3" Type="http://schemas.openxmlformats.org/officeDocument/2006/relationships/chart" Target="../charts/chart3789.xml"/><Relationship Id="rId4" Type="http://schemas.openxmlformats.org/officeDocument/2006/relationships/chart" Target="../charts/chart3790.xml"/><Relationship Id="rId5" Type="http://schemas.openxmlformats.org/officeDocument/2006/relationships/chart" Target="../charts/chart3791.xml"/></Relationships>
</file>

<file path=ppt/slides/_rels/slide10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20.xml"/><Relationship Id="rId3" Type="http://schemas.openxmlformats.org/officeDocument/2006/relationships/chart" Target="../charts/chart3806.xml"/><Relationship Id="rId4" Type="http://schemas.openxmlformats.org/officeDocument/2006/relationships/chart" Target="../charts/chart3807.xml"/></Relationships>
</file>

<file path=ppt/slides/_rels/slide10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21.xml"/><Relationship Id="rId3" Type="http://schemas.openxmlformats.org/officeDocument/2006/relationships/chart" Target="../charts/chart3808.xml"/><Relationship Id="rId4" Type="http://schemas.openxmlformats.org/officeDocument/2006/relationships/chart" Target="../charts/chart3809.xml"/><Relationship Id="rId5" Type="http://schemas.openxmlformats.org/officeDocument/2006/relationships/chart" Target="../charts/chart3810.xml"/></Relationships>
</file>

<file path=ppt/slides/_rels/slide1027.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10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23.xml"/><Relationship Id="rId7" Type="http://schemas.openxmlformats.org/officeDocument/2006/relationships/chart" Target="../charts/chart3824.xml"/></Relationships>
</file>

<file path=ppt/slides/_rels/slide1028.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10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25.xml"/><Relationship Id="rId7" Type="http://schemas.openxmlformats.org/officeDocument/2006/relationships/chart" Target="../charts/chart3826.xml"/></Relationships>
</file>

<file path=ppt/slides/_rels/slide1038.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0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45.xml"/><Relationship Id="rId7" Type="http://schemas.openxmlformats.org/officeDocument/2006/relationships/chart" Target="../charts/chart3846.xml"/></Relationships>
</file>

<file path=ppt/slides/_rels/slide1043.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0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5.xml"/><Relationship Id="rId7" Type="http://schemas.openxmlformats.org/officeDocument/2006/relationships/chart" Target="../charts/chart3856.xml"/></Relationships>
</file>

<file path=ppt/slides/_rels/slide1049.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10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7.xml"/><Relationship Id="rId7" Type="http://schemas.openxmlformats.org/officeDocument/2006/relationships/chart" Target="../charts/chart386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5.xml"/><Relationship Id="rId3" Type="http://schemas.openxmlformats.org/officeDocument/2006/relationships/chart" Target="../charts/chart521.xml"/><Relationship Id="rId4" Type="http://schemas.openxmlformats.org/officeDocument/2006/relationships/chart" Target="../charts/chart522.xml"/><Relationship Id="rId5" Type="http://schemas.openxmlformats.org/officeDocument/2006/relationships/chart" Target="../charts/chart523.xml"/><Relationship Id="rId6" Type="http://schemas.openxmlformats.org/officeDocument/2006/relationships/chart" Target="../charts/chart524.xml"/><Relationship Id="rId7" Type="http://schemas.openxmlformats.org/officeDocument/2006/relationships/chart" Target="../charts/chart525.xml"/></Relationships>
</file>

<file path=ppt/slides/_rels/slide1050.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10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9.xml"/><Relationship Id="rId7" Type="http://schemas.openxmlformats.org/officeDocument/2006/relationships/chart" Target="../charts/chart3870.xml"/></Relationships>
</file>

<file path=ppt/slides/_rels/slide105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10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81.xml"/><Relationship Id="rId7" Type="http://schemas.openxmlformats.org/officeDocument/2006/relationships/chart" Target="../charts/chart3882.xml"/></Relationships>
</file>

<file path=ppt/slides/_rels/slide1060.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10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89.xml"/><Relationship Id="rId7" Type="http://schemas.openxmlformats.org/officeDocument/2006/relationships/chart" Target="../charts/chart3890.xml"/></Relationships>
</file>

<file path=ppt/slides/_rels/slide1065.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10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99.xml"/><Relationship Id="rId7" Type="http://schemas.openxmlformats.org/officeDocument/2006/relationships/chart" Target="../charts/chart3900.xml"/></Relationships>
</file>

<file path=ppt/slides/_rels/slide1071.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10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1.xml"/><Relationship Id="rId7" Type="http://schemas.openxmlformats.org/officeDocument/2006/relationships/chart" Target="../charts/chart3912.xml"/></Relationships>
</file>

<file path=ppt/slides/_rels/slide1072.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10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3.xml"/><Relationship Id="rId7" Type="http://schemas.openxmlformats.org/officeDocument/2006/relationships/chart" Target="../charts/chart3914.xml"/></Relationships>
</file>

<file path=ppt/slides/_rels/slide1078.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10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25.xml"/><Relationship Id="rId7" Type="http://schemas.openxmlformats.org/officeDocument/2006/relationships/chart" Target="../charts/chart392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8.xml"/><Relationship Id="rId3" Type="http://schemas.openxmlformats.org/officeDocument/2006/relationships/chart" Target="../charts/chart536.xml"/><Relationship Id="rId4" Type="http://schemas.openxmlformats.org/officeDocument/2006/relationships/chart" Target="../charts/chart537.xml"/><Relationship Id="rId5" Type="http://schemas.openxmlformats.org/officeDocument/2006/relationships/chart" Target="../charts/chart538.xml"/><Relationship Id="rId6" Type="http://schemas.openxmlformats.org/officeDocument/2006/relationships/chart" Target="../charts/chart539.xml"/><Relationship Id="rId7" Type="http://schemas.openxmlformats.org/officeDocument/2006/relationships/chart" Target="../charts/chart540.xml"/></Relationships>
</file>

<file path=ppt/slides/_rels/slide1082.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10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33.xml"/><Relationship Id="rId7" Type="http://schemas.openxmlformats.org/officeDocument/2006/relationships/chart" Target="../charts/chart3934.xml"/></Relationships>
</file>

<file path=ppt/slides/_rels/slide1093.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10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55.xml"/><Relationship Id="rId7" Type="http://schemas.openxmlformats.org/officeDocument/2006/relationships/chart" Target="../charts/chart3956.xml"/></Relationships>
</file>

<file path=ppt/slides/_rels/slide1094.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10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57.xml"/><Relationship Id="rId7" Type="http://schemas.openxmlformats.org/officeDocument/2006/relationships/chart" Target="../charts/chart3958.xml"/></Relationships>
</file>

<file path=ppt/slides/_rels/slide1103.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1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5.xml"/><Relationship Id="rId7" Type="http://schemas.openxmlformats.org/officeDocument/2006/relationships/chart" Target="../charts/chart3976.xml"/></Relationships>
</file>

<file path=ppt/slides/_rels/slide1110.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1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89.xml"/><Relationship Id="rId7" Type="http://schemas.openxmlformats.org/officeDocument/2006/relationships/chart" Target="../charts/chart3990.xml"/></Relationships>
</file>

<file path=ppt/slides/_rels/slide1116.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1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01.xml"/><Relationship Id="rId7" Type="http://schemas.openxmlformats.org/officeDocument/2006/relationships/chart" Target="../charts/chart4002.xml"/></Relationships>
</file>

<file path=ppt/slides/_rels/slide1117.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1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03.xml"/><Relationship Id="rId7" Type="http://schemas.openxmlformats.org/officeDocument/2006/relationships/chart" Target="../charts/chart4004.xml"/></Relationships>
</file>

<file path=ppt/slides/_rels/slide1125.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19.xml"/><Relationship Id="rId7" Type="http://schemas.openxmlformats.org/officeDocument/2006/relationships/chart" Target="../charts/chart4020.xml"/></Relationships>
</file>

<file path=ppt/slides/_rels/slide1127.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23.xml"/><Relationship Id="rId7" Type="http://schemas.openxmlformats.org/officeDocument/2006/relationships/chart" Target="../charts/chart4024.xml"/></Relationships>
</file>

<file path=ppt/slides/_rels/slide1132.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33.xml"/><Relationship Id="rId7" Type="http://schemas.openxmlformats.org/officeDocument/2006/relationships/chart" Target="../charts/chart4034.xml"/></Relationships>
</file>

<file path=ppt/slides/_rels/slide1138.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65.xml"/><Relationship Id="rId7" Type="http://schemas.openxmlformats.org/officeDocument/2006/relationships/chart" Target="../charts/chart4066.xml"/><Relationship Id="rId8" Type="http://schemas.openxmlformats.org/officeDocument/2006/relationships/chart" Target="../charts/chart4067.xml"/><Relationship Id="rId9" Type="http://schemas.openxmlformats.org/officeDocument/2006/relationships/chart" Target="../charts/chart4068.xml"/><Relationship Id="rId10" Type="http://schemas.openxmlformats.org/officeDocument/2006/relationships/chart" Target="../charts/chart4069.xml"/><Relationship Id="rId11" Type="http://schemas.openxmlformats.org/officeDocument/2006/relationships/chart" Target="../charts/chart4070.xml"/></Relationships>
</file>

<file path=ppt/slides/_rels/slide1139.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71.xml"/><Relationship Id="rId7" Type="http://schemas.openxmlformats.org/officeDocument/2006/relationships/chart" Target="../charts/chart4072.xml"/><Relationship Id="rId8" Type="http://schemas.openxmlformats.org/officeDocument/2006/relationships/chart" Target="../charts/chart4073.xml"/><Relationship Id="rId9" Type="http://schemas.openxmlformats.org/officeDocument/2006/relationships/chart" Target="../charts/chart4074.xml"/><Relationship Id="rId10" Type="http://schemas.openxmlformats.org/officeDocument/2006/relationships/chart" Target="../charts/chart4075.xml"/><Relationship Id="rId11" Type="http://schemas.openxmlformats.org/officeDocument/2006/relationships/chart" Target="../charts/chart4076.xml"/></Relationships>
</file>

<file path=ppt/slides/_rels/slide1149.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31.xml"/><Relationship Id="rId7" Type="http://schemas.openxmlformats.org/officeDocument/2006/relationships/chart" Target="../charts/chart4132.xml"/><Relationship Id="rId8" Type="http://schemas.openxmlformats.org/officeDocument/2006/relationships/chart" Target="../charts/chart4133.xml"/><Relationship Id="rId9" Type="http://schemas.openxmlformats.org/officeDocument/2006/relationships/chart" Target="../charts/chart4134.xml"/><Relationship Id="rId10" Type="http://schemas.openxmlformats.org/officeDocument/2006/relationships/chart" Target="../charts/chart4135.xml"/><Relationship Id="rId11" Type="http://schemas.openxmlformats.org/officeDocument/2006/relationships/chart" Target="../charts/chart4136.xml"/></Relationships>
</file>

<file path=ppt/slides/_rels/slide1154.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61.xml"/><Relationship Id="rId7" Type="http://schemas.openxmlformats.org/officeDocument/2006/relationships/chart" Target="../charts/chart4162.xml"/><Relationship Id="rId8" Type="http://schemas.openxmlformats.org/officeDocument/2006/relationships/chart" Target="../charts/chart4163.xml"/><Relationship Id="rId9" Type="http://schemas.openxmlformats.org/officeDocument/2006/relationships/chart" Target="../charts/chart4164.xml"/><Relationship Id="rId10" Type="http://schemas.openxmlformats.org/officeDocument/2006/relationships/chart" Target="../charts/chart4165.xml"/><Relationship Id="rId11" Type="http://schemas.openxmlformats.org/officeDocument/2006/relationships/chart" Target="../charts/chart4166.xml"/></Relationships>
</file>

<file path=ppt/slides/_rels/slide1160.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7.xml"/><Relationship Id="rId7" Type="http://schemas.openxmlformats.org/officeDocument/2006/relationships/chart" Target="../charts/chart4198.xml"/><Relationship Id="rId8" Type="http://schemas.openxmlformats.org/officeDocument/2006/relationships/chart" Target="../charts/chart4199.xml"/><Relationship Id="rId9" Type="http://schemas.openxmlformats.org/officeDocument/2006/relationships/chart" Target="../charts/chart4200.xml"/><Relationship Id="rId10" Type="http://schemas.openxmlformats.org/officeDocument/2006/relationships/chart" Target="../charts/chart4201.xml"/><Relationship Id="rId11" Type="http://schemas.openxmlformats.org/officeDocument/2006/relationships/chart" Target="../charts/chart4202.xml"/></Relationships>
</file>

<file path=ppt/slides/_rels/slide1161.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03.xml"/><Relationship Id="rId7" Type="http://schemas.openxmlformats.org/officeDocument/2006/relationships/chart" Target="../charts/chart4204.xml"/><Relationship Id="rId8" Type="http://schemas.openxmlformats.org/officeDocument/2006/relationships/chart" Target="../charts/chart4205.xml"/><Relationship Id="rId9" Type="http://schemas.openxmlformats.org/officeDocument/2006/relationships/chart" Target="../charts/chart4206.xml"/><Relationship Id="rId10" Type="http://schemas.openxmlformats.org/officeDocument/2006/relationships/chart" Target="../charts/chart4207.xml"/><Relationship Id="rId11" Type="http://schemas.openxmlformats.org/officeDocument/2006/relationships/chart" Target="../charts/chart4208.xml"/></Relationships>
</file>

<file path=ppt/slides/_rels/slide1167.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39.xml"/><Relationship Id="rId7" Type="http://schemas.openxmlformats.org/officeDocument/2006/relationships/chart" Target="../charts/chart4240.xml"/><Relationship Id="rId8" Type="http://schemas.openxmlformats.org/officeDocument/2006/relationships/chart" Target="../charts/chart4241.xml"/><Relationship Id="rId9" Type="http://schemas.openxmlformats.org/officeDocument/2006/relationships/chart" Target="../charts/chart4242.xml"/><Relationship Id="rId10" Type="http://schemas.openxmlformats.org/officeDocument/2006/relationships/chart" Target="../charts/chart4243.xml"/><Relationship Id="rId11" Type="http://schemas.openxmlformats.org/officeDocument/2006/relationships/chart" Target="../charts/chart4244.xml"/></Relationships>
</file>

<file path=ppt/slides/_rels/slide1168.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1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45.xml"/><Relationship Id="rId7" Type="http://schemas.openxmlformats.org/officeDocument/2006/relationships/chart" Target="../charts/chart4246.xml"/><Relationship Id="rId8" Type="http://schemas.openxmlformats.org/officeDocument/2006/relationships/chart" Target="../charts/chart4247.xml"/><Relationship Id="rId9" Type="http://schemas.openxmlformats.org/officeDocument/2006/relationships/chart" Target="../charts/chart4248.xml"/><Relationship Id="rId10" Type="http://schemas.openxmlformats.org/officeDocument/2006/relationships/chart" Target="../charts/chart4249.xml"/><Relationship Id="rId11" Type="http://schemas.openxmlformats.org/officeDocument/2006/relationships/chart" Target="../charts/chart4250.xml"/></Relationships>
</file>

<file path=ppt/slides/_rels/slide1171.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63.xml"/><Relationship Id="rId7" Type="http://schemas.openxmlformats.org/officeDocument/2006/relationships/chart" Target="../charts/chart4264.xml"/><Relationship Id="rId8" Type="http://schemas.openxmlformats.org/officeDocument/2006/relationships/chart" Target="../charts/chart4265.xml"/><Relationship Id="rId9" Type="http://schemas.openxmlformats.org/officeDocument/2006/relationships/chart" Target="../charts/chart4266.xml"/><Relationship Id="rId10" Type="http://schemas.openxmlformats.org/officeDocument/2006/relationships/chart" Target="../charts/chart4267.xml"/><Relationship Id="rId11" Type="http://schemas.openxmlformats.org/officeDocument/2006/relationships/chart" Target="../charts/chart4268.xml"/></Relationships>
</file>

<file path=ppt/slides/_rels/slide1178.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05.xml"/><Relationship Id="rId7" Type="http://schemas.openxmlformats.org/officeDocument/2006/relationships/chart" Target="../charts/chart4306.xml"/><Relationship Id="rId8" Type="http://schemas.openxmlformats.org/officeDocument/2006/relationships/chart" Target="../charts/chart4307.xml"/><Relationship Id="rId9" Type="http://schemas.openxmlformats.org/officeDocument/2006/relationships/chart" Target="../charts/chart4308.xml"/><Relationship Id="rId10" Type="http://schemas.openxmlformats.org/officeDocument/2006/relationships/chart" Target="../charts/chart4309.xml"/><Relationship Id="rId11" Type="http://schemas.openxmlformats.org/officeDocument/2006/relationships/chart" Target="../charts/chart4310.xml"/></Relationships>
</file>

<file path=ppt/slides/_rels/slide1183.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183.xml"/><Relationship Id="rId4" Type="http://schemas.openxmlformats.org/officeDocument/2006/relationships/chart" Target="../charts/chart4325.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189.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189.xml"/><Relationship Id="rId4" Type="http://schemas.openxmlformats.org/officeDocument/2006/relationships/chart" Target="../charts/chart4331.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190.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190.xml"/><Relationship Id="rId4" Type="http://schemas.openxmlformats.org/officeDocument/2006/relationships/chart" Target="../charts/chart433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199.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199.xml"/><Relationship Id="rId4" Type="http://schemas.openxmlformats.org/officeDocument/2006/relationships/chart" Target="../charts/chart4341.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03.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203.xml"/><Relationship Id="rId4" Type="http://schemas.openxmlformats.org/officeDocument/2006/relationships/chart" Target="../charts/chart4345.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06.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206.xml"/><Relationship Id="rId4" Type="http://schemas.openxmlformats.org/officeDocument/2006/relationships/chart" Target="../charts/chart4348.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14.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214.xml"/><Relationship Id="rId4" Type="http://schemas.openxmlformats.org/officeDocument/2006/relationships/chart" Target="../charts/chart4356.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15.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215.xml"/><Relationship Id="rId4" Type="http://schemas.openxmlformats.org/officeDocument/2006/relationships/chart" Target="../charts/chart435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16.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216.xml"/><Relationship Id="rId4" Type="http://schemas.openxmlformats.org/officeDocument/2006/relationships/chart" Target="../charts/chart4358.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21.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221.xml"/><Relationship Id="rId4" Type="http://schemas.openxmlformats.org/officeDocument/2006/relationships/chart" Target="../charts/chart4363.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25.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1225.xml"/><Relationship Id="rId4" Type="http://schemas.openxmlformats.org/officeDocument/2006/relationships/chart" Target="../charts/chart436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27.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1227.xml"/><Relationship Id="rId4" Type="http://schemas.openxmlformats.org/officeDocument/2006/relationships/chart" Target="../charts/chart4369.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28.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1228.xml"/><Relationship Id="rId4" Type="http://schemas.openxmlformats.org/officeDocument/2006/relationships/chart" Target="../charts/chart4370.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611.xml"/><Relationship Id="rId4" Type="http://schemas.openxmlformats.org/officeDocument/2006/relationships/chart" Target="../charts/chart612.xml"/><Relationship Id="rId5" Type="http://schemas.openxmlformats.org/officeDocument/2006/relationships/chart" Target="../charts/chart613.xml"/><Relationship Id="rId6" Type="http://schemas.openxmlformats.org/officeDocument/2006/relationships/chart" Target="../charts/chart614.xml"/><Relationship Id="rId7" Type="http://schemas.openxmlformats.org/officeDocument/2006/relationships/chart" Target="../charts/chart61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616.xml"/><Relationship Id="rId4" Type="http://schemas.openxmlformats.org/officeDocument/2006/relationships/chart" Target="../charts/chart617.xml"/><Relationship Id="rId5" Type="http://schemas.openxmlformats.org/officeDocument/2006/relationships/chart" Target="../charts/chart618.xml"/><Relationship Id="rId6" Type="http://schemas.openxmlformats.org/officeDocument/2006/relationships/chart" Target="../charts/chart619.xml"/><Relationship Id="rId7" Type="http://schemas.openxmlformats.org/officeDocument/2006/relationships/chart" Target="../charts/chart620.xml"/></Relationships>
</file>

<file path=ppt/slides/_rels/slide1243.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1243.xml"/><Relationship Id="rId4" Type="http://schemas.openxmlformats.org/officeDocument/2006/relationships/chart" Target="../charts/chart4385.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50.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1250.xml"/><Relationship Id="rId4" Type="http://schemas.openxmlformats.org/officeDocument/2006/relationships/chart" Target="../charts/chart439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56.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notesSlide" Target="../notesSlides/notesSlide1256.xml"/><Relationship Id="rId4" Type="http://schemas.openxmlformats.org/officeDocument/2006/relationships/chart" Target="../charts/chart4398.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57.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1257.xml"/><Relationship Id="rId4" Type="http://schemas.openxmlformats.org/officeDocument/2006/relationships/chart" Target="../charts/chart4399.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65.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1265.xml"/><Relationship Id="rId4" Type="http://schemas.openxmlformats.org/officeDocument/2006/relationships/chart" Target="../charts/chart440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67.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notesSlide" Target="../notesSlides/notesSlide1267.xml"/><Relationship Id="rId4" Type="http://schemas.openxmlformats.org/officeDocument/2006/relationships/chart" Target="../charts/chart4409.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272.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1272.xml"/><Relationship Id="rId4" Type="http://schemas.openxmlformats.org/officeDocument/2006/relationships/chart" Target="../charts/chart4414.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646.xml"/><Relationship Id="rId4" Type="http://schemas.openxmlformats.org/officeDocument/2006/relationships/chart" Target="../charts/chart647.xml"/><Relationship Id="rId5" Type="http://schemas.openxmlformats.org/officeDocument/2006/relationships/chart" Target="../charts/chart648.xml"/><Relationship Id="rId6" Type="http://schemas.openxmlformats.org/officeDocument/2006/relationships/chart" Target="../charts/chart649.xml"/><Relationship Id="rId7" Type="http://schemas.openxmlformats.org/officeDocument/2006/relationships/chart" Target="../charts/chart650.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4.xml"/><Relationship Id="rId3" Type="http://schemas.openxmlformats.org/officeDocument/2006/relationships/chart" Target="../charts/chart666.xml"/><Relationship Id="rId4" Type="http://schemas.openxmlformats.org/officeDocument/2006/relationships/chart" Target="../charts/chart667.xml"/><Relationship Id="rId5" Type="http://schemas.openxmlformats.org/officeDocument/2006/relationships/chart" Target="../charts/chart668.xml"/><Relationship Id="rId6" Type="http://schemas.openxmlformats.org/officeDocument/2006/relationships/chart" Target="../charts/chart669.xml"/><Relationship Id="rId7" Type="http://schemas.openxmlformats.org/officeDocument/2006/relationships/chart" Target="../charts/chart670.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6.xml"/><Relationship Id="rId3" Type="http://schemas.openxmlformats.org/officeDocument/2006/relationships/chart" Target="../charts/chart676.xml"/><Relationship Id="rId4" Type="http://schemas.openxmlformats.org/officeDocument/2006/relationships/chart" Target="../charts/chart677.xml"/><Relationship Id="rId5" Type="http://schemas.openxmlformats.org/officeDocument/2006/relationships/chart" Target="../charts/chart678.xml"/><Relationship Id="rId6" Type="http://schemas.openxmlformats.org/officeDocument/2006/relationships/chart" Target="../charts/chart679.xml"/><Relationship Id="rId7" Type="http://schemas.openxmlformats.org/officeDocument/2006/relationships/chart" Target="../charts/chart680.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7.xml"/><Relationship Id="rId3" Type="http://schemas.openxmlformats.org/officeDocument/2006/relationships/chart" Target="../charts/chart681.xml"/><Relationship Id="rId4" Type="http://schemas.openxmlformats.org/officeDocument/2006/relationships/chart" Target="../charts/chart682.xml"/><Relationship Id="rId5" Type="http://schemas.openxmlformats.org/officeDocument/2006/relationships/chart" Target="../charts/chart683.xml"/><Relationship Id="rId6" Type="http://schemas.openxmlformats.org/officeDocument/2006/relationships/chart" Target="../charts/chart684.xml"/><Relationship Id="rId7" Type="http://schemas.openxmlformats.org/officeDocument/2006/relationships/chart" Target="../charts/chart685.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5.xml"/><Relationship Id="rId3" Type="http://schemas.openxmlformats.org/officeDocument/2006/relationships/chart" Target="../charts/chart721.xml"/><Relationship Id="rId4" Type="http://schemas.openxmlformats.org/officeDocument/2006/relationships/chart" Target="../charts/chart722.xml"/><Relationship Id="rId5" Type="http://schemas.openxmlformats.org/officeDocument/2006/relationships/chart" Target="../charts/chart723.xml"/><Relationship Id="rId6" Type="http://schemas.openxmlformats.org/officeDocument/2006/relationships/chart" Target="../charts/chart724.xml"/><Relationship Id="rId7" Type="http://schemas.openxmlformats.org/officeDocument/2006/relationships/chart" Target="../charts/chart72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7.xml"/><Relationship Id="rId3" Type="http://schemas.openxmlformats.org/officeDocument/2006/relationships/chart" Target="../charts/chart731.xml"/><Relationship Id="rId4" Type="http://schemas.openxmlformats.org/officeDocument/2006/relationships/chart" Target="../charts/chart732.xml"/><Relationship Id="rId5" Type="http://schemas.openxmlformats.org/officeDocument/2006/relationships/chart" Target="../charts/chart733.xml"/><Relationship Id="rId6" Type="http://schemas.openxmlformats.org/officeDocument/2006/relationships/chart" Target="../charts/chart734.xml"/><Relationship Id="rId7" Type="http://schemas.openxmlformats.org/officeDocument/2006/relationships/chart" Target="../charts/chart735.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756.xml"/><Relationship Id="rId4" Type="http://schemas.openxmlformats.org/officeDocument/2006/relationships/chart" Target="../charts/chart757.xml"/><Relationship Id="rId5" Type="http://schemas.openxmlformats.org/officeDocument/2006/relationships/chart" Target="../charts/chart758.xml"/><Relationship Id="rId6" Type="http://schemas.openxmlformats.org/officeDocument/2006/relationships/chart" Target="../charts/chart759.xml"/><Relationship Id="rId7" Type="http://schemas.openxmlformats.org/officeDocument/2006/relationships/chart" Target="../charts/chart760.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8.xml"/><Relationship Id="rId3" Type="http://schemas.openxmlformats.org/officeDocument/2006/relationships/chart" Target="../charts/chart786.xml"/><Relationship Id="rId4" Type="http://schemas.openxmlformats.org/officeDocument/2006/relationships/chart" Target="../charts/chart787.xml"/><Relationship Id="rId5" Type="http://schemas.openxmlformats.org/officeDocument/2006/relationships/chart" Target="../charts/chart788.xml"/><Relationship Id="rId6" Type="http://schemas.openxmlformats.org/officeDocument/2006/relationships/chart" Target="../charts/chart789.xml"/><Relationship Id="rId7" Type="http://schemas.openxmlformats.org/officeDocument/2006/relationships/chart" Target="../charts/chart790.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9.xml"/><Relationship Id="rId3" Type="http://schemas.openxmlformats.org/officeDocument/2006/relationships/chart" Target="../charts/chart791.xml"/><Relationship Id="rId4" Type="http://schemas.openxmlformats.org/officeDocument/2006/relationships/chart" Target="../charts/chart792.xml"/><Relationship Id="rId5" Type="http://schemas.openxmlformats.org/officeDocument/2006/relationships/chart" Target="../charts/chart793.xml"/><Relationship Id="rId6" Type="http://schemas.openxmlformats.org/officeDocument/2006/relationships/chart" Target="../charts/chart794.xml"/><Relationship Id="rId7" Type="http://schemas.openxmlformats.org/officeDocument/2006/relationships/chart" Target="../charts/chart79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76.xml"/><Relationship Id="rId4" Type="http://schemas.openxmlformats.org/officeDocument/2006/relationships/chart" Target="../charts/chart77.xml"/><Relationship Id="rId5" Type="http://schemas.openxmlformats.org/officeDocument/2006/relationships/chart" Target="../charts/chart78.xml"/><Relationship Id="rId6" Type="http://schemas.openxmlformats.org/officeDocument/2006/relationships/chart" Target="../charts/chart79.xml"/><Relationship Id="rId7" Type="http://schemas.openxmlformats.org/officeDocument/2006/relationships/chart" Target="../charts/chart80.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6.xml"/><Relationship Id="rId3" Type="http://schemas.openxmlformats.org/officeDocument/2006/relationships/chart" Target="../charts/chart826.xml"/><Relationship Id="rId4" Type="http://schemas.openxmlformats.org/officeDocument/2006/relationships/chart" Target="../charts/chart827.xml"/><Relationship Id="rId5" Type="http://schemas.openxmlformats.org/officeDocument/2006/relationships/chart" Target="../charts/chart828.xml"/><Relationship Id="rId6" Type="http://schemas.openxmlformats.org/officeDocument/2006/relationships/chart" Target="../charts/chart829.xml"/><Relationship Id="rId7" Type="http://schemas.openxmlformats.org/officeDocument/2006/relationships/chart" Target="../charts/chart83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9.xml"/><Relationship Id="rId3" Type="http://schemas.openxmlformats.org/officeDocument/2006/relationships/chart" Target="../charts/chart841.xml"/><Relationship Id="rId4" Type="http://schemas.openxmlformats.org/officeDocument/2006/relationships/chart" Target="../charts/chart842.xml"/><Relationship Id="rId5" Type="http://schemas.openxmlformats.org/officeDocument/2006/relationships/chart" Target="../charts/chart843.xml"/><Relationship Id="rId6" Type="http://schemas.openxmlformats.org/officeDocument/2006/relationships/chart" Target="../charts/chart844.xml"/><Relationship Id="rId7" Type="http://schemas.openxmlformats.org/officeDocument/2006/relationships/chart" Target="../charts/chart84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81.xml"/><Relationship Id="rId4" Type="http://schemas.openxmlformats.org/officeDocument/2006/relationships/chart" Target="../charts/chart82.xml"/><Relationship Id="rId5" Type="http://schemas.openxmlformats.org/officeDocument/2006/relationships/chart" Target="../charts/chart83.xml"/><Relationship Id="rId6" Type="http://schemas.openxmlformats.org/officeDocument/2006/relationships/chart" Target="../charts/chart84.xml"/><Relationship Id="rId7" Type="http://schemas.openxmlformats.org/officeDocument/2006/relationships/chart" Target="../charts/chart8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4.xml"/><Relationship Id="rId3" Type="http://schemas.openxmlformats.org/officeDocument/2006/relationships/chart" Target="../charts/chart866.xml"/><Relationship Id="rId4" Type="http://schemas.openxmlformats.org/officeDocument/2006/relationships/chart" Target="../charts/chart867.xml"/><Relationship Id="rId5" Type="http://schemas.openxmlformats.org/officeDocument/2006/relationships/chart" Target="../charts/chart868.xml"/><Relationship Id="rId6" Type="http://schemas.openxmlformats.org/officeDocument/2006/relationships/chart" Target="../charts/chart869.xml"/><Relationship Id="rId7" Type="http://schemas.openxmlformats.org/officeDocument/2006/relationships/chart" Target="../charts/chart870.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1.xml"/><Relationship Id="rId3" Type="http://schemas.openxmlformats.org/officeDocument/2006/relationships/chart" Target="../charts/chart901.xml"/><Relationship Id="rId4" Type="http://schemas.openxmlformats.org/officeDocument/2006/relationships/chart" Target="../charts/chart902.xml"/><Relationship Id="rId5" Type="http://schemas.openxmlformats.org/officeDocument/2006/relationships/chart" Target="../charts/chart903.xml"/><Relationship Id="rId6" Type="http://schemas.openxmlformats.org/officeDocument/2006/relationships/chart" Target="../charts/chart904.xml"/><Relationship Id="rId7" Type="http://schemas.openxmlformats.org/officeDocument/2006/relationships/chart" Target="../charts/chart905.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7.xml"/><Relationship Id="rId3" Type="http://schemas.openxmlformats.org/officeDocument/2006/relationships/chart" Target="../charts/chart931.xml"/><Relationship Id="rId4" Type="http://schemas.openxmlformats.org/officeDocument/2006/relationships/chart" Target="../charts/chart932.xml"/><Relationship Id="rId5" Type="http://schemas.openxmlformats.org/officeDocument/2006/relationships/chart" Target="../charts/chart933.xml"/><Relationship Id="rId6" Type="http://schemas.openxmlformats.org/officeDocument/2006/relationships/chart" Target="../charts/chart934.xml"/><Relationship Id="rId7" Type="http://schemas.openxmlformats.org/officeDocument/2006/relationships/chart" Target="../charts/chart935.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8.xml"/><Relationship Id="rId3" Type="http://schemas.openxmlformats.org/officeDocument/2006/relationships/chart" Target="../charts/chart936.xml"/><Relationship Id="rId4" Type="http://schemas.openxmlformats.org/officeDocument/2006/relationships/chart" Target="../charts/chart937.xml"/><Relationship Id="rId5" Type="http://schemas.openxmlformats.org/officeDocument/2006/relationships/chart" Target="../charts/chart938.xml"/><Relationship Id="rId6" Type="http://schemas.openxmlformats.org/officeDocument/2006/relationships/chart" Target="../charts/chart939.xml"/><Relationship Id="rId7" Type="http://schemas.openxmlformats.org/officeDocument/2006/relationships/chart" Target="../charts/chart940.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7.xml"/><Relationship Id="rId3" Type="http://schemas.openxmlformats.org/officeDocument/2006/relationships/chart" Target="../charts/chart981.xml"/><Relationship Id="rId4" Type="http://schemas.openxmlformats.org/officeDocument/2006/relationships/chart" Target="../charts/chart982.xml"/><Relationship Id="rId5" Type="http://schemas.openxmlformats.org/officeDocument/2006/relationships/chart" Target="../charts/chart983.xml"/><Relationship Id="rId6" Type="http://schemas.openxmlformats.org/officeDocument/2006/relationships/chart" Target="../charts/chart984.xml"/><Relationship Id="rId7" Type="http://schemas.openxmlformats.org/officeDocument/2006/relationships/chart" Target="../charts/chart98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6.xml"/><Relationship Id="rId4" Type="http://schemas.openxmlformats.org/officeDocument/2006/relationships/chart" Target="../charts/chart7.xml"/><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96.xml"/><Relationship Id="rId4" Type="http://schemas.openxmlformats.org/officeDocument/2006/relationships/chart" Target="../charts/chart97.xml"/><Relationship Id="rId5" Type="http://schemas.openxmlformats.org/officeDocument/2006/relationships/chart" Target="../charts/chart98.xml"/><Relationship Id="rId6" Type="http://schemas.openxmlformats.org/officeDocument/2006/relationships/chart" Target="../charts/chart99.xml"/><Relationship Id="rId7" Type="http://schemas.openxmlformats.org/officeDocument/2006/relationships/chart" Target="../charts/chart100.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1.xml"/><Relationship Id="rId3" Type="http://schemas.openxmlformats.org/officeDocument/2006/relationships/chart" Target="../charts/chart1001.xml"/><Relationship Id="rId4" Type="http://schemas.openxmlformats.org/officeDocument/2006/relationships/chart" Target="../charts/chart1002.xml"/><Relationship Id="rId5" Type="http://schemas.openxmlformats.org/officeDocument/2006/relationships/chart" Target="../charts/chart1003.xml"/><Relationship Id="rId6" Type="http://schemas.openxmlformats.org/officeDocument/2006/relationships/chart" Target="../charts/chart1004.xml"/><Relationship Id="rId7" Type="http://schemas.openxmlformats.org/officeDocument/2006/relationships/chart" Target="../charts/chart1005.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2.xml"/><Relationship Id="rId3" Type="http://schemas.openxmlformats.org/officeDocument/2006/relationships/chart" Target="../charts/chart1056.xml"/><Relationship Id="rId4" Type="http://schemas.openxmlformats.org/officeDocument/2006/relationships/chart" Target="../charts/chart1057.xml"/><Relationship Id="rId5" Type="http://schemas.openxmlformats.org/officeDocument/2006/relationships/chart" Target="../charts/chart1058.xml"/><Relationship Id="rId6" Type="http://schemas.openxmlformats.org/officeDocument/2006/relationships/chart" Target="../charts/chart1059.xml"/><Relationship Id="rId7" Type="http://schemas.openxmlformats.org/officeDocument/2006/relationships/chart" Target="../charts/chart1060.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3.xml"/><Relationship Id="rId3" Type="http://schemas.openxmlformats.org/officeDocument/2006/relationships/chart" Target="../charts/chart1061.xml"/><Relationship Id="rId4" Type="http://schemas.openxmlformats.org/officeDocument/2006/relationships/chart" Target="../charts/chart1062.xml"/><Relationship Id="rId5" Type="http://schemas.openxmlformats.org/officeDocument/2006/relationships/chart" Target="../charts/chart1063.xml"/><Relationship Id="rId6" Type="http://schemas.openxmlformats.org/officeDocument/2006/relationships/chart" Target="../charts/chart1064.xml"/><Relationship Id="rId7" Type="http://schemas.openxmlformats.org/officeDocument/2006/relationships/chart" Target="../charts/chart1065.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9.xml"/><Relationship Id="rId3" Type="http://schemas.openxmlformats.org/officeDocument/2006/relationships/chart" Target="../charts/chart1091.xml"/><Relationship Id="rId4" Type="http://schemas.openxmlformats.org/officeDocument/2006/relationships/chart" Target="../charts/chart1092.xml"/><Relationship Id="rId5" Type="http://schemas.openxmlformats.org/officeDocument/2006/relationships/chart" Target="../charts/chart1093.xml"/><Relationship Id="rId6" Type="http://schemas.openxmlformats.org/officeDocument/2006/relationships/chart" Target="../charts/chart1094.xml"/><Relationship Id="rId7" Type="http://schemas.openxmlformats.org/officeDocument/2006/relationships/chart" Target="../charts/chart1095.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3.xml"/><Relationship Id="rId3" Type="http://schemas.openxmlformats.org/officeDocument/2006/relationships/chart" Target="../charts/chart1111.xml"/><Relationship Id="rId4" Type="http://schemas.openxmlformats.org/officeDocument/2006/relationships/chart" Target="../charts/chart1112.xml"/><Relationship Id="rId5" Type="http://schemas.openxmlformats.org/officeDocument/2006/relationships/chart" Target="../charts/chart1113.xml"/><Relationship Id="rId6" Type="http://schemas.openxmlformats.org/officeDocument/2006/relationships/chart" Target="../charts/chart1114.xml"/><Relationship Id="rId7" Type="http://schemas.openxmlformats.org/officeDocument/2006/relationships/chart" Target="../charts/chart111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6.xml"/><Relationship Id="rId3" Type="http://schemas.openxmlformats.org/officeDocument/2006/relationships/chart" Target="../charts/chart1126.xml"/><Relationship Id="rId4" Type="http://schemas.openxmlformats.org/officeDocument/2006/relationships/chart" Target="../charts/chart1127.xml"/><Relationship Id="rId5" Type="http://schemas.openxmlformats.org/officeDocument/2006/relationships/chart" Target="../charts/chart1128.xml"/><Relationship Id="rId6" Type="http://schemas.openxmlformats.org/officeDocument/2006/relationships/chart" Target="../charts/chart1129.xml"/><Relationship Id="rId7" Type="http://schemas.openxmlformats.org/officeDocument/2006/relationships/chart" Target="../charts/chart1130.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4.xml"/><Relationship Id="rId3" Type="http://schemas.openxmlformats.org/officeDocument/2006/relationships/chart" Target="../charts/chart1166.xml"/><Relationship Id="rId4" Type="http://schemas.openxmlformats.org/officeDocument/2006/relationships/chart" Target="../charts/chart1167.xml"/><Relationship Id="rId5" Type="http://schemas.openxmlformats.org/officeDocument/2006/relationships/chart" Target="../charts/chart1168.xml"/><Relationship Id="rId6" Type="http://schemas.openxmlformats.org/officeDocument/2006/relationships/chart" Target="../charts/chart1169.xml"/><Relationship Id="rId7" Type="http://schemas.openxmlformats.org/officeDocument/2006/relationships/chart" Target="../charts/chart1170.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1171.xml"/><Relationship Id="rId4" Type="http://schemas.openxmlformats.org/officeDocument/2006/relationships/chart" Target="../charts/chart1172.xml"/><Relationship Id="rId5" Type="http://schemas.openxmlformats.org/officeDocument/2006/relationships/chart" Target="../charts/chart1173.xml"/><Relationship Id="rId6" Type="http://schemas.openxmlformats.org/officeDocument/2006/relationships/chart" Target="../charts/chart1174.xml"/><Relationship Id="rId7" Type="http://schemas.openxmlformats.org/officeDocument/2006/relationships/chart" Target="../charts/chart1175.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6.xml"/><Relationship Id="rId3" Type="http://schemas.openxmlformats.org/officeDocument/2006/relationships/chart" Target="../charts/chart1176.xml"/><Relationship Id="rId4" Type="http://schemas.openxmlformats.org/officeDocument/2006/relationships/chart" Target="../charts/chart1177.xml"/><Relationship Id="rId5" Type="http://schemas.openxmlformats.org/officeDocument/2006/relationships/chart" Target="../charts/chart1178.xml"/><Relationship Id="rId6" Type="http://schemas.openxmlformats.org/officeDocument/2006/relationships/chart" Target="../charts/chart1179.xml"/><Relationship Id="rId7" Type="http://schemas.openxmlformats.org/officeDocument/2006/relationships/chart" Target="../charts/chart1180.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1201.xml"/><Relationship Id="rId4" Type="http://schemas.openxmlformats.org/officeDocument/2006/relationships/chart" Target="../charts/chart1202.xml"/><Relationship Id="rId5" Type="http://schemas.openxmlformats.org/officeDocument/2006/relationships/chart" Target="../charts/chart1203.xml"/><Relationship Id="rId6" Type="http://schemas.openxmlformats.org/officeDocument/2006/relationships/chart" Target="../charts/chart1204.xml"/><Relationship Id="rId7" Type="http://schemas.openxmlformats.org/officeDocument/2006/relationships/chart" Target="../charts/chart1205.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5.xml"/><Relationship Id="rId3" Type="http://schemas.openxmlformats.org/officeDocument/2006/relationships/chart" Target="../charts/chart1221.xml"/><Relationship Id="rId4" Type="http://schemas.openxmlformats.org/officeDocument/2006/relationships/chart" Target="../charts/chart1222.xml"/><Relationship Id="rId5" Type="http://schemas.openxmlformats.org/officeDocument/2006/relationships/chart" Target="../charts/chart1223.xml"/><Relationship Id="rId6" Type="http://schemas.openxmlformats.org/officeDocument/2006/relationships/chart" Target="../charts/chart1224.xml"/><Relationship Id="rId7" Type="http://schemas.openxmlformats.org/officeDocument/2006/relationships/chart" Target="../charts/chart1225.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8.xml"/><Relationship Id="rId3" Type="http://schemas.openxmlformats.org/officeDocument/2006/relationships/chart" Target="../charts/chart1236.xml"/><Relationship Id="rId4" Type="http://schemas.openxmlformats.org/officeDocument/2006/relationships/chart" Target="../charts/chart1237.xml"/><Relationship Id="rId5" Type="http://schemas.openxmlformats.org/officeDocument/2006/relationships/chart" Target="../charts/chart1238.xml"/><Relationship Id="rId6" Type="http://schemas.openxmlformats.org/officeDocument/2006/relationships/chart" Target="../charts/chart1239.xml"/><Relationship Id="rId7" Type="http://schemas.openxmlformats.org/officeDocument/2006/relationships/chart" Target="../charts/chart124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121.xml"/><Relationship Id="rId4" Type="http://schemas.openxmlformats.org/officeDocument/2006/relationships/chart" Target="../charts/chart122.xml"/><Relationship Id="rId5" Type="http://schemas.openxmlformats.org/officeDocument/2006/relationships/chart" Target="../charts/chart123.xml"/><Relationship Id="rId6" Type="http://schemas.openxmlformats.org/officeDocument/2006/relationships/chart" Target="../charts/chart124.xml"/><Relationship Id="rId7" Type="http://schemas.openxmlformats.org/officeDocument/2006/relationships/chart" Target="../charts/chart125.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1311.xml"/><Relationship Id="rId4" Type="http://schemas.openxmlformats.org/officeDocument/2006/relationships/chart" Target="../charts/chart1312.xml"/><Relationship Id="rId5" Type="http://schemas.openxmlformats.org/officeDocument/2006/relationships/chart" Target="../charts/chart1313.xml"/><Relationship Id="rId6" Type="http://schemas.openxmlformats.org/officeDocument/2006/relationships/chart" Target="../charts/chart1314.xml"/><Relationship Id="rId7" Type="http://schemas.openxmlformats.org/officeDocument/2006/relationships/chart" Target="../charts/chart1315.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4.xml"/><Relationship Id="rId3" Type="http://schemas.openxmlformats.org/officeDocument/2006/relationships/chart" Target="../charts/chart1316.xml"/><Relationship Id="rId4" Type="http://schemas.openxmlformats.org/officeDocument/2006/relationships/chart" Target="../charts/chart1317.xml"/><Relationship Id="rId5" Type="http://schemas.openxmlformats.org/officeDocument/2006/relationships/chart" Target="../charts/chart1318.xml"/><Relationship Id="rId6" Type="http://schemas.openxmlformats.org/officeDocument/2006/relationships/chart" Target="../charts/chart1319.xml"/><Relationship Id="rId7" Type="http://schemas.openxmlformats.org/officeDocument/2006/relationships/chart" Target="../charts/chart1320.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0.xml"/><Relationship Id="rId3" Type="http://schemas.openxmlformats.org/officeDocument/2006/relationships/chart" Target="../charts/chart1346.xml"/><Relationship Id="rId4" Type="http://schemas.openxmlformats.org/officeDocument/2006/relationships/chart" Target="../charts/chart1347.xml"/><Relationship Id="rId5" Type="http://schemas.openxmlformats.org/officeDocument/2006/relationships/chart" Target="../charts/chart1348.xml"/><Relationship Id="rId6" Type="http://schemas.openxmlformats.org/officeDocument/2006/relationships/chart" Target="../charts/chart1349.xml"/><Relationship Id="rId7" Type="http://schemas.openxmlformats.org/officeDocument/2006/relationships/chart" Target="../charts/chart1350.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6.xml"/><Relationship Id="rId3" Type="http://schemas.openxmlformats.org/officeDocument/2006/relationships/chart" Target="../charts/chart1376.xml"/><Relationship Id="rId4" Type="http://schemas.openxmlformats.org/officeDocument/2006/relationships/chart" Target="../charts/chart1377.xml"/><Relationship Id="rId5" Type="http://schemas.openxmlformats.org/officeDocument/2006/relationships/chart" Target="../charts/chart1378.xml"/><Relationship Id="rId6" Type="http://schemas.openxmlformats.org/officeDocument/2006/relationships/chart" Target="../charts/chart1379.xml"/><Relationship Id="rId7" Type="http://schemas.openxmlformats.org/officeDocument/2006/relationships/chart" Target="../charts/chart1380.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7.xml"/><Relationship Id="rId3" Type="http://schemas.openxmlformats.org/officeDocument/2006/relationships/chart" Target="../charts/chart1381.xml"/><Relationship Id="rId4" Type="http://schemas.openxmlformats.org/officeDocument/2006/relationships/chart" Target="../charts/chart1382.xml"/><Relationship Id="rId5" Type="http://schemas.openxmlformats.org/officeDocument/2006/relationships/chart" Target="../charts/chart1383.xml"/><Relationship Id="rId6" Type="http://schemas.openxmlformats.org/officeDocument/2006/relationships/chart" Target="../charts/chart1384.xml"/><Relationship Id="rId7" Type="http://schemas.openxmlformats.org/officeDocument/2006/relationships/chart" Target="../charts/chart1385.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5.xml"/><Relationship Id="rId3" Type="http://schemas.openxmlformats.org/officeDocument/2006/relationships/chart" Target="../charts/chart1421.xml"/><Relationship Id="rId4" Type="http://schemas.openxmlformats.org/officeDocument/2006/relationships/chart" Target="../charts/chart1422.xml"/><Relationship Id="rId5" Type="http://schemas.openxmlformats.org/officeDocument/2006/relationships/chart" Target="../charts/chart1423.xml"/><Relationship Id="rId6" Type="http://schemas.openxmlformats.org/officeDocument/2006/relationships/chart" Target="../charts/chart1424.xml"/><Relationship Id="rId7" Type="http://schemas.openxmlformats.org/officeDocument/2006/relationships/chart" Target="../charts/chart1425.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7.xml"/><Relationship Id="rId3" Type="http://schemas.openxmlformats.org/officeDocument/2006/relationships/chart" Target="../charts/chart1431.xml"/><Relationship Id="rId4" Type="http://schemas.openxmlformats.org/officeDocument/2006/relationships/chart" Target="../charts/chart1432.xml"/><Relationship Id="rId5" Type="http://schemas.openxmlformats.org/officeDocument/2006/relationships/chart" Target="../charts/chart1433.xml"/><Relationship Id="rId6" Type="http://schemas.openxmlformats.org/officeDocument/2006/relationships/chart" Target="../charts/chart1434.xml"/><Relationship Id="rId7" Type="http://schemas.openxmlformats.org/officeDocument/2006/relationships/chart" Target="../charts/chart1435.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2.xml"/><Relationship Id="rId3" Type="http://schemas.openxmlformats.org/officeDocument/2006/relationships/chart" Target="../charts/chart1456.xml"/><Relationship Id="rId4" Type="http://schemas.openxmlformats.org/officeDocument/2006/relationships/chart" Target="../charts/chart1457.xml"/><Relationship Id="rId5" Type="http://schemas.openxmlformats.org/officeDocument/2006/relationships/chart" Target="../charts/chart1458.xml"/><Relationship Id="rId6" Type="http://schemas.openxmlformats.org/officeDocument/2006/relationships/chart" Target="../charts/chart1459.xml"/><Relationship Id="rId7" Type="http://schemas.openxmlformats.org/officeDocument/2006/relationships/chart" Target="../charts/chart146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11.xml"/><Relationship Id="rId4" Type="http://schemas.openxmlformats.org/officeDocument/2006/relationships/chart" Target="../charts/chart12.xml"/><Relationship Id="rId5" Type="http://schemas.openxmlformats.org/officeDocument/2006/relationships/chart" Target="../charts/chart13.xml"/><Relationship Id="rId6" Type="http://schemas.openxmlformats.org/officeDocument/2006/relationships/chart" Target="../charts/chart14.xml"/><Relationship Id="rId7" Type="http://schemas.openxmlformats.org/officeDocument/2006/relationships/chart" Target="../charts/chart15.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1.xml"/><Relationship Id="rId3" Type="http://schemas.openxmlformats.org/officeDocument/2006/relationships/chart" Target="../charts/chart1501.xml"/><Relationship Id="rId4" Type="http://schemas.openxmlformats.org/officeDocument/2006/relationships/chart" Target="../charts/chart1502.xml"/><Relationship Id="rId5" Type="http://schemas.openxmlformats.org/officeDocument/2006/relationships/chart" Target="../charts/chart1503.xml"/><Relationship Id="rId6" Type="http://schemas.openxmlformats.org/officeDocument/2006/relationships/chart" Target="../charts/chart1504.xml"/><Relationship Id="rId7" Type="http://schemas.openxmlformats.org/officeDocument/2006/relationships/chart" Target="../charts/chart1505.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2.xml"/><Relationship Id="rId3" Type="http://schemas.openxmlformats.org/officeDocument/2006/relationships/chart" Target="../charts/chart1506.xml"/><Relationship Id="rId4" Type="http://schemas.openxmlformats.org/officeDocument/2006/relationships/chart" Target="../charts/chart1507.xml"/><Relationship Id="rId5" Type="http://schemas.openxmlformats.org/officeDocument/2006/relationships/chart" Target="../charts/chart1508.xml"/><Relationship Id="rId6" Type="http://schemas.openxmlformats.org/officeDocument/2006/relationships/chart" Target="../charts/chart1509.xml"/><Relationship Id="rId7" Type="http://schemas.openxmlformats.org/officeDocument/2006/relationships/chart" Target="../charts/chart1510.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8.xml"/><Relationship Id="rId3" Type="http://schemas.openxmlformats.org/officeDocument/2006/relationships/chart" Target="../charts/chart1536.xml"/><Relationship Id="rId4" Type="http://schemas.openxmlformats.org/officeDocument/2006/relationships/chart" Target="../charts/chart1537.xml"/><Relationship Id="rId5" Type="http://schemas.openxmlformats.org/officeDocument/2006/relationships/chart" Target="../charts/chart1538.xml"/><Relationship Id="rId6" Type="http://schemas.openxmlformats.org/officeDocument/2006/relationships/chart" Target="../charts/chart1539.xml"/><Relationship Id="rId7" Type="http://schemas.openxmlformats.org/officeDocument/2006/relationships/chart" Target="../charts/chart154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151.xml"/><Relationship Id="rId4" Type="http://schemas.openxmlformats.org/officeDocument/2006/relationships/chart" Target="../charts/chart152.xml"/><Relationship Id="rId5" Type="http://schemas.openxmlformats.org/officeDocument/2006/relationships/chart" Target="../charts/chart153.xml"/><Relationship Id="rId6" Type="http://schemas.openxmlformats.org/officeDocument/2006/relationships/chart" Target="../charts/chart154.xml"/><Relationship Id="rId7" Type="http://schemas.openxmlformats.org/officeDocument/2006/relationships/chart" Target="../charts/chart155.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2.xml"/><Relationship Id="rId3" Type="http://schemas.openxmlformats.org/officeDocument/2006/relationships/chart" Target="../charts/chart1556.xml"/><Relationship Id="rId4" Type="http://schemas.openxmlformats.org/officeDocument/2006/relationships/chart" Target="../charts/chart1557.xml"/><Relationship Id="rId5" Type="http://schemas.openxmlformats.org/officeDocument/2006/relationships/chart" Target="../charts/chart1558.xml"/><Relationship Id="rId6" Type="http://schemas.openxmlformats.org/officeDocument/2006/relationships/chart" Target="../charts/chart1559.xml"/><Relationship Id="rId7" Type="http://schemas.openxmlformats.org/officeDocument/2006/relationships/chart" Target="../charts/chart156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156.xml"/><Relationship Id="rId4" Type="http://schemas.openxmlformats.org/officeDocument/2006/relationships/chart" Target="../charts/chart157.xml"/><Relationship Id="rId5" Type="http://schemas.openxmlformats.org/officeDocument/2006/relationships/chart" Target="../charts/chart158.xml"/><Relationship Id="rId6" Type="http://schemas.openxmlformats.org/officeDocument/2006/relationships/chart" Target="../charts/chart159.xml"/><Relationship Id="rId7" Type="http://schemas.openxmlformats.org/officeDocument/2006/relationships/chart" Target="../charts/chart160.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3.xml"/><Relationship Id="rId3" Type="http://schemas.openxmlformats.org/officeDocument/2006/relationships/chart" Target="../charts/chart1611.xml"/><Relationship Id="rId4" Type="http://schemas.openxmlformats.org/officeDocument/2006/relationships/chart" Target="../charts/chart1612.xml"/><Relationship Id="rId5" Type="http://schemas.openxmlformats.org/officeDocument/2006/relationships/chart" Target="../charts/chart1613.xml"/><Relationship Id="rId6" Type="http://schemas.openxmlformats.org/officeDocument/2006/relationships/chart" Target="../charts/chart1614.xml"/><Relationship Id="rId7" Type="http://schemas.openxmlformats.org/officeDocument/2006/relationships/chart" Target="../charts/chart1615.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4.xml"/><Relationship Id="rId3" Type="http://schemas.openxmlformats.org/officeDocument/2006/relationships/chart" Target="../charts/chart1616.xml"/><Relationship Id="rId4" Type="http://schemas.openxmlformats.org/officeDocument/2006/relationships/chart" Target="../charts/chart1617.xml"/><Relationship Id="rId5" Type="http://schemas.openxmlformats.org/officeDocument/2006/relationships/chart" Target="../charts/chart1618.xml"/><Relationship Id="rId6" Type="http://schemas.openxmlformats.org/officeDocument/2006/relationships/chart" Target="../charts/chart1619.xml"/><Relationship Id="rId7" Type="http://schemas.openxmlformats.org/officeDocument/2006/relationships/chart" Target="../charts/chart1620.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0.xml"/><Relationship Id="rId3" Type="http://schemas.openxmlformats.org/officeDocument/2006/relationships/chart" Target="../charts/chart1646.xml"/><Relationship Id="rId4" Type="http://schemas.openxmlformats.org/officeDocument/2006/relationships/chart" Target="../charts/chart1647.xml"/><Relationship Id="rId5" Type="http://schemas.openxmlformats.org/officeDocument/2006/relationships/chart" Target="../charts/chart1648.xml"/><Relationship Id="rId6" Type="http://schemas.openxmlformats.org/officeDocument/2006/relationships/chart" Target="../charts/chart1649.xml"/><Relationship Id="rId7" Type="http://schemas.openxmlformats.org/officeDocument/2006/relationships/chart" Target="../charts/chart1650.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1.xml"/><Relationship Id="rId3" Type="http://schemas.openxmlformats.org/officeDocument/2006/relationships/chart" Target="../charts/chart1651.xml"/><Relationship Id="rId4" Type="http://schemas.openxmlformats.org/officeDocument/2006/relationships/chart" Target="../charts/chart1652.xml"/><Relationship Id="rId5" Type="http://schemas.openxmlformats.org/officeDocument/2006/relationships/chart" Target="../charts/chart1653.xml"/><Relationship Id="rId6" Type="http://schemas.openxmlformats.org/officeDocument/2006/relationships/chart" Target="../charts/chart1654.xml"/><Relationship Id="rId7" Type="http://schemas.openxmlformats.org/officeDocument/2006/relationships/chart" Target="../charts/chart1655.xml"/></Relationships>
</file>

<file path=ppt/slides/_rels/slide3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4.xml"/><Relationship Id="rId3" Type="http://schemas.openxmlformats.org/officeDocument/2006/relationships/chart" Target="../charts/chart1666.xml"/><Relationship Id="rId4" Type="http://schemas.openxmlformats.org/officeDocument/2006/relationships/chart" Target="../charts/chart1667.xml"/><Relationship Id="rId5" Type="http://schemas.openxmlformats.org/officeDocument/2006/relationships/chart" Target="../charts/chart1668.xml"/><Relationship Id="rId6" Type="http://schemas.openxmlformats.org/officeDocument/2006/relationships/chart" Target="../charts/chart1669.xml"/><Relationship Id="rId7" Type="http://schemas.openxmlformats.org/officeDocument/2006/relationships/chart" Target="../charts/chart1670.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7.xml"/><Relationship Id="rId3" Type="http://schemas.openxmlformats.org/officeDocument/2006/relationships/chart" Target="../charts/chart1681.xml"/><Relationship Id="rId4" Type="http://schemas.openxmlformats.org/officeDocument/2006/relationships/chart" Target="../charts/chart1682.xml"/><Relationship Id="rId5" Type="http://schemas.openxmlformats.org/officeDocument/2006/relationships/chart" Target="../charts/chart1683.xml"/><Relationship Id="rId6" Type="http://schemas.openxmlformats.org/officeDocument/2006/relationships/chart" Target="../charts/chart1684.xml"/><Relationship Id="rId7" Type="http://schemas.openxmlformats.org/officeDocument/2006/relationships/chart" Target="../charts/chart1685.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1.xml"/><Relationship Id="rId3" Type="http://schemas.openxmlformats.org/officeDocument/2006/relationships/chart" Target="../charts/chart1701.xml"/><Relationship Id="rId4" Type="http://schemas.openxmlformats.org/officeDocument/2006/relationships/chart" Target="../charts/chart1702.xml"/><Relationship Id="rId5" Type="http://schemas.openxmlformats.org/officeDocument/2006/relationships/chart" Target="../charts/chart1703.xml"/><Relationship Id="rId6" Type="http://schemas.openxmlformats.org/officeDocument/2006/relationships/chart" Target="../charts/chart1704.xml"/><Relationship Id="rId7" Type="http://schemas.openxmlformats.org/officeDocument/2006/relationships/chart" Target="../charts/chart1705.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2.xml"/><Relationship Id="rId3" Type="http://schemas.openxmlformats.org/officeDocument/2006/relationships/chart" Target="../charts/chart1756.xml"/><Relationship Id="rId4" Type="http://schemas.openxmlformats.org/officeDocument/2006/relationships/chart" Target="../charts/chart1757.xml"/><Relationship Id="rId5" Type="http://schemas.openxmlformats.org/officeDocument/2006/relationships/chart" Target="../charts/chart1758.xml"/><Relationship Id="rId6" Type="http://schemas.openxmlformats.org/officeDocument/2006/relationships/chart" Target="../charts/chart1759.xml"/><Relationship Id="rId7" Type="http://schemas.openxmlformats.org/officeDocument/2006/relationships/chart" Target="../charts/chart1760.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3.xml"/><Relationship Id="rId3" Type="http://schemas.openxmlformats.org/officeDocument/2006/relationships/chart" Target="../charts/chart1761.xml"/><Relationship Id="rId4" Type="http://schemas.openxmlformats.org/officeDocument/2006/relationships/chart" Target="../charts/chart1762.xml"/><Relationship Id="rId5" Type="http://schemas.openxmlformats.org/officeDocument/2006/relationships/chart" Target="../charts/chart1763.xml"/><Relationship Id="rId6" Type="http://schemas.openxmlformats.org/officeDocument/2006/relationships/chart" Target="../charts/chart1764.xml"/><Relationship Id="rId7" Type="http://schemas.openxmlformats.org/officeDocument/2006/relationships/chart" Target="../charts/chart1765.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9.xml"/><Relationship Id="rId3" Type="http://schemas.openxmlformats.org/officeDocument/2006/relationships/chart" Target="../charts/chart1791.xml"/><Relationship Id="rId4" Type="http://schemas.openxmlformats.org/officeDocument/2006/relationships/chart" Target="../charts/chart1792.xml"/><Relationship Id="rId5" Type="http://schemas.openxmlformats.org/officeDocument/2006/relationships/chart" Target="../charts/chart1793.xml"/><Relationship Id="rId6" Type="http://schemas.openxmlformats.org/officeDocument/2006/relationships/chart" Target="../charts/chart1794.xml"/><Relationship Id="rId7" Type="http://schemas.openxmlformats.org/officeDocument/2006/relationships/chart" Target="../charts/chart1795.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3.xml"/><Relationship Id="rId3" Type="http://schemas.openxmlformats.org/officeDocument/2006/relationships/chart" Target="../charts/chart1811.xml"/><Relationship Id="rId4" Type="http://schemas.openxmlformats.org/officeDocument/2006/relationships/chart" Target="../charts/chart1812.xml"/><Relationship Id="rId5" Type="http://schemas.openxmlformats.org/officeDocument/2006/relationships/chart" Target="../charts/chart1813.xml"/><Relationship Id="rId6" Type="http://schemas.openxmlformats.org/officeDocument/2006/relationships/chart" Target="../charts/chart1814.xml"/><Relationship Id="rId7" Type="http://schemas.openxmlformats.org/officeDocument/2006/relationships/chart" Target="../charts/chart1815.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6.xml"/><Relationship Id="rId3" Type="http://schemas.openxmlformats.org/officeDocument/2006/relationships/chart" Target="../charts/chart1826.xml"/><Relationship Id="rId4" Type="http://schemas.openxmlformats.org/officeDocument/2006/relationships/chart" Target="../charts/chart1827.xml"/><Relationship Id="rId5" Type="http://schemas.openxmlformats.org/officeDocument/2006/relationships/chart" Target="../charts/chart1828.xml"/><Relationship Id="rId6" Type="http://schemas.openxmlformats.org/officeDocument/2006/relationships/chart" Target="../charts/chart1829.xml"/><Relationship Id="rId7" Type="http://schemas.openxmlformats.org/officeDocument/2006/relationships/chart" Target="../charts/chart1830.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4.xml"/><Relationship Id="rId3" Type="http://schemas.openxmlformats.org/officeDocument/2006/relationships/chart" Target="../charts/chart1866.xml"/><Relationship Id="rId4" Type="http://schemas.openxmlformats.org/officeDocument/2006/relationships/chart" Target="../charts/chart1867.xml"/><Relationship Id="rId5" Type="http://schemas.openxmlformats.org/officeDocument/2006/relationships/chart" Target="../charts/chart1868.xml"/><Relationship Id="rId6" Type="http://schemas.openxmlformats.org/officeDocument/2006/relationships/chart" Target="../charts/chart1869.xml"/><Relationship Id="rId7" Type="http://schemas.openxmlformats.org/officeDocument/2006/relationships/chart" Target="../charts/chart1870.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5.xml"/><Relationship Id="rId3" Type="http://schemas.openxmlformats.org/officeDocument/2006/relationships/chart" Target="../charts/chart1871.xml"/><Relationship Id="rId4" Type="http://schemas.openxmlformats.org/officeDocument/2006/relationships/chart" Target="../charts/chart1872.xml"/><Relationship Id="rId5" Type="http://schemas.openxmlformats.org/officeDocument/2006/relationships/chart" Target="../charts/chart1873.xml"/><Relationship Id="rId6" Type="http://schemas.openxmlformats.org/officeDocument/2006/relationships/chart" Target="../charts/chart1874.xml"/><Relationship Id="rId7" Type="http://schemas.openxmlformats.org/officeDocument/2006/relationships/chart" Target="../charts/chart1875.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6.xml"/><Relationship Id="rId3" Type="http://schemas.openxmlformats.org/officeDocument/2006/relationships/chart" Target="../charts/chart1876.xml"/><Relationship Id="rId4" Type="http://schemas.openxmlformats.org/officeDocument/2006/relationships/chart" Target="../charts/chart1877.xml"/><Relationship Id="rId5" Type="http://schemas.openxmlformats.org/officeDocument/2006/relationships/chart" Target="../charts/chart1878.xml"/><Relationship Id="rId6" Type="http://schemas.openxmlformats.org/officeDocument/2006/relationships/chart" Target="../charts/chart1879.xml"/><Relationship Id="rId7" Type="http://schemas.openxmlformats.org/officeDocument/2006/relationships/chart" Target="../charts/chart188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186.xml"/><Relationship Id="rId4" Type="http://schemas.openxmlformats.org/officeDocument/2006/relationships/chart" Target="../charts/chart187.xml"/><Relationship Id="rId5" Type="http://schemas.openxmlformats.org/officeDocument/2006/relationships/chart" Target="../charts/chart188.xml"/><Relationship Id="rId6" Type="http://schemas.openxmlformats.org/officeDocument/2006/relationships/chart" Target="../charts/chart189.xml"/><Relationship Id="rId7" Type="http://schemas.openxmlformats.org/officeDocument/2006/relationships/chart" Target="../charts/chart190.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1.xml"/><Relationship Id="rId3" Type="http://schemas.openxmlformats.org/officeDocument/2006/relationships/chart" Target="../charts/chart1901.xml"/><Relationship Id="rId4" Type="http://schemas.openxmlformats.org/officeDocument/2006/relationships/chart" Target="../charts/chart1902.xml"/><Relationship Id="rId5" Type="http://schemas.openxmlformats.org/officeDocument/2006/relationships/chart" Target="../charts/chart1903.xml"/><Relationship Id="rId6" Type="http://schemas.openxmlformats.org/officeDocument/2006/relationships/chart" Target="../charts/chart1904.xml"/><Relationship Id="rId7" Type="http://schemas.openxmlformats.org/officeDocument/2006/relationships/chart" Target="../charts/chart1905.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5.xml"/><Relationship Id="rId3" Type="http://schemas.openxmlformats.org/officeDocument/2006/relationships/chart" Target="../charts/chart1921.xml"/><Relationship Id="rId4" Type="http://schemas.openxmlformats.org/officeDocument/2006/relationships/chart" Target="../charts/chart1922.xml"/><Relationship Id="rId5" Type="http://schemas.openxmlformats.org/officeDocument/2006/relationships/chart" Target="../charts/chart1923.xml"/><Relationship Id="rId6" Type="http://schemas.openxmlformats.org/officeDocument/2006/relationships/chart" Target="../charts/chart1924.xml"/><Relationship Id="rId7" Type="http://schemas.openxmlformats.org/officeDocument/2006/relationships/chart" Target="../charts/chart1925.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8.xml"/><Relationship Id="rId3" Type="http://schemas.openxmlformats.org/officeDocument/2006/relationships/chart" Target="../charts/chart1936.xml"/><Relationship Id="rId4" Type="http://schemas.openxmlformats.org/officeDocument/2006/relationships/chart" Target="../charts/chart1937.xml"/><Relationship Id="rId5" Type="http://schemas.openxmlformats.org/officeDocument/2006/relationships/chart" Target="../charts/chart1938.xml"/><Relationship Id="rId6" Type="http://schemas.openxmlformats.org/officeDocument/2006/relationships/chart" Target="../charts/chart1939.xml"/><Relationship Id="rId7" Type="http://schemas.openxmlformats.org/officeDocument/2006/relationships/chart" Target="../charts/chart194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91.xml"/><Relationship Id="rId4" Type="http://schemas.openxmlformats.org/officeDocument/2006/relationships/chart" Target="../charts/chart192.xml"/><Relationship Id="rId5" Type="http://schemas.openxmlformats.org/officeDocument/2006/relationships/chart" Target="../charts/chart193.xml"/><Relationship Id="rId6" Type="http://schemas.openxmlformats.org/officeDocument/2006/relationships/chart" Target="../charts/chart194.xml"/><Relationship Id="rId7" Type="http://schemas.openxmlformats.org/officeDocument/2006/relationships/chart" Target="../charts/chart195.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7.xml"/><Relationship Id="rId3" Type="http://schemas.openxmlformats.org/officeDocument/2006/relationships/chart" Target="../charts/chart1981.xml"/><Relationship Id="rId4" Type="http://schemas.openxmlformats.org/officeDocument/2006/relationships/chart" Target="../charts/chart1982.xml"/><Relationship Id="rId5" Type="http://schemas.openxmlformats.org/officeDocument/2006/relationships/chart" Target="../charts/chart1983.xml"/><Relationship Id="rId6" Type="http://schemas.openxmlformats.org/officeDocument/2006/relationships/chart" Target="../charts/chart1984.xml"/><Relationship Id="rId7" Type="http://schemas.openxmlformats.org/officeDocument/2006/relationships/chart" Target="../charts/chart1985.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8.xml"/><Relationship Id="rId3" Type="http://schemas.openxmlformats.org/officeDocument/2006/relationships/chart" Target="../charts/chart1986.xml"/><Relationship Id="rId4" Type="http://schemas.openxmlformats.org/officeDocument/2006/relationships/chart" Target="../charts/chart1987.xml"/><Relationship Id="rId5" Type="http://schemas.openxmlformats.org/officeDocument/2006/relationships/chart" Target="../charts/chart1988.xml"/><Relationship Id="rId6" Type="http://schemas.openxmlformats.org/officeDocument/2006/relationships/chart" Target="../charts/chart1989.xml"/><Relationship Id="rId7" Type="http://schemas.openxmlformats.org/officeDocument/2006/relationships/chart" Target="../charts/chart1990.xml"/></Relationships>
</file>

<file path=ppt/slides/_rels/slide4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8.xml"/><Relationship Id="rId3" Type="http://schemas.openxmlformats.org/officeDocument/2006/relationships/chart" Target="../charts/chart2036.xml"/><Relationship Id="rId4" Type="http://schemas.openxmlformats.org/officeDocument/2006/relationships/chart" Target="../charts/chart2037.xml"/><Relationship Id="rId5" Type="http://schemas.openxmlformats.org/officeDocument/2006/relationships/chart" Target="../charts/chart2038.xml"/><Relationship Id="rId6" Type="http://schemas.openxmlformats.org/officeDocument/2006/relationships/chart" Target="../charts/chart2039.xml"/><Relationship Id="rId7" Type="http://schemas.openxmlformats.org/officeDocument/2006/relationships/chart" Target="../charts/chart2040.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3.xml"/><Relationship Id="rId3" Type="http://schemas.openxmlformats.org/officeDocument/2006/relationships/chart" Target="../charts/chart2061.xml"/><Relationship Id="rId4" Type="http://schemas.openxmlformats.org/officeDocument/2006/relationships/chart" Target="../charts/chart2062.xml"/><Relationship Id="rId5" Type="http://schemas.openxmlformats.org/officeDocument/2006/relationships/chart" Target="../charts/chart2063.xml"/><Relationship Id="rId6" Type="http://schemas.openxmlformats.org/officeDocument/2006/relationships/chart" Target="../charts/chart2064.xml"/><Relationship Id="rId7" Type="http://schemas.openxmlformats.org/officeDocument/2006/relationships/chart" Target="../charts/chart2065.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9.xml"/><Relationship Id="rId3" Type="http://schemas.openxmlformats.org/officeDocument/2006/relationships/chart" Target="../charts/chart2091.xml"/><Relationship Id="rId4" Type="http://schemas.openxmlformats.org/officeDocument/2006/relationships/chart" Target="../charts/chart2092.xml"/><Relationship Id="rId5" Type="http://schemas.openxmlformats.org/officeDocument/2006/relationships/chart" Target="../charts/chart2093.xml"/><Relationship Id="rId6" Type="http://schemas.openxmlformats.org/officeDocument/2006/relationships/chart" Target="../charts/chart2094.xml"/><Relationship Id="rId7" Type="http://schemas.openxmlformats.org/officeDocument/2006/relationships/chart" Target="../charts/chart2095.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0.xml"/><Relationship Id="rId3" Type="http://schemas.openxmlformats.org/officeDocument/2006/relationships/chart" Target="../charts/chart2096.xml"/><Relationship Id="rId4" Type="http://schemas.openxmlformats.org/officeDocument/2006/relationships/chart" Target="../charts/chart2097.xml"/><Relationship Id="rId5" Type="http://schemas.openxmlformats.org/officeDocument/2006/relationships/chart" Target="../charts/chart2098.xml"/><Relationship Id="rId6" Type="http://schemas.openxmlformats.org/officeDocument/2006/relationships/chart" Target="../charts/chart2099.xml"/><Relationship Id="rId7" Type="http://schemas.openxmlformats.org/officeDocument/2006/relationships/chart" Target="../charts/chart2100.xml"/></Relationships>
</file>

<file path=ppt/slides/_rels/slide4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6.xml"/><Relationship Id="rId3" Type="http://schemas.openxmlformats.org/officeDocument/2006/relationships/chart" Target="../charts/chart2126.xml"/><Relationship Id="rId4" Type="http://schemas.openxmlformats.org/officeDocument/2006/relationships/chart" Target="../charts/chart2127.xml"/><Relationship Id="rId5" Type="http://schemas.openxmlformats.org/officeDocument/2006/relationships/chart" Target="../charts/chart2128.xml"/><Relationship Id="rId6" Type="http://schemas.openxmlformats.org/officeDocument/2006/relationships/chart" Target="../charts/chart2129.xml"/><Relationship Id="rId7" Type="http://schemas.openxmlformats.org/officeDocument/2006/relationships/chart" Target="../charts/chart2130.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0.xml"/><Relationship Id="rId3" Type="http://schemas.openxmlformats.org/officeDocument/2006/relationships/chart" Target="../charts/chart2146.xml"/><Relationship Id="rId4" Type="http://schemas.openxmlformats.org/officeDocument/2006/relationships/chart" Target="../charts/chart2147.xml"/><Relationship Id="rId5" Type="http://schemas.openxmlformats.org/officeDocument/2006/relationships/chart" Target="../charts/chart2148.xml"/><Relationship Id="rId6" Type="http://schemas.openxmlformats.org/officeDocument/2006/relationships/chart" Target="../charts/chart2149.xml"/><Relationship Id="rId7" Type="http://schemas.openxmlformats.org/officeDocument/2006/relationships/chart" Target="../charts/chart2150.xml"/></Relationships>
</file>

<file path=ppt/slides/_rels/slide4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5.xml"/><Relationship Id="rId3" Type="http://schemas.openxmlformats.org/officeDocument/2006/relationships/chart" Target="../charts/chart2171.xml"/><Relationship Id="rId4" Type="http://schemas.openxmlformats.org/officeDocument/2006/relationships/chart" Target="../charts/chart2172.xml"/></Relationships>
</file>

<file path=ppt/slides/_rels/slide4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1.xml"/><Relationship Id="rId3" Type="http://schemas.openxmlformats.org/officeDocument/2006/relationships/chart" Target="../charts/chart2183.xml"/></Relationships>
</file>

<file path=ppt/slides/_rels/slide4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2.xml"/><Relationship Id="rId3" Type="http://schemas.openxmlformats.org/officeDocument/2006/relationships/chart" Target="../charts/chart2184.xml"/><Relationship Id="rId4" Type="http://schemas.openxmlformats.org/officeDocument/2006/relationships/chart" Target="../charts/chart2185.xml"/></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8.xml"/><Relationship Id="rId3" Type="http://schemas.openxmlformats.org/officeDocument/2006/relationships/chart" Target="../charts/chart2196.xml"/><Relationship Id="rId4" Type="http://schemas.openxmlformats.org/officeDocument/2006/relationships/chart" Target="../charts/chart2197.xml"/></Relationships>
</file>

<file path=ppt/slides/_rels/slide4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2.xml"/><Relationship Id="rId3" Type="http://schemas.openxmlformats.org/officeDocument/2006/relationships/chart" Target="../charts/chart2204.xml"/><Relationship Id="rId4" Type="http://schemas.openxmlformats.org/officeDocument/2006/relationships/chart" Target="../charts/chart2205.xml"/></Relationships>
</file>

<file path=ppt/slides/_rels/slide4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3.xml"/><Relationship Id="rId3" Type="http://schemas.openxmlformats.org/officeDocument/2006/relationships/chart" Target="../charts/chart2225.xml"/><Relationship Id="rId4" Type="http://schemas.openxmlformats.org/officeDocument/2006/relationships/chart" Target="../charts/chart2226.xml"/></Relationships>
</file>

<file path=ppt/slides/_rels/slide4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4.xml"/><Relationship Id="rId3" Type="http://schemas.openxmlformats.org/officeDocument/2006/relationships/chart" Target="../charts/chart2227.xml"/><Relationship Id="rId4" Type="http://schemas.openxmlformats.org/officeDocument/2006/relationships/chart" Target="../charts/chart2228.xml"/></Relationships>
</file>

<file path=ppt/slides/_rels/slide4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0.xml"/><Relationship Id="rId3" Type="http://schemas.openxmlformats.org/officeDocument/2006/relationships/chart" Target="../charts/chart2244.xml"/><Relationship Id="rId4" Type="http://schemas.openxmlformats.org/officeDocument/2006/relationships/chart" Target="../charts/chart2245.xml"/><Relationship Id="rId5" Type="http://schemas.openxmlformats.org/officeDocument/2006/relationships/chart" Target="../charts/chart2246.xml"/></Relationships>
</file>

<file path=ppt/slides/_rels/slide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1.xml"/><Relationship Id="rId3" Type="http://schemas.openxmlformats.org/officeDocument/2006/relationships/chart" Target="../charts/chart2247.xml"/><Relationship Id="rId4" Type="http://schemas.openxmlformats.org/officeDocument/2006/relationships/chart" Target="../charts/chart2248.xml"/><Relationship Id="rId5" Type="http://schemas.openxmlformats.org/officeDocument/2006/relationships/chart" Target="../charts/chart2249.xml"/></Relationships>
</file>

<file path=ppt/slides/_rels/slide4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4.xml"/><Relationship Id="rId3" Type="http://schemas.openxmlformats.org/officeDocument/2006/relationships/chart" Target="../charts/chart2256.xml"/><Relationship Id="rId4" Type="http://schemas.openxmlformats.org/officeDocument/2006/relationships/chart" Target="../charts/chart2257.xml"/><Relationship Id="rId5" Type="http://schemas.openxmlformats.org/officeDocument/2006/relationships/chart" Target="../charts/chart2258.xml"/></Relationships>
</file>

<file path=ppt/slides/_rels/slide4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7.xml"/><Relationship Id="rId3" Type="http://schemas.openxmlformats.org/officeDocument/2006/relationships/chart" Target="../charts/chart2265.xml"/><Relationship Id="rId4" Type="http://schemas.openxmlformats.org/officeDocument/2006/relationships/chart" Target="../charts/chart2266.xml"/><Relationship Id="rId5" Type="http://schemas.openxmlformats.org/officeDocument/2006/relationships/chart" Target="../charts/chart226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241.xml"/><Relationship Id="rId4" Type="http://schemas.openxmlformats.org/officeDocument/2006/relationships/chart" Target="../charts/chart242.xml"/><Relationship Id="rId5" Type="http://schemas.openxmlformats.org/officeDocument/2006/relationships/chart" Target="../charts/chart243.xml"/><Relationship Id="rId6" Type="http://schemas.openxmlformats.org/officeDocument/2006/relationships/chart" Target="../charts/chart244.xml"/><Relationship Id="rId7" Type="http://schemas.openxmlformats.org/officeDocument/2006/relationships/chart" Target="../charts/chart245.xml"/></Relationships>
</file>

<file path=ppt/slides/_rels/slide4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2.xml"/><Relationship Id="rId3" Type="http://schemas.openxmlformats.org/officeDocument/2006/relationships/chart" Target="../charts/chart2310.xml"/><Relationship Id="rId4" Type="http://schemas.openxmlformats.org/officeDocument/2006/relationships/chart" Target="../charts/chart2311.xml"/><Relationship Id="rId5" Type="http://schemas.openxmlformats.org/officeDocument/2006/relationships/chart" Target="../charts/chart2312.xml"/></Relationships>
</file>

<file path=ppt/slides/_rels/slide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3.xml"/><Relationship Id="rId3" Type="http://schemas.openxmlformats.org/officeDocument/2006/relationships/chart" Target="../charts/chart2313.xml"/><Relationship Id="rId4" Type="http://schemas.openxmlformats.org/officeDocument/2006/relationships/chart" Target="../charts/chart2314.xml"/><Relationship Id="rId5" Type="http://schemas.openxmlformats.org/officeDocument/2006/relationships/chart" Target="../charts/chart2315.xml"/></Relationships>
</file>

<file path=ppt/slides/_rels/slide4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7.xml"/><Relationship Id="rId3" Type="http://schemas.openxmlformats.org/officeDocument/2006/relationships/chart" Target="../charts/chart2325.xml"/><Relationship Id="rId4" Type="http://schemas.openxmlformats.org/officeDocument/2006/relationships/chart" Target="../charts/chart2326.xml"/><Relationship Id="rId5" Type="http://schemas.openxmlformats.org/officeDocument/2006/relationships/chart" Target="../charts/chart2327.xml"/></Relationships>
</file>

<file path=ppt/slides/_rels/slide5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2.xml"/><Relationship Id="rId3" Type="http://schemas.openxmlformats.org/officeDocument/2006/relationships/chart" Target="../charts/chart2340.xml"/><Relationship Id="rId4" Type="http://schemas.openxmlformats.org/officeDocument/2006/relationships/chart" Target="../charts/chart2341.xml"/><Relationship Id="rId5" Type="http://schemas.openxmlformats.org/officeDocument/2006/relationships/chart" Target="../charts/chart2342.xml"/></Relationships>
</file>

<file path=ppt/slides/_rels/slide5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8.xml"/><Relationship Id="rId3" Type="http://schemas.openxmlformats.org/officeDocument/2006/relationships/chart" Target="../charts/chart2358.xml"/><Relationship Id="rId4" Type="http://schemas.openxmlformats.org/officeDocument/2006/relationships/chart" Target="../charts/chart2359.xml"/><Relationship Id="rId5" Type="http://schemas.openxmlformats.org/officeDocument/2006/relationships/chart" Target="../charts/chart2360.xml"/></Relationships>
</file>

<file path=ppt/slides/_rels/slide5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9.xml"/><Relationship Id="rId3" Type="http://schemas.openxmlformats.org/officeDocument/2006/relationships/chart" Target="../charts/chart2361.xml"/><Relationship Id="rId4" Type="http://schemas.openxmlformats.org/officeDocument/2006/relationships/chart" Target="../charts/chart2362.xml"/><Relationship Id="rId5" Type="http://schemas.openxmlformats.org/officeDocument/2006/relationships/chart" Target="../charts/chart2363.xml"/></Relationships>
</file>

<file path=ppt/slides/_rels/slide5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9.xml"/><Relationship Id="rId3" Type="http://schemas.openxmlformats.org/officeDocument/2006/relationships/chart" Target="../charts/chart2391.xml"/><Relationship Id="rId4" Type="http://schemas.openxmlformats.org/officeDocument/2006/relationships/chart" Target="../charts/chart2392.xml"/><Relationship Id="rId5" Type="http://schemas.openxmlformats.org/officeDocument/2006/relationships/chart" Target="../charts/chart2393.xml"/></Relationships>
</file>

<file path=ppt/slides/_rels/slide5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4.xml"/><Relationship Id="rId3" Type="http://schemas.openxmlformats.org/officeDocument/2006/relationships/chart" Target="../charts/chart2406.xml"/><Relationship Id="rId4" Type="http://schemas.openxmlformats.org/officeDocument/2006/relationships/chart" Target="../charts/chart2407.xml"/><Relationship Id="rId5" Type="http://schemas.openxmlformats.org/officeDocument/2006/relationships/chart" Target="../charts/chart2408.xml"/></Relationships>
</file>

<file path=ppt/slides/_rels/slide5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0.xml"/><Relationship Id="rId3" Type="http://schemas.openxmlformats.org/officeDocument/2006/relationships/chart" Target="../charts/chart2424.xml"/><Relationship Id="rId4" Type="http://schemas.openxmlformats.org/officeDocument/2006/relationships/chart" Target="../charts/chart2425.xml"/><Relationship Id="rId5" Type="http://schemas.openxmlformats.org/officeDocument/2006/relationships/chart" Target="../charts/chart2426.xml"/></Relationships>
</file>

<file path=ppt/slides/_rels/slide5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1.xml"/><Relationship Id="rId3" Type="http://schemas.openxmlformats.org/officeDocument/2006/relationships/chart" Target="../charts/chart2427.xml"/><Relationship Id="rId4" Type="http://schemas.openxmlformats.org/officeDocument/2006/relationships/chart" Target="../charts/chart2428.xml"/><Relationship Id="rId5" Type="http://schemas.openxmlformats.org/officeDocument/2006/relationships/chart" Target="../charts/chart2429.xml"/></Relationships>
</file>

<file path=ppt/slides/_rels/slide5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7.xml"/><Relationship Id="rId3" Type="http://schemas.openxmlformats.org/officeDocument/2006/relationships/chart" Target="../charts/chart2445.xml"/><Relationship Id="rId4" Type="http://schemas.openxmlformats.org/officeDocument/2006/relationships/chart" Target="../charts/chart2446.xml"/><Relationship Id="rId5" Type="http://schemas.openxmlformats.org/officeDocument/2006/relationships/chart" Target="../charts/chart2447.xml"/></Relationships>
</file>

<file path=ppt/slides/_rels/slide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8.xml"/><Relationship Id="rId3" Type="http://schemas.openxmlformats.org/officeDocument/2006/relationships/chart" Target="../charts/chart2448.xml"/><Relationship Id="rId4" Type="http://schemas.openxmlformats.org/officeDocument/2006/relationships/chart" Target="../charts/chart2449.xml"/><Relationship Id="rId5" Type="http://schemas.openxmlformats.org/officeDocument/2006/relationships/chart" Target="../charts/chart245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xml"/><Relationship Id="rId3" Type="http://schemas.openxmlformats.org/officeDocument/2006/relationships/chart" Target="../charts/chart266.xml"/><Relationship Id="rId4" Type="http://schemas.openxmlformats.org/officeDocument/2006/relationships/chart" Target="../charts/chart267.xml"/><Relationship Id="rId5" Type="http://schemas.openxmlformats.org/officeDocument/2006/relationships/chart" Target="../charts/chart268.xml"/><Relationship Id="rId6" Type="http://schemas.openxmlformats.org/officeDocument/2006/relationships/chart" Target="../charts/chart269.xml"/><Relationship Id="rId7" Type="http://schemas.openxmlformats.org/officeDocument/2006/relationships/chart" Target="../charts/chart270.xml"/></Relationships>
</file>

<file path=ppt/slides/_rels/slide5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1.xml"/><Relationship Id="rId3" Type="http://schemas.openxmlformats.org/officeDocument/2006/relationships/chart" Target="../charts/chart2457.xml"/><Relationship Id="rId4" Type="http://schemas.openxmlformats.org/officeDocument/2006/relationships/chart" Target="../charts/chart2458.xml"/><Relationship Id="rId5" Type="http://schemas.openxmlformats.org/officeDocument/2006/relationships/chart" Target="../charts/chart2459.xml"/></Relationships>
</file>

<file path=ppt/slides/_rels/slide5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8.xml"/><Relationship Id="rId3" Type="http://schemas.openxmlformats.org/officeDocument/2006/relationships/chart" Target="../charts/chart2478.xml"/><Relationship Id="rId4" Type="http://schemas.openxmlformats.org/officeDocument/2006/relationships/chart" Target="../charts/chart2479.xml"/><Relationship Id="rId5" Type="http://schemas.openxmlformats.org/officeDocument/2006/relationships/chart" Target="../charts/chart2480.xml"/></Relationships>
</file>

<file path=ppt/slides/_rels/slide5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3.xml"/><Relationship Id="rId3" Type="http://schemas.openxmlformats.org/officeDocument/2006/relationships/chart" Target="../charts/chart2493.xml"/><Relationship Id="rId4" Type="http://schemas.openxmlformats.org/officeDocument/2006/relationships/chart" Target="../charts/chart2494.xml"/><Relationship Id="rId5" Type="http://schemas.openxmlformats.org/officeDocument/2006/relationships/chart" Target="../charts/chart2495.xml"/></Relationships>
</file>

<file path=ppt/slides/_rels/slide5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9.xml"/><Relationship Id="rId3" Type="http://schemas.openxmlformats.org/officeDocument/2006/relationships/chart" Target="../charts/chart2511.xml"/><Relationship Id="rId4" Type="http://schemas.openxmlformats.org/officeDocument/2006/relationships/chart" Target="../charts/chart2512.xml"/><Relationship Id="rId5" Type="http://schemas.openxmlformats.org/officeDocument/2006/relationships/chart" Target="../charts/chart2513.xml"/></Relationships>
</file>

<file path=ppt/slides/_rels/slide5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0.xml"/><Relationship Id="rId3" Type="http://schemas.openxmlformats.org/officeDocument/2006/relationships/chart" Target="../charts/chart2514.xml"/><Relationship Id="rId4" Type="http://schemas.openxmlformats.org/officeDocument/2006/relationships/chart" Target="../charts/chart2515.xml"/><Relationship Id="rId5" Type="http://schemas.openxmlformats.org/officeDocument/2006/relationships/chart" Target="../charts/chart2516.xml"/></Relationships>
</file>

<file path=ppt/slides/_rels/slide5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6.xml"/><Relationship Id="rId3" Type="http://schemas.openxmlformats.org/officeDocument/2006/relationships/chart" Target="../charts/chart2532.xml"/><Relationship Id="rId4" Type="http://schemas.openxmlformats.org/officeDocument/2006/relationships/chart" Target="../charts/chart2533.xml"/><Relationship Id="rId5" Type="http://schemas.openxmlformats.org/officeDocument/2006/relationships/chart" Target="../charts/chart2534.xml"/></Relationships>
</file>

<file path=ppt/slides/_rels/slide5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0.xml"/><Relationship Id="rId3" Type="http://schemas.openxmlformats.org/officeDocument/2006/relationships/chart" Target="../charts/chart2544.xml"/><Relationship Id="rId4" Type="http://schemas.openxmlformats.org/officeDocument/2006/relationships/chart" Target="../charts/chart2545.xml"/><Relationship Id="rId5" Type="http://schemas.openxmlformats.org/officeDocument/2006/relationships/chart" Target="../charts/chart2546.xml"/></Relationships>
</file>

<file path=ppt/slides/_rels/slide5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5.xml"/><Relationship Id="rId3" Type="http://schemas.openxmlformats.org/officeDocument/2006/relationships/chart" Target="../charts/chart2559.xml"/><Relationship Id="rId4" Type="http://schemas.openxmlformats.org/officeDocument/2006/relationships/chart" Target="../charts/chart2560.xml"/><Relationship Id="rId5" Type="http://schemas.openxmlformats.org/officeDocument/2006/relationships/chart" Target="../charts/chart2561.xml"/></Relationships>
</file>

<file path=ppt/slides/_rels/slide5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1.xml"/><Relationship Id="rId3" Type="http://schemas.openxmlformats.org/officeDocument/2006/relationships/chart" Target="../charts/chart2577.xml"/><Relationship Id="rId4" Type="http://schemas.openxmlformats.org/officeDocument/2006/relationships/chart" Target="../charts/chart2578.xml"/><Relationship Id="rId5" Type="http://schemas.openxmlformats.org/officeDocument/2006/relationships/chart" Target="../charts/chart2579.xml"/></Relationships>
</file>

<file path=ppt/slides/_rels/slide5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2.xml"/><Relationship Id="rId3" Type="http://schemas.openxmlformats.org/officeDocument/2006/relationships/chart" Target="../charts/chart2580.xml"/><Relationship Id="rId4" Type="http://schemas.openxmlformats.org/officeDocument/2006/relationships/chart" Target="../charts/chart2581.xml"/><Relationship Id="rId5" Type="http://schemas.openxmlformats.org/officeDocument/2006/relationships/chart" Target="../charts/chart2582.xml"/></Relationships>
</file>

<file path=ppt/slides/_rels/slide5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8.xml"/><Relationship Id="rId3" Type="http://schemas.openxmlformats.org/officeDocument/2006/relationships/chart" Target="../charts/chart2598.xml"/><Relationship Id="rId4" Type="http://schemas.openxmlformats.org/officeDocument/2006/relationships/chart" Target="../charts/chart2599.xml"/><Relationship Id="rId5" Type="http://schemas.openxmlformats.org/officeDocument/2006/relationships/chart" Target="../charts/chart2600.xml"/></Relationships>
</file>

<file path=ppt/slides/_rels/slide5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2.xml"/><Relationship Id="rId3" Type="http://schemas.openxmlformats.org/officeDocument/2006/relationships/chart" Target="../charts/chart2610.xml"/><Relationship Id="rId4" Type="http://schemas.openxmlformats.org/officeDocument/2006/relationships/chart" Target="../charts/chart2611.xml"/><Relationship Id="rId5" Type="http://schemas.openxmlformats.org/officeDocument/2006/relationships/chart" Target="../charts/chart2612.xml"/></Relationships>
</file>

<file path=ppt/slides/_rels/slide5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7.xml"/><Relationship Id="rId3" Type="http://schemas.openxmlformats.org/officeDocument/2006/relationships/chart" Target="../charts/chart2625.xml"/><Relationship Id="rId4" Type="http://schemas.openxmlformats.org/officeDocument/2006/relationships/chart" Target="../charts/chart2626.xml"/><Relationship Id="rId5" Type="http://schemas.openxmlformats.org/officeDocument/2006/relationships/chart" Target="../charts/chart2627.xml"/></Relationships>
</file>

<file path=ppt/slides/_rels/slide5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8.xml"/><Relationship Id="rId3" Type="http://schemas.openxmlformats.org/officeDocument/2006/relationships/chart" Target="../charts/chart2628.xml"/><Relationship Id="rId4" Type="http://schemas.openxmlformats.org/officeDocument/2006/relationships/chart" Target="../charts/chart2629.xml"/><Relationship Id="rId5" Type="http://schemas.openxmlformats.org/officeDocument/2006/relationships/chart" Target="../charts/chart263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xml"/><Relationship Id="rId3" Type="http://schemas.openxmlformats.org/officeDocument/2006/relationships/chart" Target="../charts/chart296.xml"/><Relationship Id="rId4" Type="http://schemas.openxmlformats.org/officeDocument/2006/relationships/chart" Target="../charts/chart297.xml"/><Relationship Id="rId5" Type="http://schemas.openxmlformats.org/officeDocument/2006/relationships/chart" Target="../charts/chart298.xml"/><Relationship Id="rId6" Type="http://schemas.openxmlformats.org/officeDocument/2006/relationships/chart" Target="../charts/chart299.xml"/><Relationship Id="rId7" Type="http://schemas.openxmlformats.org/officeDocument/2006/relationships/chart" Target="../charts/chart30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xml"/><Relationship Id="rId3" Type="http://schemas.openxmlformats.org/officeDocument/2006/relationships/chart" Target="../charts/chart301.xml"/><Relationship Id="rId4" Type="http://schemas.openxmlformats.org/officeDocument/2006/relationships/chart" Target="../charts/chart302.xml"/><Relationship Id="rId5" Type="http://schemas.openxmlformats.org/officeDocument/2006/relationships/chart" Target="../charts/chart303.xml"/><Relationship Id="rId6" Type="http://schemas.openxmlformats.org/officeDocument/2006/relationships/chart" Target="../charts/chart304.xml"/><Relationship Id="rId7" Type="http://schemas.openxmlformats.org/officeDocument/2006/relationships/chart" Target="../charts/chart305.xml"/></Relationships>
</file>

<file path=ppt/slides/_rels/slide6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3.xml"/><Relationship Id="rId3" Type="http://schemas.openxmlformats.org/officeDocument/2006/relationships/chart" Target="../charts/chart2673.xml"/><Relationship Id="rId4" Type="http://schemas.openxmlformats.org/officeDocument/2006/relationships/chart" Target="../charts/chart2674.xml"/><Relationship Id="rId5" Type="http://schemas.openxmlformats.org/officeDocument/2006/relationships/chart" Target="../charts/chart2675.xml"/></Relationships>
</file>

<file path=ppt/slides/_rels/slide6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0.xml"/><Relationship Id="rId3" Type="http://schemas.openxmlformats.org/officeDocument/2006/relationships/chart" Target="../charts/chart2694.xml"/><Relationship Id="rId4" Type="http://schemas.openxmlformats.org/officeDocument/2006/relationships/chart" Target="../charts/chart2695.xml"/><Relationship Id="rId5" Type="http://schemas.openxmlformats.org/officeDocument/2006/relationships/chart" Target="../charts/chart2696.xml"/></Relationships>
</file>

<file path=ppt/slides/_rels/slide6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6.xml"/><Relationship Id="rId3" Type="http://schemas.openxmlformats.org/officeDocument/2006/relationships/chart" Target="../charts/chart2712.xml"/><Relationship Id="rId4" Type="http://schemas.openxmlformats.org/officeDocument/2006/relationships/chart" Target="../charts/chart2713.xml"/><Relationship Id="rId5" Type="http://schemas.openxmlformats.org/officeDocument/2006/relationships/chart" Target="../charts/chart2714.xml"/></Relationships>
</file>

<file path=ppt/slides/_rels/slide6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7.xml"/><Relationship Id="rId3" Type="http://schemas.openxmlformats.org/officeDocument/2006/relationships/chart" Target="../charts/chart2715.xml"/><Relationship Id="rId4" Type="http://schemas.openxmlformats.org/officeDocument/2006/relationships/chart" Target="../charts/chart2716.xml"/><Relationship Id="rId5" Type="http://schemas.openxmlformats.org/officeDocument/2006/relationships/chart" Target="../charts/chart2717.xml"/></Relationships>
</file>

<file path=ppt/slides/_rels/slide6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5.xml"/><Relationship Id="rId3" Type="http://schemas.openxmlformats.org/officeDocument/2006/relationships/chart" Target="../charts/chart2739.xml"/><Relationship Id="rId4" Type="http://schemas.openxmlformats.org/officeDocument/2006/relationships/chart" Target="../charts/chart2740.xml"/><Relationship Id="rId5" Type="http://schemas.openxmlformats.org/officeDocument/2006/relationships/chart" Target="../charts/chart2741.xml"/></Relationships>
</file>

<file path=ppt/slides/_rels/slide6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7.xml"/><Relationship Id="rId3" Type="http://schemas.openxmlformats.org/officeDocument/2006/relationships/chart" Target="../charts/chart2745.xml"/><Relationship Id="rId4" Type="http://schemas.openxmlformats.org/officeDocument/2006/relationships/chart" Target="../charts/chart2746.xml"/><Relationship Id="rId5" Type="http://schemas.openxmlformats.org/officeDocument/2006/relationships/chart" Target="../charts/chart2747.xml"/></Relationships>
</file>

<file path=ppt/slides/_rels/slide6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2.xml"/><Relationship Id="rId3" Type="http://schemas.openxmlformats.org/officeDocument/2006/relationships/chart" Target="../charts/chart2760.xml"/><Relationship Id="rId4" Type="http://schemas.openxmlformats.org/officeDocument/2006/relationships/chart" Target="../charts/chart2761.xml"/><Relationship Id="rId5" Type="http://schemas.openxmlformats.org/officeDocument/2006/relationships/chart" Target="../charts/chart2762.xml"/></Relationships>
</file>

<file path=ppt/slides/_rels/slide6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8.xml"/><Relationship Id="rId3" Type="http://schemas.openxmlformats.org/officeDocument/2006/relationships/chart" Target="../charts/chart2778.xml"/><Relationship Id="rId4" Type="http://schemas.openxmlformats.org/officeDocument/2006/relationships/chart" Target="../charts/chart2779.xml"/><Relationship Id="rId5" Type="http://schemas.openxmlformats.org/officeDocument/2006/relationships/chart" Target="../charts/chart2780.xml"/></Relationships>
</file>

<file path=ppt/slides/_rels/slide6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9.xml"/><Relationship Id="rId3" Type="http://schemas.openxmlformats.org/officeDocument/2006/relationships/chart" Target="../charts/chart2781.xml"/><Relationship Id="rId4" Type="http://schemas.openxmlformats.org/officeDocument/2006/relationships/chart" Target="../charts/chart2782.xml"/><Relationship Id="rId5" Type="http://schemas.openxmlformats.org/officeDocument/2006/relationships/chart" Target="../charts/chart2783.xml"/></Relationships>
</file>

<file path=ppt/slides/_rels/slide6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9.xml"/><Relationship Id="rId3" Type="http://schemas.openxmlformats.org/officeDocument/2006/relationships/chart" Target="../charts/chart2811.xml"/><Relationship Id="rId4" Type="http://schemas.openxmlformats.org/officeDocument/2006/relationships/chart" Target="../charts/chart2812.xml"/><Relationship Id="rId5" Type="http://schemas.openxmlformats.org/officeDocument/2006/relationships/chart" Target="../charts/chart2813.xml"/></Relationships>
</file>

<file path=ppt/slides/_rels/slide6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4.xml"/><Relationship Id="rId3" Type="http://schemas.openxmlformats.org/officeDocument/2006/relationships/chart" Target="../charts/chart2826.xml"/><Relationship Id="rId4" Type="http://schemas.openxmlformats.org/officeDocument/2006/relationships/chart" Target="../charts/chart2827.xml"/><Relationship Id="rId5" Type="http://schemas.openxmlformats.org/officeDocument/2006/relationships/chart" Target="../charts/chart28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xml"/><Relationship Id="rId3" Type="http://schemas.openxmlformats.org/officeDocument/2006/relationships/chart" Target="../charts/chart331.xml"/><Relationship Id="rId4" Type="http://schemas.openxmlformats.org/officeDocument/2006/relationships/chart" Target="../charts/chart332.xml"/><Relationship Id="rId5" Type="http://schemas.openxmlformats.org/officeDocument/2006/relationships/chart" Target="../charts/chart333.xml"/><Relationship Id="rId6" Type="http://schemas.openxmlformats.org/officeDocument/2006/relationships/chart" Target="../charts/chart334.xml"/><Relationship Id="rId7" Type="http://schemas.openxmlformats.org/officeDocument/2006/relationships/chart" Target="../charts/chart335.xml"/></Relationships>
</file>

<file path=ppt/slides/_rels/slide6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0.xml"/><Relationship Id="rId3" Type="http://schemas.openxmlformats.org/officeDocument/2006/relationships/chart" Target="../charts/chart2844.xml"/><Relationship Id="rId4" Type="http://schemas.openxmlformats.org/officeDocument/2006/relationships/chart" Target="../charts/chart2845.xml"/><Relationship Id="rId5" Type="http://schemas.openxmlformats.org/officeDocument/2006/relationships/chart" Target="../charts/chart2846.xml"/></Relationships>
</file>

<file path=ppt/slides/_rels/slide6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1.xml"/><Relationship Id="rId3" Type="http://schemas.openxmlformats.org/officeDocument/2006/relationships/chart" Target="../charts/chart2847.xml"/><Relationship Id="rId4" Type="http://schemas.openxmlformats.org/officeDocument/2006/relationships/chart" Target="../charts/chart2848.xml"/><Relationship Id="rId5" Type="http://schemas.openxmlformats.org/officeDocument/2006/relationships/chart" Target="../charts/chart2849.xml"/></Relationships>
</file>

<file path=ppt/slides/_rels/slide6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7.xml"/><Relationship Id="rId3" Type="http://schemas.openxmlformats.org/officeDocument/2006/relationships/chart" Target="../charts/chart2864.xml"/><Relationship Id="rId4" Type="http://schemas.openxmlformats.org/officeDocument/2006/relationships/chart" Target="../charts/chart2865.xml"/><Relationship Id="rId5" Type="http://schemas.openxmlformats.org/officeDocument/2006/relationships/chart" Target="../charts/chart2866.xml"/></Relationships>
</file>

<file path=ppt/slides/_rels/slide6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8.xml"/><Relationship Id="rId3" Type="http://schemas.openxmlformats.org/officeDocument/2006/relationships/chart" Target="../charts/chart2867.xml"/><Relationship Id="rId4" Type="http://schemas.openxmlformats.org/officeDocument/2006/relationships/chart" Target="../charts/chart2868.xml"/></Relationships>
</file>

<file path=ppt/slides/_rels/slide6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1.xml"/><Relationship Id="rId3" Type="http://schemas.openxmlformats.org/officeDocument/2006/relationships/chart" Target="../charts/chart2874.xml"/><Relationship Id="rId4" Type="http://schemas.openxmlformats.org/officeDocument/2006/relationships/chart" Target="../charts/chart2875.xml"/><Relationship Id="rId5" Type="http://schemas.openxmlformats.org/officeDocument/2006/relationships/chart" Target="../charts/chart2876.xml"/></Relationships>
</file>

<file path=ppt/slides/_rels/slide6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3.xml"/><Relationship Id="rId3" Type="http://schemas.openxmlformats.org/officeDocument/2006/relationships/chart" Target="../charts/chart2904.xml"/><Relationship Id="rId4" Type="http://schemas.openxmlformats.org/officeDocument/2006/relationships/chart" Target="../charts/chart2905.xml"/><Relationship Id="rId5" Type="http://schemas.openxmlformats.org/officeDocument/2006/relationships/chart" Target="../charts/chart2906.xml"/></Relationships>
</file>

<file path=ppt/slides/_rels/slide7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2.xml"/><Relationship Id="rId3" Type="http://schemas.openxmlformats.org/officeDocument/2006/relationships/chart" Target="../charts/chart2927.xml"/><Relationship Id="rId4" Type="http://schemas.openxmlformats.org/officeDocument/2006/relationships/chart" Target="../charts/chart2928.xml"/></Relationships>
</file>

<file path=ppt/slides/_rels/slide7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3.xml"/><Relationship Id="rId3" Type="http://schemas.openxmlformats.org/officeDocument/2006/relationships/chart" Target="../charts/chart2929.xml"/><Relationship Id="rId4" Type="http://schemas.openxmlformats.org/officeDocument/2006/relationships/chart" Target="../charts/chart2930.xml"/><Relationship Id="rId5" Type="http://schemas.openxmlformats.org/officeDocument/2006/relationships/chart" Target="../charts/chart2931.xml"/></Relationships>
</file>

<file path=ppt/slides/_rels/slide7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9.xml"/><Relationship Id="rId3" Type="http://schemas.openxmlformats.org/officeDocument/2006/relationships/chart" Target="../charts/chart2944.xml"/><Relationship Id="rId4" Type="http://schemas.openxmlformats.org/officeDocument/2006/relationships/chart" Target="../charts/chart2945.xml"/><Relationship Id="rId5" Type="http://schemas.openxmlformats.org/officeDocument/2006/relationships/chart" Target="../charts/chart294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xml"/><Relationship Id="rId3" Type="http://schemas.openxmlformats.org/officeDocument/2006/relationships/chart" Target="../charts/chart351.xml"/><Relationship Id="rId4" Type="http://schemas.openxmlformats.org/officeDocument/2006/relationships/chart" Target="../charts/chart352.xml"/><Relationship Id="rId5" Type="http://schemas.openxmlformats.org/officeDocument/2006/relationships/chart" Target="../charts/chart353.xml"/><Relationship Id="rId6" Type="http://schemas.openxmlformats.org/officeDocument/2006/relationships/chart" Target="../charts/chart354.xml"/><Relationship Id="rId7" Type="http://schemas.openxmlformats.org/officeDocument/2006/relationships/chart" Target="../charts/chart355.xml"/></Relationships>
</file>

<file path=ppt/slides/_rels/slide7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3.xml"/><Relationship Id="rId3" Type="http://schemas.openxmlformats.org/officeDocument/2006/relationships/chart" Target="../charts/chart2954.xml"/><Relationship Id="rId4" Type="http://schemas.openxmlformats.org/officeDocument/2006/relationships/chart" Target="../charts/chart2955.xml"/><Relationship Id="rId5" Type="http://schemas.openxmlformats.org/officeDocument/2006/relationships/chart" Target="../charts/chart2956.xml"/></Relationships>
</file>

<file path=ppt/slides/_rels/slide7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6.xml"/><Relationship Id="rId3" Type="http://schemas.openxmlformats.org/officeDocument/2006/relationships/chart" Target="../charts/chart2962.xml"/><Relationship Id="rId4" Type="http://schemas.openxmlformats.org/officeDocument/2006/relationships/chart" Target="../charts/chart2963.xml"/></Relationships>
</file>

<file path=ppt/slides/_rels/slide7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4.xml"/><Relationship Id="rId3" Type="http://schemas.openxmlformats.org/officeDocument/2006/relationships/chart" Target="../charts/chart2982.xml"/><Relationship Id="rId4" Type="http://schemas.openxmlformats.org/officeDocument/2006/relationships/chart" Target="../charts/chart2983.xml"/></Relationships>
</file>

<file path=ppt/slides/_rels/slide7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5.xml"/><Relationship Id="rId3" Type="http://schemas.openxmlformats.org/officeDocument/2006/relationships/chart" Target="../charts/chart2984.xml"/><Relationship Id="rId4" Type="http://schemas.openxmlformats.org/officeDocument/2006/relationships/chart" Target="../charts/chart2985.xml"/><Relationship Id="rId5" Type="http://schemas.openxmlformats.org/officeDocument/2006/relationships/chart" Target="../charts/chart2986.xml"/></Relationships>
</file>

<file path=ppt/slides/_rels/slide7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6.xml"/><Relationship Id="rId3" Type="http://schemas.openxmlformats.org/officeDocument/2006/relationships/chart" Target="../charts/chart2987.xml"/><Relationship Id="rId4" Type="http://schemas.openxmlformats.org/officeDocument/2006/relationships/chart" Target="../charts/chart2988.xml"/></Relationships>
</file>

<file path=ppt/slides/_rels/slide7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1.xml"/><Relationship Id="rId3" Type="http://schemas.openxmlformats.org/officeDocument/2006/relationships/chart" Target="../charts/chart2999.xml"/><Relationship Id="rId4" Type="http://schemas.openxmlformats.org/officeDocument/2006/relationships/chart" Target="../charts/chart3000.xml"/><Relationship Id="rId5" Type="http://schemas.openxmlformats.org/officeDocument/2006/relationships/chart" Target="../charts/chart3001.xml"/></Relationships>
</file>

<file path=ppt/slides/_rels/slide7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5.xml"/><Relationship Id="rId3" Type="http://schemas.openxmlformats.org/officeDocument/2006/relationships/chart" Target="../charts/chart3009.xml"/><Relationship Id="rId4" Type="http://schemas.openxmlformats.org/officeDocument/2006/relationships/chart" Target="../charts/chart3010.xml"/><Relationship Id="rId5" Type="http://schemas.openxmlformats.org/officeDocument/2006/relationships/chart" Target="../charts/chart3011.xml"/></Relationships>
</file>

<file path=ppt/slides/_rels/slide7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7.xml"/><Relationship Id="rId3" Type="http://schemas.openxmlformats.org/officeDocument/2006/relationships/chart" Target="../charts/chart3015.xml"/><Relationship Id="rId4" Type="http://schemas.openxmlformats.org/officeDocument/2006/relationships/chart" Target="../charts/chart3016.xml"/><Relationship Id="rId5" Type="http://schemas.openxmlformats.org/officeDocument/2006/relationships/chart" Target="../charts/chart3017.xml"/></Relationships>
</file>

<file path=ppt/slides/_rels/slide7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8.xml"/><Relationship Id="rId3" Type="http://schemas.openxmlformats.org/officeDocument/2006/relationships/chart" Target="../charts/chart3018.xml"/><Relationship Id="rId4" Type="http://schemas.openxmlformats.org/officeDocument/2006/relationships/chart" Target="../charts/chart3019.xml"/><Relationship Id="rId5" Type="http://schemas.openxmlformats.org/officeDocument/2006/relationships/chart" Target="../charts/chart3020.xml"/></Relationships>
</file>

<file path=ppt/slides/_rels/slide7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8.xml"/><Relationship Id="rId3" Type="http://schemas.openxmlformats.org/officeDocument/2006/relationships/chart" Target="../charts/chart3048.xml"/><Relationship Id="rId4" Type="http://schemas.openxmlformats.org/officeDocument/2006/relationships/chart" Target="../charts/chart3049.xml"/><Relationship Id="rId5" Type="http://schemas.openxmlformats.org/officeDocument/2006/relationships/chart" Target="../charts/chart3050.xml"/></Relationships>
</file>

<file path=ppt/slides/_rels/slide7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3.xml"/><Relationship Id="rId3" Type="http://schemas.openxmlformats.org/officeDocument/2006/relationships/chart" Target="../charts/chart3063.xml"/><Relationship Id="rId4" Type="http://schemas.openxmlformats.org/officeDocument/2006/relationships/chart" Target="../charts/chart3064.xml"/><Relationship Id="rId5" Type="http://schemas.openxmlformats.org/officeDocument/2006/relationships/chart" Target="../charts/chart3065.xml"/></Relationships>
</file>

<file path=ppt/slides/_rels/slide7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0.xml"/><Relationship Id="rId3" Type="http://schemas.openxmlformats.org/officeDocument/2006/relationships/chart" Target="../charts/chart3084.xml"/><Relationship Id="rId4" Type="http://schemas.openxmlformats.org/officeDocument/2006/relationships/chart" Target="../charts/chart3085.xml"/><Relationship Id="rId5" Type="http://schemas.openxmlformats.org/officeDocument/2006/relationships/chart" Target="../charts/chart3086.xml"/></Relationships>
</file>

<file path=ppt/slides/_rels/slide7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6.xml"/><Relationship Id="rId3" Type="http://schemas.openxmlformats.org/officeDocument/2006/relationships/chart" Target="../charts/chart3102.xml"/><Relationship Id="rId4" Type="http://schemas.openxmlformats.org/officeDocument/2006/relationships/chart" Target="../charts/chart3103.xml"/><Relationship Id="rId5" Type="http://schemas.openxmlformats.org/officeDocument/2006/relationships/chart" Target="../charts/chart3104.xml"/></Relationships>
</file>

<file path=ppt/slides/_rels/slide7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7.xml"/><Relationship Id="rId3" Type="http://schemas.openxmlformats.org/officeDocument/2006/relationships/chart" Target="../charts/chart3105.xml"/><Relationship Id="rId4" Type="http://schemas.openxmlformats.org/officeDocument/2006/relationships/chart" Target="../charts/chart3106.xml"/><Relationship Id="rId5" Type="http://schemas.openxmlformats.org/officeDocument/2006/relationships/chart" Target="../charts/chart3107.xml"/></Relationships>
</file>

<file path=ppt/slides/_rels/slide7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5.xml"/><Relationship Id="rId3" Type="http://schemas.openxmlformats.org/officeDocument/2006/relationships/chart" Target="../charts/chart3129.xml"/><Relationship Id="rId4" Type="http://schemas.openxmlformats.org/officeDocument/2006/relationships/chart" Target="../charts/chart3130.xml"/><Relationship Id="rId5" Type="http://schemas.openxmlformats.org/officeDocument/2006/relationships/chart" Target="../charts/chart3131.xml"/></Relationships>
</file>

<file path=ppt/slides/_rels/slide7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7.xml"/><Relationship Id="rId3" Type="http://schemas.openxmlformats.org/officeDocument/2006/relationships/chart" Target="../charts/chart3135.xml"/><Relationship Id="rId4" Type="http://schemas.openxmlformats.org/officeDocument/2006/relationships/chart" Target="../charts/chart3136.xml"/><Relationship Id="rId5" Type="http://schemas.openxmlformats.org/officeDocument/2006/relationships/chart" Target="../charts/chart3137.xml"/></Relationships>
</file>

<file path=ppt/slides/_rels/slide7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2.xml"/><Relationship Id="rId3" Type="http://schemas.openxmlformats.org/officeDocument/2006/relationships/chart" Target="../charts/chart3150.xml"/><Relationship Id="rId4" Type="http://schemas.openxmlformats.org/officeDocument/2006/relationships/chart" Target="../charts/chart3151.xml"/><Relationship Id="rId5" Type="http://schemas.openxmlformats.org/officeDocument/2006/relationships/chart" Target="../charts/chart3152.xml"/></Relationships>
</file>

<file path=ppt/slides/_rels/slide7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8.xml"/><Relationship Id="rId3" Type="http://schemas.openxmlformats.org/officeDocument/2006/relationships/chart" Target="../charts/chart3168.xml"/><Relationship Id="rId4" Type="http://schemas.openxmlformats.org/officeDocument/2006/relationships/chart" Target="../charts/chart3169.xml"/><Relationship Id="rId5" Type="http://schemas.openxmlformats.org/officeDocument/2006/relationships/chart" Target="../charts/chart3170.xml"/></Relationships>
</file>

<file path=ppt/slides/_rels/slide7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9.xml"/><Relationship Id="rId3" Type="http://schemas.openxmlformats.org/officeDocument/2006/relationships/chart" Target="../charts/chart3171.xml"/><Relationship Id="rId4" Type="http://schemas.openxmlformats.org/officeDocument/2006/relationships/chart" Target="../charts/chart3172.xml"/><Relationship Id="rId5" Type="http://schemas.openxmlformats.org/officeDocument/2006/relationships/chart" Target="../charts/chart3173.xml"/></Relationships>
</file>

<file path=ppt/slides/_rels/slide7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8.xml"/><Relationship Id="rId3" Type="http://schemas.openxmlformats.org/officeDocument/2006/relationships/chart" Target="../charts/chart3197.xml"/><Relationship Id="rId4" Type="http://schemas.openxmlformats.org/officeDocument/2006/relationships/chart" Target="../charts/chart3198.xml"/><Relationship Id="rId5" Type="http://schemas.openxmlformats.org/officeDocument/2006/relationships/chart" Target="../charts/chart3199.xml"/></Relationships>
</file>

<file path=ppt/slides/_rels/slide8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2.xml"/><Relationship Id="rId3" Type="http://schemas.openxmlformats.org/officeDocument/2006/relationships/chart" Target="../charts/chart3208.xml"/><Relationship Id="rId4" Type="http://schemas.openxmlformats.org/officeDocument/2006/relationships/chart" Target="../charts/chart3209.xml"/><Relationship Id="rId5" Type="http://schemas.openxmlformats.org/officeDocument/2006/relationships/chart" Target="../charts/chart3210.xml"/></Relationships>
</file>

<file path=ppt/slides/_rels/slide8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3.xml"/><Relationship Id="rId3" Type="http://schemas.openxmlformats.org/officeDocument/2006/relationships/chart" Target="../charts/chart3237.xml"/><Relationship Id="rId4" Type="http://schemas.openxmlformats.org/officeDocument/2006/relationships/chart" Target="../charts/chart3238.xml"/><Relationship Id="rId5" Type="http://schemas.openxmlformats.org/officeDocument/2006/relationships/chart" Target="../charts/chart3239.xml"/></Relationships>
</file>

<file path=ppt/slides/_rels/slide8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4.xml"/><Relationship Id="rId3" Type="http://schemas.openxmlformats.org/officeDocument/2006/relationships/chart" Target="../charts/chart3240.xml"/><Relationship Id="rId4" Type="http://schemas.openxmlformats.org/officeDocument/2006/relationships/chart" Target="../charts/chart3241.xml"/><Relationship Id="rId5" Type="http://schemas.openxmlformats.org/officeDocument/2006/relationships/chart" Target="../charts/chart324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xml"/><Relationship Id="rId3" Type="http://schemas.openxmlformats.org/officeDocument/2006/relationships/chart" Target="../charts/chart406.xml"/><Relationship Id="rId4" Type="http://schemas.openxmlformats.org/officeDocument/2006/relationships/chart" Target="../charts/chart407.xml"/><Relationship Id="rId5" Type="http://schemas.openxmlformats.org/officeDocument/2006/relationships/chart" Target="../charts/chart408.xml"/><Relationship Id="rId6" Type="http://schemas.openxmlformats.org/officeDocument/2006/relationships/chart" Target="../charts/chart409.xml"/><Relationship Id="rId7" Type="http://schemas.openxmlformats.org/officeDocument/2006/relationships/chart" Target="../charts/chart410.xml"/></Relationships>
</file>

<file path=ppt/slides/_rels/slide8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0.xml"/><Relationship Id="rId3" Type="http://schemas.openxmlformats.org/officeDocument/2006/relationships/chart" Target="../charts/chart3257.xml"/><Relationship Id="rId4" Type="http://schemas.openxmlformats.org/officeDocument/2006/relationships/chart" Target="../charts/chart3258.xml"/></Relationships>
</file>

<file path=ppt/slides/_rels/slide8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4.xml"/><Relationship Id="rId3" Type="http://schemas.openxmlformats.org/officeDocument/2006/relationships/chart" Target="../charts/chart3268.xml"/><Relationship Id="rId4" Type="http://schemas.openxmlformats.org/officeDocument/2006/relationships/chart" Target="../charts/chart3269.xml"/></Relationships>
</file>

<file path=ppt/slides/_rels/slide8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7.xml"/><Relationship Id="rId3" Type="http://schemas.openxmlformats.org/officeDocument/2006/relationships/chart" Target="../charts/chart3276.xml"/><Relationship Id="rId4" Type="http://schemas.openxmlformats.org/officeDocument/2006/relationships/chart" Target="../charts/chart3277.xml"/><Relationship Id="rId5" Type="http://schemas.openxmlformats.org/officeDocument/2006/relationships/chart" Target="../charts/chart327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xml"/><Relationship Id="rId3" Type="http://schemas.openxmlformats.org/officeDocument/2006/relationships/chart" Target="../charts/chart411.xml"/><Relationship Id="rId4" Type="http://schemas.openxmlformats.org/officeDocument/2006/relationships/chart" Target="../charts/chart412.xml"/><Relationship Id="rId5" Type="http://schemas.openxmlformats.org/officeDocument/2006/relationships/chart" Target="../charts/chart413.xml"/><Relationship Id="rId6" Type="http://schemas.openxmlformats.org/officeDocument/2006/relationships/chart" Target="../charts/chart414.xml"/><Relationship Id="rId7" Type="http://schemas.openxmlformats.org/officeDocument/2006/relationships/chart" Target="../charts/chart415.xml"/></Relationships>
</file>

<file path=ppt/slides/_rels/slide8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5.xml"/><Relationship Id="rId3" Type="http://schemas.openxmlformats.org/officeDocument/2006/relationships/chart" Target="../charts/chart3298.xml"/><Relationship Id="rId4" Type="http://schemas.openxmlformats.org/officeDocument/2006/relationships/chart" Target="../charts/chart3299.xml"/><Relationship Id="rId5" Type="http://schemas.openxmlformats.org/officeDocument/2006/relationships/chart" Target="../charts/chart3300.xml"/></Relationships>
</file>

<file path=ppt/slides/_rels/slide8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2.xml"/><Relationship Id="rId3" Type="http://schemas.openxmlformats.org/officeDocument/2006/relationships/chart" Target="../charts/chart3317.xml"/><Relationship Id="rId4" Type="http://schemas.openxmlformats.org/officeDocument/2006/relationships/chart" Target="../charts/chart3318.xml"/><Relationship Id="rId5" Type="http://schemas.openxmlformats.org/officeDocument/2006/relationships/chart" Target="../charts/chart3319.xml"/></Relationships>
</file>

<file path=ppt/slides/_rels/slide8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3.xml"/><Relationship Id="rId3" Type="http://schemas.openxmlformats.org/officeDocument/2006/relationships/chart" Target="../charts/chart3320.xml"/><Relationship Id="rId4" Type="http://schemas.openxmlformats.org/officeDocument/2006/relationships/chart" Target="../charts/chart3321.xml"/><Relationship Id="rId5" Type="http://schemas.openxmlformats.org/officeDocument/2006/relationships/chart" Target="../charts/chart3322.xml"/></Relationships>
</file>

<file path=ppt/slides/_rels/slide8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9.xml"/><Relationship Id="rId3" Type="http://schemas.openxmlformats.org/officeDocument/2006/relationships/chart" Target="../charts/chart3336.xml"/><Relationship Id="rId4" Type="http://schemas.openxmlformats.org/officeDocument/2006/relationships/chart" Target="../charts/chart3337.xml"/><Relationship Id="rId5" Type="http://schemas.openxmlformats.org/officeDocument/2006/relationships/chart" Target="../charts/chart3338.xml"/></Relationships>
</file>

<file path=ppt/slides/_rels/slide8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3.xml"/><Relationship Id="rId3" Type="http://schemas.openxmlformats.org/officeDocument/2006/relationships/chart" Target="../charts/chart3347.xml"/><Relationship Id="rId4" Type="http://schemas.openxmlformats.org/officeDocument/2006/relationships/chart" Target="../charts/chart3348.xml"/><Relationship Id="rId5" Type="http://schemas.openxmlformats.org/officeDocument/2006/relationships/chart" Target="../charts/chart3349.xml"/></Relationships>
</file>

<file path=ppt/slides/_rels/slide8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6.xml"/><Relationship Id="rId3" Type="http://schemas.openxmlformats.org/officeDocument/2006/relationships/chart" Target="../charts/chart3356.xml"/><Relationship Id="rId4" Type="http://schemas.openxmlformats.org/officeDocument/2006/relationships/chart" Target="../charts/chart3357.xml"/></Relationships>
</file>

<file path=ppt/slides/_rels/slide8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4.xml"/><Relationship Id="rId3" Type="http://schemas.openxmlformats.org/officeDocument/2006/relationships/chart" Target="../charts/chart3378.xml"/><Relationship Id="rId4" Type="http://schemas.openxmlformats.org/officeDocument/2006/relationships/chart" Target="../charts/chart3379.xml"/></Relationships>
</file>

<file path=ppt/slides/_rels/slide8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5.xml"/><Relationship Id="rId3" Type="http://schemas.openxmlformats.org/officeDocument/2006/relationships/chart" Target="../charts/chart3380.xml"/><Relationship Id="rId4" Type="http://schemas.openxmlformats.org/officeDocument/2006/relationships/chart" Target="../charts/chart3381.xml"/><Relationship Id="rId5" Type="http://schemas.openxmlformats.org/officeDocument/2006/relationships/chart" Target="../charts/chart3382.xml"/></Relationships>
</file>

<file path=ppt/slides/_rels/slide8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6.xml"/><Relationship Id="rId3" Type="http://schemas.openxmlformats.org/officeDocument/2006/relationships/chart" Target="../charts/chart3383.xml"/><Relationship Id="rId4" Type="http://schemas.openxmlformats.org/officeDocument/2006/relationships/chart" Target="../charts/chart3384.xml"/><Relationship Id="rId5" Type="http://schemas.openxmlformats.org/officeDocument/2006/relationships/chart" Target="../charts/chart3385.xml"/></Relationships>
</file>

<file path=ppt/slides/_rels/slide8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1.xml"/><Relationship Id="rId3" Type="http://schemas.openxmlformats.org/officeDocument/2006/relationships/chart" Target="../charts/chart3397.xml"/><Relationship Id="rId4" Type="http://schemas.openxmlformats.org/officeDocument/2006/relationships/chart" Target="../charts/chart3398.xml"/><Relationship Id="rId5" Type="http://schemas.openxmlformats.org/officeDocument/2006/relationships/chart" Target="../charts/chart3399.xml"/></Relationships>
</file>

<file path=ppt/slides/_rels/slide8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5.xml"/><Relationship Id="rId3" Type="http://schemas.openxmlformats.org/officeDocument/2006/relationships/chart" Target="../charts/chart3408.xml"/><Relationship Id="rId4" Type="http://schemas.openxmlformats.org/officeDocument/2006/relationships/chart" Target="../charts/chart3409.xml"/><Relationship Id="rId5" Type="http://schemas.openxmlformats.org/officeDocument/2006/relationships/chart" Target="../charts/chart3410.xml"/></Relationships>
</file>

<file path=ppt/slides/_rels/slide8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7.xml"/><Relationship Id="rId3" Type="http://schemas.openxmlformats.org/officeDocument/2006/relationships/chart" Target="../charts/chart3413.xml"/><Relationship Id="rId4" Type="http://schemas.openxmlformats.org/officeDocument/2006/relationships/chart" Target="../charts/chart3414.xml"/><Relationship Id="rId5" Type="http://schemas.openxmlformats.org/officeDocument/2006/relationships/chart" Target="../charts/chart3415.xml"/></Relationships>
</file>

<file path=ppt/slides/_rels/slide8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8.xml"/><Relationship Id="rId3" Type="http://schemas.openxmlformats.org/officeDocument/2006/relationships/chart" Target="../charts/chart3416.xml"/><Relationship Id="rId4" Type="http://schemas.openxmlformats.org/officeDocument/2006/relationships/chart" Target="../charts/chart3417.xml"/><Relationship Id="rId5" Type="http://schemas.openxmlformats.org/officeDocument/2006/relationships/chart" Target="../charts/chart3418.xml"/></Relationships>
</file>

<file path=ppt/slides/_rels/slide8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8.xml"/><Relationship Id="rId3" Type="http://schemas.openxmlformats.org/officeDocument/2006/relationships/chart" Target="../charts/chart3444.xml"/><Relationship Id="rId4" Type="http://schemas.openxmlformats.org/officeDocument/2006/relationships/chart" Target="../charts/chart344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xml"/><Relationship Id="rId3" Type="http://schemas.openxmlformats.org/officeDocument/2006/relationships/chart" Target="../charts/chart441.xml"/><Relationship Id="rId4" Type="http://schemas.openxmlformats.org/officeDocument/2006/relationships/chart" Target="../charts/chart442.xml"/><Relationship Id="rId5" Type="http://schemas.openxmlformats.org/officeDocument/2006/relationships/chart" Target="../charts/chart443.xml"/><Relationship Id="rId6" Type="http://schemas.openxmlformats.org/officeDocument/2006/relationships/chart" Target="../charts/chart444.xml"/><Relationship Id="rId7" Type="http://schemas.openxmlformats.org/officeDocument/2006/relationships/chart" Target="../charts/chart445.xml"/></Relationships>
</file>

<file path=ppt/slides/_rels/slide8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3.xml"/><Relationship Id="rId3" Type="http://schemas.openxmlformats.org/officeDocument/2006/relationships/chart" Target="../charts/chart3457.xml"/><Relationship Id="rId4" Type="http://schemas.openxmlformats.org/officeDocument/2006/relationships/chart" Target="../charts/chart3458.xml"/><Relationship Id="rId5" Type="http://schemas.openxmlformats.org/officeDocument/2006/relationships/chart" Target="../charts/chart34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41.xml"/><Relationship Id="rId4" Type="http://schemas.openxmlformats.org/officeDocument/2006/relationships/chart" Target="../charts/chart42.xml"/><Relationship Id="rId5" Type="http://schemas.openxmlformats.org/officeDocument/2006/relationships/chart" Target="../charts/chart43.xml"/><Relationship Id="rId6" Type="http://schemas.openxmlformats.org/officeDocument/2006/relationships/chart" Target="../charts/chart44.xml"/><Relationship Id="rId7" Type="http://schemas.openxmlformats.org/officeDocument/2006/relationships/chart" Target="../charts/chart45.xml"/></Relationships>
</file>

<file path=ppt/slides/_rels/slide9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2.xml"/><Relationship Id="rId3" Type="http://schemas.openxmlformats.org/officeDocument/2006/relationships/chart" Target="../charts/chart3482.xml"/><Relationship Id="rId4" Type="http://schemas.openxmlformats.org/officeDocument/2006/relationships/chart" Target="../charts/chart3483.xml"/><Relationship Id="rId5" Type="http://schemas.openxmlformats.org/officeDocument/2006/relationships/chart" Target="../charts/chart3484.xml"/></Relationships>
</file>

<file path=ppt/slides/_rels/slide9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3.xml"/><Relationship Id="rId3" Type="http://schemas.openxmlformats.org/officeDocument/2006/relationships/chart" Target="../charts/chart3485.xml"/><Relationship Id="rId4" Type="http://schemas.openxmlformats.org/officeDocument/2006/relationships/chart" Target="../charts/chart3486.xml"/><Relationship Id="rId5" Type="http://schemas.openxmlformats.org/officeDocument/2006/relationships/chart" Target="../charts/chart3487.xml"/></Relationships>
</file>

<file path=ppt/slides/_rels/slide9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9.xml"/><Relationship Id="rId3" Type="http://schemas.openxmlformats.org/officeDocument/2006/relationships/chart" Target="../charts/chart3501.xml"/><Relationship Id="rId4" Type="http://schemas.openxmlformats.org/officeDocument/2006/relationships/chart" Target="../charts/chart3502.xml"/><Relationship Id="rId5" Type="http://schemas.openxmlformats.org/officeDocument/2006/relationships/chart" Target="../charts/chart3503.xml"/></Relationships>
</file>

<file path=ppt/slides/_rels/slide9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0.xml"/><Relationship Id="rId3" Type="http://schemas.openxmlformats.org/officeDocument/2006/relationships/chart" Target="../charts/chart3504.xml"/><Relationship Id="rId4" Type="http://schemas.openxmlformats.org/officeDocument/2006/relationships/chart" Target="../charts/chart3505.xml"/><Relationship Id="rId5" Type="http://schemas.openxmlformats.org/officeDocument/2006/relationships/chart" Target="../charts/chart3506.xml"/></Relationships>
</file>

<file path=ppt/slides/_rels/slide9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6.xml"/><Relationship Id="rId3" Type="http://schemas.openxmlformats.org/officeDocument/2006/relationships/chart" Target="../charts/chart3521.xml"/><Relationship Id="rId4" Type="http://schemas.openxmlformats.org/officeDocument/2006/relationships/chart" Target="../charts/chart3522.xml"/></Relationships>
</file>

<file path=ppt/slides/_rels/slide9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0.xml"/><Relationship Id="rId3" Type="http://schemas.openxmlformats.org/officeDocument/2006/relationships/chart" Target="../charts/chart3532.xml"/></Relationships>
</file>

<file path=ppt/slides/_rels/slide9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5.xml"/><Relationship Id="rId3" Type="http://schemas.openxmlformats.org/officeDocument/2006/relationships/chart" Target="../charts/chart3544.xml"/><Relationship Id="rId4" Type="http://schemas.openxmlformats.org/officeDocument/2006/relationships/chart" Target="../charts/chart3545.xml"/><Relationship Id="rId5" Type="http://schemas.openxmlformats.org/officeDocument/2006/relationships/chart" Target="../charts/chart354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xml"/><Relationship Id="rId3" Type="http://schemas.openxmlformats.org/officeDocument/2006/relationships/chart" Target="../charts/chart461.xml"/><Relationship Id="rId4" Type="http://schemas.openxmlformats.org/officeDocument/2006/relationships/chart" Target="../charts/chart462.xml"/><Relationship Id="rId5" Type="http://schemas.openxmlformats.org/officeDocument/2006/relationships/chart" Target="../charts/chart463.xml"/><Relationship Id="rId6" Type="http://schemas.openxmlformats.org/officeDocument/2006/relationships/chart" Target="../charts/chart464.xml"/><Relationship Id="rId7" Type="http://schemas.openxmlformats.org/officeDocument/2006/relationships/chart" Target="../charts/chart465.xml"/></Relationships>
</file>

<file path=ppt/slides/_rels/slide9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1.xml"/><Relationship Id="rId3" Type="http://schemas.openxmlformats.org/officeDocument/2006/relationships/chart" Target="../charts/chart3561.xml"/><Relationship Id="rId4" Type="http://schemas.openxmlformats.org/officeDocument/2006/relationships/chart" Target="../charts/chart3562.xml"/><Relationship Id="rId5" Type="http://schemas.openxmlformats.org/officeDocument/2006/relationships/chart" Target="../charts/chart3563.xml"/></Relationships>
</file>

<file path=ppt/slides/_rels/slide9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2.xml"/><Relationship Id="rId3" Type="http://schemas.openxmlformats.org/officeDocument/2006/relationships/chart" Target="../charts/chart3564.xml"/><Relationship Id="rId4" Type="http://schemas.openxmlformats.org/officeDocument/2006/relationships/chart" Target="../charts/chart3565.xml"/></Relationships>
</file>

<file path=ppt/slides/_rels/slide9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8.xml"/><Relationship Id="rId3" Type="http://schemas.openxmlformats.org/officeDocument/2006/relationships/chart" Target="../charts/chart3580.xml"/><Relationship Id="rId4" Type="http://schemas.openxmlformats.org/officeDocument/2006/relationships/chart" Target="../charts/chart3581.xml"/><Relationship Id="rId5" Type="http://schemas.openxmlformats.org/officeDocument/2006/relationships/chart" Target="../charts/chart3582.xml"/></Relationships>
</file>

<file path=ppt/slides/_rels/slide9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2.xml"/><Relationship Id="rId3" Type="http://schemas.openxmlformats.org/officeDocument/2006/relationships/chart" Target="../charts/chart3591.xml"/><Relationship Id="rId4" Type="http://schemas.openxmlformats.org/officeDocument/2006/relationships/chart" Target="../charts/chart3592.xml"/><Relationship Id="rId5" Type="http://schemas.openxmlformats.org/officeDocument/2006/relationships/chart" Target="../charts/chart3593.xml"/></Relationships>
</file>

<file path=ppt/slides/_rels/slide9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3.xml"/><Relationship Id="rId3" Type="http://schemas.openxmlformats.org/officeDocument/2006/relationships/chart" Target="../charts/chart3621.xml"/><Relationship Id="rId4" Type="http://schemas.openxmlformats.org/officeDocument/2006/relationships/chart" Target="../charts/chart3622.xml"/><Relationship Id="rId5" Type="http://schemas.openxmlformats.org/officeDocument/2006/relationships/chart" Target="../charts/chart3623.xml"/></Relationships>
</file>

<file path=ppt/slides/_rels/slide9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4.xml"/><Relationship Id="rId3" Type="http://schemas.openxmlformats.org/officeDocument/2006/relationships/chart" Target="../charts/chart3624.xml"/><Relationship Id="rId4" Type="http://schemas.openxmlformats.org/officeDocument/2006/relationships/chart" Target="../charts/chart3625.xml"/><Relationship Id="rId5" Type="http://schemas.openxmlformats.org/officeDocument/2006/relationships/chart" Target="../charts/chart362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xml"/><Relationship Id="rId3" Type="http://schemas.openxmlformats.org/officeDocument/2006/relationships/chart" Target="../charts/chart476.xml"/><Relationship Id="rId4" Type="http://schemas.openxmlformats.org/officeDocument/2006/relationships/chart" Target="../charts/chart477.xml"/><Relationship Id="rId5" Type="http://schemas.openxmlformats.org/officeDocument/2006/relationships/chart" Target="../charts/chart478.xml"/><Relationship Id="rId6" Type="http://schemas.openxmlformats.org/officeDocument/2006/relationships/chart" Target="../charts/chart479.xml"/><Relationship Id="rId7" Type="http://schemas.openxmlformats.org/officeDocument/2006/relationships/chart" Target="../charts/chart480.xml"/></Relationships>
</file>

<file path=ppt/slides/_rels/slide9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0.xml"/><Relationship Id="rId3" Type="http://schemas.openxmlformats.org/officeDocument/2006/relationships/chart" Target="../charts/chart3641.xml"/><Relationship Id="rId4" Type="http://schemas.openxmlformats.org/officeDocument/2006/relationships/chart" Target="../charts/chart3642.xml"/></Relationships>
</file>

<file path=ppt/slides/_rels/slide9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4.xml"/><Relationship Id="rId3" Type="http://schemas.openxmlformats.org/officeDocument/2006/relationships/chart" Target="../charts/chart3652.xml"/><Relationship Id="rId4" Type="http://schemas.openxmlformats.org/officeDocument/2006/relationships/chart" Target="../charts/chart3653.xml"/></Relationships>
</file>

<file path=ppt/slides/_rels/slide9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7.xml"/><Relationship Id="rId3" Type="http://schemas.openxmlformats.org/officeDocument/2006/relationships/chart" Target="../charts/chart3660.xml"/><Relationship Id="rId4" Type="http://schemas.openxmlformats.org/officeDocument/2006/relationships/chart" Target="../charts/chart3661.xml"/><Relationship Id="rId5" Type="http://schemas.openxmlformats.org/officeDocument/2006/relationships/chart" Target="../charts/chart3662.xml"/></Relationships>
</file>

<file path=ppt/slides/_rels/slide9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5.xml"/><Relationship Id="rId3" Type="http://schemas.openxmlformats.org/officeDocument/2006/relationships/chart" Target="../charts/chart3682.xml"/><Relationship Id="rId4" Type="http://schemas.openxmlformats.org/officeDocument/2006/relationships/chart" Target="../charts/chart3683.xml"/><Relationship Id="rId5" Type="http://schemas.openxmlformats.org/officeDocument/2006/relationships/chart" Target="../charts/chart3684.xml"/></Relationships>
</file>

<file path=ppt/slides/_rels/slide9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2.xml"/><Relationship Id="rId3" Type="http://schemas.openxmlformats.org/officeDocument/2006/relationships/chart" Target="../charts/chart3701.xml"/><Relationship Id="rId4" Type="http://schemas.openxmlformats.org/officeDocument/2006/relationships/chart" Target="../charts/chart3702.xml"/><Relationship Id="rId5" Type="http://schemas.openxmlformats.org/officeDocument/2006/relationships/chart" Target="../charts/chart3703.xml"/></Relationships>
</file>

<file path=ppt/slides/_rels/slide9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3.xml"/><Relationship Id="rId3" Type="http://schemas.openxmlformats.org/officeDocument/2006/relationships/chart" Target="../charts/chart3704.xml"/><Relationship Id="rId4" Type="http://schemas.openxmlformats.org/officeDocument/2006/relationships/chart" Target="../charts/chart3705.xml"/><Relationship Id="rId5" Type="http://schemas.openxmlformats.org/officeDocument/2006/relationships/chart" Target="../charts/chart3706.xml"/></Relationships>
</file>

<file path=ppt/slides/_rels/slide9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9.xml"/><Relationship Id="rId3" Type="http://schemas.openxmlformats.org/officeDocument/2006/relationships/chart" Target="../charts/chart3720.xml"/><Relationship Id="rId4" Type="http://schemas.openxmlformats.org/officeDocument/2006/relationships/chart" Target="../charts/chart3721.xml"/><Relationship Id="rId5" Type="http://schemas.openxmlformats.org/officeDocument/2006/relationships/chart" Target="../charts/chart3722.xml"/></Relationships>
</file>

<file path=ppt/slides/_rels/slide9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93.xml"/><Relationship Id="rId3" Type="http://schemas.openxmlformats.org/officeDocument/2006/relationships/chart" Target="../charts/chart3731.xml"/><Relationship Id="rId4" Type="http://schemas.openxmlformats.org/officeDocument/2006/relationships/chart" Target="../charts/chart3732.xml"/><Relationship Id="rId5" Type="http://schemas.openxmlformats.org/officeDocument/2006/relationships/chart" Target="../charts/chart3733.xml"/></Relationships>
</file>

<file path=ppt/slides/_rels/slide9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98.xml"/><Relationship Id="rId3" Type="http://schemas.openxmlformats.org/officeDocument/2006/relationships/chart" Target="../charts/chart3745.xml"/><Relationship Id="rId4" Type="http://schemas.openxmlformats.org/officeDocument/2006/relationships/chart" Target="../charts/chart3746.xml"/><Relationship Id="rId5" Type="http://schemas.openxmlformats.org/officeDocument/2006/relationships/chart" Target="../charts/chart3747.xml"/></Relationships>
</file>

<file path=ppt/slides/_rels/slide9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99.xml"/><Relationship Id="rId3" Type="http://schemas.openxmlformats.org/officeDocument/2006/relationships/chart" Target="../charts/chart3748.xml"/><Relationship Id="rId4" Type="http://schemas.openxmlformats.org/officeDocument/2006/relationships/chart" Target="../charts/chart3749.xml"/><Relationship Id="rId5" Type="http://schemas.openxmlformats.org/officeDocument/2006/relationships/chart" Target="../charts/chart3750.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15899441"/>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065521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6669776"/>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56891986"/>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072943534"/>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182660919"/>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53435355"/>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15976206"/>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V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55507001"/>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00031885"/>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RHO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103233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46824381"/>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RHO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92288926"/>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O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0776173"/>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ND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26700245"/>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E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99817880"/>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B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75931204"/>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B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31326230"/>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3635539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00292575"/>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Q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15979237"/>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R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34435655"/>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R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69759301"/>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RHO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01049654"/>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O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95393695"/>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BR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4554870"/>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LO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25740107"/>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B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05779678"/>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39050066"/>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97656534"/>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567451988"/>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249015069"/>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202881261"/>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331743099"/>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507679404"/>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42614427"/>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780003296"/>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680906581"/>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614332211"/>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420520804"/>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Sans Alcool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717948">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D'Artigny/HMSM</a:t>
                      </a:r>
                    </a:p>
                  </a:txBody>
                  <a:tcPr marL="36000" marR="36000" marT="4763" marB="0" anchor="ctr">
                    <a:solidFill>
                      <a:srgbClr val="FFBFBF"/>
                    </a:solidFill>
                  </a:tcPr>
                </a:tc>
                <a:extLst>
                  <a:ext uri="{0D108BD9-81ED-4DB2-BD59-A6C34878D82A}">
                    <a16:rowId xmlns:a16="http://schemas.microsoft.com/office/drawing/2014/main" val="362768916"/>
                  </a:ext>
                </a:extLst>
              </a:tr>
              <a:tr h="717948">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Festillant/HMSM</a:t>
                      </a:r>
                    </a:p>
                  </a:txBody>
                  <a:tcPr marL="36000" marR="36000" marT="4763" marB="0" anchor="ctr">
                    <a:solidFill>
                      <a:srgbClr val="FFBFBF"/>
                    </a:solidFill>
                  </a:tcPr>
                </a:tc>
                <a:extLst>
                  <a:ext uri="{0D108BD9-81ED-4DB2-BD59-A6C34878D82A}">
                    <a16:rowId xmlns:a16="http://schemas.microsoft.com/office/drawing/2014/main" val="1139766948"/>
                  </a:ext>
                </a:extLst>
              </a:tr>
              <a:tr h="717948">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Petillant De Listel/HMSM</a:t>
                      </a:r>
                    </a:p>
                  </a:txBody>
                  <a:tcPr marL="36000" marR="36000" marT="4763" marB="0" anchor="ctr">
                    <a:solidFill>
                      <a:srgbClr val="CBEAE7"/>
                    </a:solidFill>
                  </a:tcPr>
                </a:tc>
                <a:extLst>
                  <a:ext uri="{0D108BD9-81ED-4DB2-BD59-A6C34878D82A}">
                    <a16:rowId xmlns:a16="http://schemas.microsoft.com/office/drawing/2014/main" val="1687090376"/>
                  </a:ext>
                </a:extLst>
              </a:tr>
              <a:tr h="71794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dd/HMSM</a:t>
                      </a:r>
                    </a:p>
                  </a:txBody>
                  <a:tcPr marL="36000" marR="36000" marT="4763" marB="0" anchor="ctr">
                    <a:solidFill>
                      <a:srgbClr val="FFBFBF"/>
                    </a:solidFill>
                  </a:tcPr>
                </a:tc>
                <a:extLst>
                  <a:ext uri="{0D108BD9-81ED-4DB2-BD59-A6C34878D82A}">
                    <a16:rowId xmlns:a16="http://schemas.microsoft.com/office/drawing/2014/main" val="1182192680"/>
                  </a:ext>
                </a:extLst>
              </a:tr>
              <a:tr h="71794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Freixenet/HMSM</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1547744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illesime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NICOLAS</a:t>
                      </a:r>
                    </a:p>
                  </a:txBody>
                  <a:tcPr marL="36000" marR="36000" marT="4763" marB="0" anchor="ctr">
                    <a:solidFill>
                      <a:srgbClr val="CBEAE7"/>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Roederer/NICOLAS</a:t>
                      </a:r>
                    </a:p>
                  </a:txBody>
                  <a:tcPr marL="36000" marR="36000" marT="4763" marB="0" anchor="ctr">
                    <a:solidFill>
                      <a:srgbClr val="CBEAE7"/>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Ruinart/NICOLAS</a:t>
                      </a:r>
                    </a:p>
                  </a:txBody>
                  <a:tcPr marL="36000" marR="36000" marT="4763" marB="0" anchor="ctr">
                    <a:solidFill>
                      <a:srgbClr val="FFBFBF"/>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alard/NICOLAS</a:t>
                      </a:r>
                    </a:p>
                  </a:txBody>
                  <a:tcPr marL="36000" marR="36000" marT="4763" marB="0" anchor="ctr">
                    <a:solidFill>
                      <a:srgbClr val="FFBFBF"/>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NICOLAS</a:t>
                      </a:r>
                    </a:p>
                  </a:txBody>
                  <a:tcPr marL="36000" marR="36000" marT="4763" marB="0" anchor="ctr">
                    <a:solidFill>
                      <a:srgbClr val="CBEAE7"/>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HMSM</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62623803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osé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Demoiselle/HMSM</a:t>
                      </a:r>
                    </a:p>
                  </a:txBody>
                  <a:tcPr marL="36000" marR="36000" marT="4763" marB="0" anchor="ctr">
                    <a:solidFill>
                      <a:srgbClr val="FFBFBF"/>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CBEAE7"/>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Tsarine/HMSM</a:t>
                      </a:r>
                    </a:p>
                  </a:txBody>
                  <a:tcPr marL="36000" marR="36000" marT="4763" marB="0" anchor="ctr">
                    <a:solidFill>
                      <a:srgbClr val="CBEAE7"/>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Demoiselle/NICOLAS</a:t>
                      </a:r>
                    </a:p>
                  </a:txBody>
                  <a:tcPr marL="36000" marR="36000" marT="4763" marB="0" anchor="ctr">
                    <a:solidFill>
                      <a:srgbClr val="FFBFBF"/>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NICOLAS</a:t>
                      </a:r>
                    </a:p>
                  </a:txBody>
                  <a:tcPr marL="36000" marR="36000" marT="4763" marB="0" anchor="ctr">
                    <a:solidFill>
                      <a:srgbClr val="FFBFBF"/>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Nicolas Feuillatte/NICOLA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132428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Charles Volner/HMSM</a:t>
                      </a:r>
                    </a:p>
                  </a:txBody>
                  <a:tcPr marL="36000" marR="36000" marT="4763" marB="0" anchor="ctr">
                    <a:solidFill>
                      <a:srgbClr val="CBEAE7"/>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Freixenet/HMSM</a:t>
                      </a:r>
                    </a:p>
                  </a:txBody>
                  <a:tcPr marL="36000" marR="36000" marT="4763" marB="0" anchor="ctr">
                    <a:solidFill>
                      <a:srgbClr val="FFBFBF"/>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Wolfberger/HMSM</a:t>
                      </a:r>
                    </a:p>
                  </a:txBody>
                  <a:tcPr marL="36000" marR="36000" marT="4763" marB="0" anchor="ctr">
                    <a:solidFill>
                      <a:srgbClr val="FFBFBF"/>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N</a:t>
                      </a:r>
                    </a:p>
                  </a:txBody>
                  <a:tcPr marL="36000" marR="36000" marT="4763" marB="0" anchor="ctr">
                    <a:solidFill>
                      <a:srgbClr val="CBEAE7"/>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VCN</a:t>
                      </a:r>
                    </a:p>
                  </a:txBody>
                  <a:tcPr marL="36000" marR="36000" marT="4763" marB="0" anchor="ctr">
                    <a:solidFill>
                      <a:srgbClr val="CBEAE7"/>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T</a:t>
                      </a:r>
                    </a:p>
                  </a:txBody>
                  <a:tcPr marL="36000" marR="36000" marT="4763" marB="0" anchor="ctr">
                    <a:solidFill>
                      <a:srgbClr val="CBEAE7"/>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P</a:t>
                      </a:r>
                    </a:p>
                  </a:txBody>
                  <a:tcPr marL="36000" marR="36000" marT="4763" marB="0" anchor="ctr">
                    <a:solidFill>
                      <a:srgbClr val="CBEAE7"/>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VCT</a:t>
                      </a:r>
                    </a:p>
                  </a:txBody>
                  <a:tcPr marL="36000" marR="36000" marT="4763" marB="0" anchor="ctr">
                    <a:solidFill>
                      <a:srgbClr val="CBEAE7"/>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RN</a:t>
                      </a:r>
                    </a:p>
                  </a:txBody>
                  <a:tcPr marL="36000" marR="36000" marT="4763" marB="0" anchor="ctr">
                    <a:solidFill>
                      <a:srgbClr val="CBEAE7"/>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A</a:t>
                      </a:r>
                    </a:p>
                  </a:txBody>
                  <a:tcPr marL="36000" marR="36000" marT="4763" marB="0" anchor="ctr">
                    <a:solidFill>
                      <a:srgbClr val="CBEAE7"/>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C</a:t>
                      </a:r>
                    </a:p>
                  </a:txBody>
                  <a:tcPr marL="36000" marR="36000" marT="4763" marB="0" anchor="ctr">
                    <a:solidFill>
                      <a:srgbClr val="CBEAE7"/>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Q</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892276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xtra Brut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7"/>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88933">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FFBFBF"/>
                    </a:solidFill>
                  </a:tcPr>
                </a:tc>
                <a:extLst>
                  <a:ext uri="{0D108BD9-81ED-4DB2-BD59-A6C34878D82A}">
                    <a16:rowId xmlns:a16="http://schemas.microsoft.com/office/drawing/2014/main" val="3699202022"/>
                  </a:ext>
                </a:extLst>
              </a:tr>
              <a:tr h="188933">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QCN</a:t>
                      </a:r>
                    </a:p>
                  </a:txBody>
                  <a:tcPr marL="36000" marR="36000" marT="4763" marB="0" anchor="ctr">
                    <a:solidFill>
                      <a:srgbClr val="FFBFBF"/>
                    </a:solidFill>
                  </a:tcPr>
                </a:tc>
                <a:extLst>
                  <a:ext uri="{0D108BD9-81ED-4DB2-BD59-A6C34878D82A}">
                    <a16:rowId xmlns:a16="http://schemas.microsoft.com/office/drawing/2014/main" val="2267262216"/>
                  </a:ext>
                </a:extLst>
              </a:tr>
              <a:tr h="188933">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VCN</a:t>
                      </a:r>
                    </a:p>
                  </a:txBody>
                  <a:tcPr marL="36000" marR="36000" marT="4763" marB="0" anchor="ctr">
                    <a:solidFill>
                      <a:srgbClr val="FFBFBF"/>
                    </a:solidFill>
                  </a:tcPr>
                </a:tc>
                <a:extLst>
                  <a:ext uri="{0D108BD9-81ED-4DB2-BD59-A6C34878D82A}">
                    <a16:rowId xmlns:a16="http://schemas.microsoft.com/office/drawing/2014/main" val="3716470959"/>
                  </a:ext>
                </a:extLst>
              </a:tr>
              <a:tr h="18893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QCT</a:t>
                      </a:r>
                    </a:p>
                  </a:txBody>
                  <a:tcPr marL="36000" marR="36000" marT="4763" marB="0" anchor="ctr">
                    <a:solidFill>
                      <a:srgbClr val="FFBFBF"/>
                    </a:solidFill>
                  </a:tcPr>
                </a:tc>
                <a:extLst>
                  <a:ext uri="{0D108BD9-81ED-4DB2-BD59-A6C34878D82A}">
                    <a16:rowId xmlns:a16="http://schemas.microsoft.com/office/drawing/2014/main" val="2860330723"/>
                  </a:ext>
                </a:extLst>
              </a:tr>
              <a:tr h="188933">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QCN</a:t>
                      </a:r>
                    </a:p>
                  </a:txBody>
                  <a:tcPr marL="36000" marR="36000" marT="4763" marB="0" anchor="ctr">
                    <a:solidFill>
                      <a:srgbClr val="CBEAE7"/>
                    </a:solidFill>
                  </a:tcPr>
                </a:tc>
                <a:extLst>
                  <a:ext uri="{0D108BD9-81ED-4DB2-BD59-A6C34878D82A}">
                    <a16:rowId xmlns:a16="http://schemas.microsoft.com/office/drawing/2014/main" val="98934626"/>
                  </a:ext>
                </a:extLst>
              </a:tr>
              <a:tr h="18893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QCA</a:t>
                      </a:r>
                    </a:p>
                  </a:txBody>
                  <a:tcPr marL="36000" marR="36000" marT="4763" marB="0" anchor="ctr">
                    <a:solidFill>
                      <a:srgbClr val="FFBFBF"/>
                    </a:solidFill>
                  </a:tcPr>
                </a:tc>
                <a:extLst>
                  <a:ext uri="{0D108BD9-81ED-4DB2-BD59-A6C34878D82A}">
                    <a16:rowId xmlns:a16="http://schemas.microsoft.com/office/drawing/2014/main" val="3049926520"/>
                  </a:ext>
                </a:extLst>
              </a:tr>
              <a:tr h="188933">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CCP</a:t>
                      </a:r>
                    </a:p>
                  </a:txBody>
                  <a:tcPr marL="36000" marR="36000" marT="4763" marB="0" anchor="ctr">
                    <a:solidFill>
                      <a:srgbClr val="FFBFBF"/>
                    </a:solidFill>
                  </a:tcPr>
                </a:tc>
                <a:extLst>
                  <a:ext uri="{0D108BD9-81ED-4DB2-BD59-A6C34878D82A}">
                    <a16:rowId xmlns:a16="http://schemas.microsoft.com/office/drawing/2014/main" val="3518559538"/>
                  </a:ext>
                </a:extLst>
              </a:tr>
              <a:tr h="188933">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VCN</a:t>
                      </a:r>
                    </a:p>
                  </a:txBody>
                  <a:tcPr marL="36000" marR="36000" marT="4763" marB="0" anchor="ctr">
                    <a:solidFill>
                      <a:srgbClr val="CBEAE7"/>
                    </a:solidFill>
                  </a:tcPr>
                </a:tc>
                <a:extLst>
                  <a:ext uri="{0D108BD9-81ED-4DB2-BD59-A6C34878D82A}">
                    <a16:rowId xmlns:a16="http://schemas.microsoft.com/office/drawing/2014/main" val="3886752891"/>
                  </a:ext>
                </a:extLst>
              </a:tr>
              <a:tr h="18893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QCA</a:t>
                      </a:r>
                    </a:p>
                  </a:txBody>
                  <a:tcPr marL="36000" marR="36000" marT="4763" marB="0" anchor="ctr">
                    <a:solidFill>
                      <a:srgbClr val="CBEAE7"/>
                    </a:solidFill>
                  </a:tcPr>
                </a:tc>
                <a:extLst>
                  <a:ext uri="{0D108BD9-81ED-4DB2-BD59-A6C34878D82A}">
                    <a16:rowId xmlns:a16="http://schemas.microsoft.com/office/drawing/2014/main" val="3477306869"/>
                  </a:ext>
                </a:extLst>
              </a:tr>
              <a:tr h="188933">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QCT</a:t>
                      </a:r>
                    </a:p>
                  </a:txBody>
                  <a:tcPr marL="36000" marR="36000" marT="4763" marB="0" anchor="ctr">
                    <a:solidFill>
                      <a:srgbClr val="CBEAE7"/>
                    </a:solidFill>
                  </a:tcPr>
                </a:tc>
                <a:extLst>
                  <a:ext uri="{0D108BD9-81ED-4DB2-BD59-A6C34878D82A}">
                    <a16:rowId xmlns:a16="http://schemas.microsoft.com/office/drawing/2014/main" val="264026324"/>
                  </a:ext>
                </a:extLst>
              </a:tr>
              <a:tr h="18893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RN</a:t>
                      </a:r>
                    </a:p>
                  </a:txBody>
                  <a:tcPr marL="36000" marR="36000" marT="4763" marB="0" anchor="ctr">
                    <a:solidFill>
                      <a:srgbClr val="FFBFBF"/>
                    </a:solidFill>
                  </a:tcPr>
                </a:tc>
                <a:extLst>
                  <a:ext uri="{0D108BD9-81ED-4DB2-BD59-A6C34878D82A}">
                    <a16:rowId xmlns:a16="http://schemas.microsoft.com/office/drawing/2014/main" val="613793393"/>
                  </a:ext>
                </a:extLst>
              </a:tr>
              <a:tr h="188933">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VCT</a:t>
                      </a:r>
                    </a:p>
                  </a:txBody>
                  <a:tcPr marL="36000" marR="36000" marT="4763" marB="0" anchor="ctr">
                    <a:solidFill>
                      <a:srgbClr val="FFBFBF"/>
                    </a:solidFill>
                  </a:tcPr>
                </a:tc>
                <a:extLst>
                  <a:ext uri="{0D108BD9-81ED-4DB2-BD59-A6C34878D82A}">
                    <a16:rowId xmlns:a16="http://schemas.microsoft.com/office/drawing/2014/main" val="4246246309"/>
                  </a:ext>
                </a:extLst>
              </a:tr>
              <a:tr h="188933">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CCQ</a:t>
                      </a:r>
                    </a:p>
                  </a:txBody>
                  <a:tcPr marL="36000" marR="36000" marT="4763" marB="0" anchor="ctr">
                    <a:solidFill>
                      <a:srgbClr val="FFBFBF"/>
                    </a:solidFill>
                  </a:tcPr>
                </a:tc>
                <a:extLst>
                  <a:ext uri="{0D108BD9-81ED-4DB2-BD59-A6C34878D82A}">
                    <a16:rowId xmlns:a16="http://schemas.microsoft.com/office/drawing/2014/main" val="418503086"/>
                  </a:ext>
                </a:extLst>
              </a:tr>
              <a:tr h="188933">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CCC</a:t>
                      </a:r>
                    </a:p>
                  </a:txBody>
                  <a:tcPr marL="36000" marR="36000" marT="4763" marB="0" anchor="ctr">
                    <a:solidFill>
                      <a:srgbClr val="FFBFBF"/>
                    </a:solidFill>
                  </a:tcPr>
                </a:tc>
                <a:extLst>
                  <a:ext uri="{0D108BD9-81ED-4DB2-BD59-A6C34878D82A}">
                    <a16:rowId xmlns:a16="http://schemas.microsoft.com/office/drawing/2014/main" val="381854689"/>
                  </a:ext>
                </a:extLst>
              </a:tr>
              <a:tr h="188933">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CCP</a:t>
                      </a:r>
                    </a:p>
                  </a:txBody>
                  <a:tcPr marL="36000" marR="36000" marT="4763" marB="0" anchor="ctr">
                    <a:solidFill>
                      <a:srgbClr val="CBEAE7"/>
                    </a:solidFill>
                  </a:tcPr>
                </a:tc>
                <a:extLst>
                  <a:ext uri="{0D108BD9-81ED-4DB2-BD59-A6C34878D82A}">
                    <a16:rowId xmlns:a16="http://schemas.microsoft.com/office/drawing/2014/main" val="362768916"/>
                  </a:ext>
                </a:extLst>
              </a:tr>
              <a:tr h="188933">
                <a:tc>
                  <a:txBody>
                    <a:bodyPr/>
                    <a:lstStyle/>
                    <a:p>
                      <a:pPr algn="ctr">
                        <a:defRPr sz="900">
                          <a:latin typeface="Nexa Book (Body)"/>
                        </a:defRPr>
                      </a:pPr>
                      <a:r>
                        <a:rPr sz="900">
                          <a:latin typeface="Nexa Book (Body)"/>
                        </a:rPr>
                        <a:t>16</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RN</a:t>
                      </a:r>
                    </a:p>
                  </a:txBody>
                  <a:tcPr marL="36000" marR="36000" marT="4763" marB="0" anchor="ctr">
                    <a:solidFill>
                      <a:srgbClr val="CBEAE7"/>
                    </a:solidFill>
                  </a:tcPr>
                </a:tc>
                <a:extLst>
                  <a:ext uri="{0D108BD9-81ED-4DB2-BD59-A6C34878D82A}">
                    <a16:rowId xmlns:a16="http://schemas.microsoft.com/office/drawing/2014/main" val="1139766948"/>
                  </a:ext>
                </a:extLst>
              </a:tr>
              <a:tr h="188933">
                <a:tc>
                  <a:txBody>
                    <a:bodyPr/>
                    <a:lstStyle/>
                    <a:p>
                      <a:pPr algn="ctr">
                        <a:defRPr sz="900">
                          <a:latin typeface="Nexa Book (Body)"/>
                        </a:defRPr>
                      </a:pPr>
                      <a:r>
                        <a:rPr sz="900">
                          <a:latin typeface="Nexa Book (Body)"/>
                        </a:rPr>
                        <a:t>17</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VCT</a:t>
                      </a:r>
                    </a:p>
                  </a:txBody>
                  <a:tcPr marL="36000" marR="36000" marT="4763" marB="0" anchor="ctr">
                    <a:solidFill>
                      <a:srgbClr val="CBEAE7"/>
                    </a:solidFill>
                  </a:tcPr>
                </a:tc>
                <a:extLst>
                  <a:ext uri="{0D108BD9-81ED-4DB2-BD59-A6C34878D82A}">
                    <a16:rowId xmlns:a16="http://schemas.microsoft.com/office/drawing/2014/main" val="1687090376"/>
                  </a:ext>
                </a:extLst>
              </a:tr>
              <a:tr h="188933">
                <a:tc>
                  <a:txBody>
                    <a:bodyPr/>
                    <a:lstStyle/>
                    <a:p>
                      <a:pPr algn="ctr">
                        <a:defRPr sz="900">
                          <a:latin typeface="Nexa Book (Body)"/>
                        </a:defRPr>
                      </a:pPr>
                      <a:r>
                        <a:rPr sz="900">
                          <a:latin typeface="Nexa Book (Body)"/>
                        </a:rPr>
                        <a:t>18</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CCQ</a:t>
                      </a:r>
                    </a:p>
                  </a:txBody>
                  <a:tcPr marL="36000" marR="36000" marT="4763" marB="0" anchor="ctr">
                    <a:solidFill>
                      <a:srgbClr val="CBEAE7"/>
                    </a:solidFill>
                  </a:tcPr>
                </a:tc>
                <a:extLst>
                  <a:ext uri="{0D108BD9-81ED-4DB2-BD59-A6C34878D82A}">
                    <a16:rowId xmlns:a16="http://schemas.microsoft.com/office/drawing/2014/main" val="1182192680"/>
                  </a:ext>
                </a:extLst>
              </a:tr>
              <a:tr h="188933">
                <a:tc>
                  <a:txBody>
                    <a:bodyPr/>
                    <a:lstStyle/>
                    <a:p>
                      <a:pPr algn="ctr">
                        <a:defRPr sz="900">
                          <a:latin typeface="Nexa Book (Body)"/>
                        </a:defRPr>
                      </a:pPr>
                      <a:r>
                        <a:rPr sz="900">
                          <a:latin typeface="Nexa Book (Body)"/>
                        </a:rPr>
                        <a:t>19</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CCC</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08036999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urgogne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Veuve Ambal/HMSM</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Mdd/HMSM</a:t>
                      </a:r>
                    </a:p>
                  </a:txBody>
                  <a:tcPr marL="36000" marR="36000" marT="4763" marB="0" anchor="ctr">
                    <a:solidFill>
                      <a:srgbClr val="FFBFBF"/>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Couvent Des Visitandines/HMSM</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oillard/HMSM</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HMSM</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NICOLAS VCT</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VCN</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596352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IDF</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IDF</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Patriarche/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Mure/NICOLAS IDF</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IDF</a:t>
                      </a:r>
                    </a:p>
                  </a:txBody>
                  <a:tcPr marL="36000" marR="36000" marT="4763" marB="0" anchor="ctr">
                    <a:solidFill>
                      <a:srgbClr val="F2F2F2"/>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RHO</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NICOLAS EST</a:t>
                      </a:r>
                    </a:p>
                  </a:txBody>
                  <a:tcPr marL="36000" marR="36000" marT="4763" marB="0" anchor="ctr">
                    <a:solidFill>
                      <a:srgbClr val="F2F2F2"/>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PAC</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Bottega/NICOLAS PAC</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NICOLAS CEN</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Mure/NICOLAS EST</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AQU</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BRE</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OCC</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NICOLAS LOI</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RHO</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Patriarche/NICOLAS PAC</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BOU</a:t>
                      </a:r>
                    </a:p>
                  </a:txBody>
                  <a:tcPr marL="36000" marR="36000" marT="4763" marB="0" anchor="ctr">
                    <a:solidFill>
                      <a:srgbClr val="CBEAE7"/>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NDI</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Patriarche/NICOLAS RHO</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PAC</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RHO</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Mure/NICOLAS PAC</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HAU</a:t>
                      </a:r>
                    </a:p>
                  </a:txBody>
                  <a:tcPr marL="36000" marR="36000" marT="4763" marB="0" anchor="ctr">
                    <a:solidFill>
                      <a:srgbClr val="CBEAE7"/>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Patriarche/NICOLAS AQU</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Mure/NICOLAS RHO</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Patriarche/NICOLAS NDI</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AQU</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Patriarche/NICOLAS BRE</a:t>
                      </a:r>
                    </a:p>
                  </a:txBody>
                  <a:tcPr marL="36000" marR="36000" marT="4763" marB="0" anchor="ctr">
                    <a:solidFill>
                      <a:srgbClr val="CBEAE7"/>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NDI</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54346277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lanc De Blanc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F2F2F2"/>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F2F2F2"/>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F2F2F2"/>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IDF</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F2F2F2"/>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IDF</a:t>
                      </a:r>
                    </a:p>
                  </a:txBody>
                  <a:tcPr marL="36000" marR="36000" marT="4763" marB="0" anchor="ctr">
                    <a:solidFill>
                      <a:srgbClr val="F2F2F2"/>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Henriot/NICOLAS IDF</a:t>
                      </a:r>
                    </a:p>
                  </a:txBody>
                  <a:tcPr marL="36000" marR="36000" marT="4763" marB="0" anchor="ctr">
                    <a:solidFill>
                      <a:srgbClr val="F2F2F2"/>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F2F2F2"/>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NDI</a:t>
                      </a:r>
                    </a:p>
                  </a:txBody>
                  <a:tcPr marL="36000" marR="36000" marT="4763" marB="0" anchor="ctr">
                    <a:solidFill>
                      <a:srgbClr val="F2F2F2"/>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BOU</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BRE</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LOI</a:t>
                      </a:r>
                    </a:p>
                  </a:txBody>
                  <a:tcPr marL="36000" marR="36000" marT="4763" marB="0" anchor="ctr">
                    <a:solidFill>
                      <a:srgbClr val="F2F2F2"/>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PAC</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RHO</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PAC</a:t>
                      </a:r>
                    </a:p>
                  </a:txBody>
                  <a:tcPr marL="36000" marR="36000" marT="4763" marB="0" anchor="ctr">
                    <a:solidFill>
                      <a:srgbClr val="F2F2F2"/>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RHO</a:t>
                      </a:r>
                    </a:p>
                  </a:txBody>
                  <a:tcPr marL="36000" marR="36000" marT="4763" marB="0" anchor="ctr">
                    <a:solidFill>
                      <a:srgbClr val="FFBFBF"/>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HAU</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CEN</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RHO</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a:t>
                      </a:r>
                    </a:p>
                  </a:txBody>
                  <a:tcPr marL="36000" marR="36000" marT="4763" marB="0" anchor="ctr">
                    <a:solidFill>
                      <a:srgbClr val="F2F2F2"/>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AQU</a:t>
                      </a:r>
                    </a:p>
                  </a:txBody>
                  <a:tcPr marL="36000" marR="36000" marT="4763" marB="0" anchor="ctr">
                    <a:solidFill>
                      <a:srgbClr val="F2F2F2"/>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Malard/NICOLAS AQU</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EST</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Henriot/NICOLAS RHO</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AQU</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HAU</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52137673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rut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IDF</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IDF</a:t>
                      </a:r>
                    </a:p>
                  </a:txBody>
                  <a:tcPr marL="36000" marR="36000" marT="4763" marB="0" anchor="ctr">
                    <a:solidFill>
                      <a:srgbClr val="FFBFBF"/>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Ayala/NICOLAS IDF</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2F2F2"/>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CBEAE7"/>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PAC</a:t>
                      </a:r>
                    </a:p>
                  </a:txBody>
                  <a:tcPr marL="36000" marR="36000" marT="4763" marB="0" anchor="ctr">
                    <a:solidFill>
                      <a:srgbClr val="FFBFBF"/>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RHO</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PAC</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RHO</a:t>
                      </a:r>
                    </a:p>
                  </a:txBody>
                  <a:tcPr marL="36000" marR="36000" marT="4763" marB="0" anchor="ctr">
                    <a:solidFill>
                      <a:srgbClr val="CBEAE7"/>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PAC</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AQU</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CBEAE7"/>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NDI</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AQU</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HAU</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RHO</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RHO</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Ayala/NICOLAS PAC</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EST</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Ayala/NICOLAS RHO</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BRE</a:t>
                      </a:r>
                    </a:p>
                  </a:txBody>
                  <a:tcPr marL="36000" marR="36000" marT="4763" marB="0" anchor="ctr">
                    <a:solidFill>
                      <a:srgbClr val="CBEAE7"/>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NDI</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548893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urgogne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IDF</a:t>
                      </a:r>
                    </a:p>
                  </a:txBody>
                  <a:tcPr marL="36000" marR="36000" marT="4763" marB="0" anchor="ctr">
                    <a:solidFill>
                      <a:srgbClr val="F2F2F2"/>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PAC</a:t>
                      </a:r>
                    </a:p>
                  </a:txBody>
                  <a:tcPr marL="36000" marR="36000" marT="4763" marB="0" anchor="ctr">
                    <a:solidFill>
                      <a:srgbClr val="F2F2F2"/>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RHO</a:t>
                      </a:r>
                    </a:p>
                  </a:txBody>
                  <a:tcPr marL="36000" marR="36000" marT="4763" marB="0" anchor="ctr">
                    <a:solidFill>
                      <a:srgbClr val="F2F2F2"/>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BOU</a:t>
                      </a:r>
                    </a:p>
                  </a:txBody>
                  <a:tcPr marL="36000" marR="36000" marT="4763" marB="0" anchor="ctr">
                    <a:solidFill>
                      <a:srgbClr val="FFBFBF"/>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AQU</a:t>
                      </a:r>
                    </a:p>
                  </a:txBody>
                  <a:tcPr marL="36000" marR="36000" marT="4763" marB="0" anchor="ctr">
                    <a:solidFill>
                      <a:srgbClr val="F2F2F2"/>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NDI</a:t>
                      </a:r>
                    </a:p>
                  </a:txBody>
                  <a:tcPr marL="36000" marR="36000" marT="4763" marB="0" anchor="ctr">
                    <a:solidFill>
                      <a:srgbClr val="F2F2F2"/>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BRE</a:t>
                      </a:r>
                    </a:p>
                  </a:txBody>
                  <a:tcPr marL="36000" marR="36000" marT="4763" marB="0" anchor="ctr">
                    <a:solidFill>
                      <a:srgbClr val="F2F2F2"/>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HAU</a:t>
                      </a:r>
                    </a:p>
                  </a:txBody>
                  <a:tcPr marL="36000" marR="36000" marT="4763" marB="0" anchor="ctr">
                    <a:solidFill>
                      <a:srgbClr val="F2F2F2"/>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OCC</a:t>
                      </a:r>
                    </a:p>
                  </a:txBody>
                  <a:tcPr marL="36000" marR="36000" marT="4763" marB="0" anchor="ctr">
                    <a:solidFill>
                      <a:srgbClr val="F2F2F2"/>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Patriarche/NICOLAS BOU</a:t>
                      </a:r>
                    </a:p>
                  </a:txBody>
                  <a:tcPr marL="36000" marR="36000" marT="4763" marB="0" anchor="ctr">
                    <a:solidFill>
                      <a:srgbClr val="CBEAE7"/>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LOI</a:t>
                      </a:r>
                    </a:p>
                  </a:txBody>
                  <a:tcPr marL="36000" marR="36000" marT="4763" marB="0" anchor="ctr">
                    <a:solidFill>
                      <a:srgbClr val="F2F2F2"/>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EST</a:t>
                      </a:r>
                    </a:p>
                  </a:txBody>
                  <a:tcPr marL="36000" marR="36000" marT="4763" marB="0" anchor="ctr">
                    <a:solidFill>
                      <a:srgbClr val="F2F2F2"/>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CE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8752383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rdelai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1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3806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IDF</a:t>
                      </a:r>
                    </a:p>
                  </a:txBody>
                  <a:tcPr marL="36000" marR="36000" marT="4763" marB="0" anchor="ctr">
                    <a:solidFill>
                      <a:srgbClr val="CBEAE7"/>
                    </a:solidFill>
                  </a:tcPr>
                </a:tc>
                <a:extLst>
                  <a:ext uri="{0D108BD9-81ED-4DB2-BD59-A6C34878D82A}">
                    <a16:rowId xmlns:a16="http://schemas.microsoft.com/office/drawing/2014/main" val="1229178230"/>
                  </a:ext>
                </a:extLst>
              </a:tr>
              <a:tr h="13806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IDF</a:t>
                      </a:r>
                    </a:p>
                  </a:txBody>
                  <a:tcPr marL="36000" marR="36000" marT="4763" marB="0" anchor="ctr">
                    <a:solidFill>
                      <a:srgbClr val="FFBFBF"/>
                    </a:solidFill>
                  </a:tcPr>
                </a:tc>
                <a:extLst>
                  <a:ext uri="{0D108BD9-81ED-4DB2-BD59-A6C34878D82A}">
                    <a16:rowId xmlns:a16="http://schemas.microsoft.com/office/drawing/2014/main" val="3733705932"/>
                  </a:ext>
                </a:extLst>
              </a:tr>
              <a:tr h="13806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PAC</a:t>
                      </a:r>
                    </a:p>
                  </a:txBody>
                  <a:tcPr marL="36000" marR="36000" marT="4763" marB="0" anchor="ctr">
                    <a:solidFill>
                      <a:srgbClr val="CBEAE7"/>
                    </a:solidFill>
                  </a:tcPr>
                </a:tc>
                <a:extLst>
                  <a:ext uri="{0D108BD9-81ED-4DB2-BD59-A6C34878D82A}">
                    <a16:rowId xmlns:a16="http://schemas.microsoft.com/office/drawing/2014/main" val="2982336602"/>
                  </a:ext>
                </a:extLst>
              </a:tr>
              <a:tr h="13806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AQU</a:t>
                      </a:r>
                    </a:p>
                  </a:txBody>
                  <a:tcPr marL="36000" marR="36000" marT="4763" marB="0" anchor="ctr">
                    <a:solidFill>
                      <a:srgbClr val="CBEAE7"/>
                    </a:solidFill>
                  </a:tcPr>
                </a:tc>
                <a:extLst>
                  <a:ext uri="{0D108BD9-81ED-4DB2-BD59-A6C34878D82A}">
                    <a16:rowId xmlns:a16="http://schemas.microsoft.com/office/drawing/2014/main" val="2145429941"/>
                  </a:ext>
                </a:extLst>
              </a:tr>
              <a:tr h="13806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RHO</a:t>
                      </a:r>
                    </a:p>
                  </a:txBody>
                  <a:tcPr marL="36000" marR="36000" marT="4763" marB="0" anchor="ctr">
                    <a:solidFill>
                      <a:srgbClr val="CBEAE7"/>
                    </a:solidFill>
                  </a:tcPr>
                </a:tc>
                <a:extLst>
                  <a:ext uri="{0D108BD9-81ED-4DB2-BD59-A6C34878D82A}">
                    <a16:rowId xmlns:a16="http://schemas.microsoft.com/office/drawing/2014/main" val="1928241220"/>
                  </a:ext>
                </a:extLst>
              </a:tr>
              <a:tr h="138066">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Cru La Maqueline/NICOLAS AQU</a:t>
                      </a:r>
                    </a:p>
                  </a:txBody>
                  <a:tcPr marL="36000" marR="36000" marT="4763" marB="0" anchor="ctr">
                    <a:solidFill>
                      <a:srgbClr val="F2F2F2"/>
                    </a:solidFill>
                  </a:tcPr>
                </a:tc>
                <a:extLst>
                  <a:ext uri="{0D108BD9-81ED-4DB2-BD59-A6C34878D82A}">
                    <a16:rowId xmlns:a16="http://schemas.microsoft.com/office/drawing/2014/main" val="1169718394"/>
                  </a:ext>
                </a:extLst>
              </a:tr>
              <a:tr h="13806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BRE</a:t>
                      </a:r>
                    </a:p>
                  </a:txBody>
                  <a:tcPr marL="36000" marR="36000" marT="4763" marB="0" anchor="ctr">
                    <a:solidFill>
                      <a:srgbClr val="CBEAE7"/>
                    </a:solidFill>
                  </a:tcPr>
                </a:tc>
                <a:extLst>
                  <a:ext uri="{0D108BD9-81ED-4DB2-BD59-A6C34878D82A}">
                    <a16:rowId xmlns:a16="http://schemas.microsoft.com/office/drawing/2014/main" val="1278576935"/>
                  </a:ext>
                </a:extLst>
              </a:tr>
              <a:tr h="13806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EST</a:t>
                      </a:r>
                    </a:p>
                  </a:txBody>
                  <a:tcPr marL="36000" marR="36000" marT="4763" marB="0" anchor="ctr">
                    <a:solidFill>
                      <a:srgbClr val="CBEAE7"/>
                    </a:solidFill>
                  </a:tcPr>
                </a:tc>
                <a:extLst>
                  <a:ext uri="{0D108BD9-81ED-4DB2-BD59-A6C34878D82A}">
                    <a16:rowId xmlns:a16="http://schemas.microsoft.com/office/drawing/2014/main" val="3699202022"/>
                  </a:ext>
                </a:extLst>
              </a:tr>
              <a:tr h="13806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NDI</a:t>
                      </a:r>
                    </a:p>
                  </a:txBody>
                  <a:tcPr marL="36000" marR="36000" marT="4763" marB="0" anchor="ctr">
                    <a:solidFill>
                      <a:srgbClr val="CBEAE7"/>
                    </a:solidFill>
                  </a:tcPr>
                </a:tc>
                <a:extLst>
                  <a:ext uri="{0D108BD9-81ED-4DB2-BD59-A6C34878D82A}">
                    <a16:rowId xmlns:a16="http://schemas.microsoft.com/office/drawing/2014/main" val="2267262216"/>
                  </a:ext>
                </a:extLst>
              </a:tr>
              <a:tr h="13806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OCC</a:t>
                      </a:r>
                    </a:p>
                  </a:txBody>
                  <a:tcPr marL="36000" marR="36000" marT="4763" marB="0" anchor="ctr">
                    <a:solidFill>
                      <a:srgbClr val="CBEAE7"/>
                    </a:solidFill>
                  </a:tcPr>
                </a:tc>
                <a:extLst>
                  <a:ext uri="{0D108BD9-81ED-4DB2-BD59-A6C34878D82A}">
                    <a16:rowId xmlns:a16="http://schemas.microsoft.com/office/drawing/2014/main" val="3716470959"/>
                  </a:ext>
                </a:extLst>
              </a:tr>
              <a:tr h="13806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HAU</a:t>
                      </a:r>
                    </a:p>
                  </a:txBody>
                  <a:tcPr marL="36000" marR="36000" marT="4763" marB="0" anchor="ctr">
                    <a:solidFill>
                      <a:srgbClr val="CBEAE7"/>
                    </a:solidFill>
                  </a:tcPr>
                </a:tc>
                <a:extLst>
                  <a:ext uri="{0D108BD9-81ED-4DB2-BD59-A6C34878D82A}">
                    <a16:rowId xmlns:a16="http://schemas.microsoft.com/office/drawing/2014/main" val="2860330723"/>
                  </a:ext>
                </a:extLst>
              </a:tr>
              <a:tr h="13806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BOU</a:t>
                      </a:r>
                    </a:p>
                  </a:txBody>
                  <a:tcPr marL="36000" marR="36000" marT="4763" marB="0" anchor="ctr">
                    <a:solidFill>
                      <a:srgbClr val="CBEAE7"/>
                    </a:solidFill>
                  </a:tcPr>
                </a:tc>
                <a:extLst>
                  <a:ext uri="{0D108BD9-81ED-4DB2-BD59-A6C34878D82A}">
                    <a16:rowId xmlns:a16="http://schemas.microsoft.com/office/drawing/2014/main" val="98934626"/>
                  </a:ext>
                </a:extLst>
              </a:tr>
              <a:tr h="13806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PAC</a:t>
                      </a:r>
                    </a:p>
                  </a:txBody>
                  <a:tcPr marL="36000" marR="36000" marT="4763" marB="0" anchor="ctr">
                    <a:solidFill>
                      <a:srgbClr val="FFBFBF"/>
                    </a:solidFill>
                  </a:tcPr>
                </a:tc>
                <a:extLst>
                  <a:ext uri="{0D108BD9-81ED-4DB2-BD59-A6C34878D82A}">
                    <a16:rowId xmlns:a16="http://schemas.microsoft.com/office/drawing/2014/main" val="3049926520"/>
                  </a:ext>
                </a:extLst>
              </a:tr>
              <a:tr h="138066">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LOI</a:t>
                      </a:r>
                    </a:p>
                  </a:txBody>
                  <a:tcPr marL="36000" marR="36000" marT="4763" marB="0" anchor="ctr">
                    <a:solidFill>
                      <a:srgbClr val="CBEAE7"/>
                    </a:solidFill>
                  </a:tcPr>
                </a:tc>
                <a:extLst>
                  <a:ext uri="{0D108BD9-81ED-4DB2-BD59-A6C34878D82A}">
                    <a16:rowId xmlns:a16="http://schemas.microsoft.com/office/drawing/2014/main" val="3518559538"/>
                  </a:ext>
                </a:extLst>
              </a:tr>
              <a:tr h="138066">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EST</a:t>
                      </a:r>
                    </a:p>
                  </a:txBody>
                  <a:tcPr marL="36000" marR="36000" marT="4763" marB="0" anchor="ctr">
                    <a:solidFill>
                      <a:srgbClr val="FFBFBF"/>
                    </a:solidFill>
                  </a:tcPr>
                </a:tc>
                <a:extLst>
                  <a:ext uri="{0D108BD9-81ED-4DB2-BD59-A6C34878D82A}">
                    <a16:rowId xmlns:a16="http://schemas.microsoft.com/office/drawing/2014/main" val="3886752891"/>
                  </a:ext>
                </a:extLst>
              </a:tr>
              <a:tr h="13806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RHO</a:t>
                      </a:r>
                    </a:p>
                  </a:txBody>
                  <a:tcPr marL="36000" marR="36000" marT="4763" marB="0" anchor="ctr">
                    <a:solidFill>
                      <a:srgbClr val="FFBFBF"/>
                    </a:solidFill>
                  </a:tcPr>
                </a:tc>
                <a:extLst>
                  <a:ext uri="{0D108BD9-81ED-4DB2-BD59-A6C34878D82A}">
                    <a16:rowId xmlns:a16="http://schemas.microsoft.com/office/drawing/2014/main" val="3477306869"/>
                  </a:ext>
                </a:extLst>
              </a:tr>
              <a:tr h="138066">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AQU</a:t>
                      </a:r>
                    </a:p>
                  </a:txBody>
                  <a:tcPr marL="36000" marR="36000" marT="4763" marB="0" anchor="ctr">
                    <a:solidFill>
                      <a:srgbClr val="FFBFBF"/>
                    </a:solidFill>
                  </a:tcPr>
                </a:tc>
                <a:extLst>
                  <a:ext uri="{0D108BD9-81ED-4DB2-BD59-A6C34878D82A}">
                    <a16:rowId xmlns:a16="http://schemas.microsoft.com/office/drawing/2014/main" val="264026324"/>
                  </a:ext>
                </a:extLst>
              </a:tr>
              <a:tr h="13806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OCC</a:t>
                      </a:r>
                    </a:p>
                  </a:txBody>
                  <a:tcPr marL="36000" marR="36000" marT="4763" marB="0" anchor="ctr">
                    <a:solidFill>
                      <a:srgbClr val="CBEAE7"/>
                    </a:solidFill>
                  </a:tcPr>
                </a:tc>
                <a:extLst>
                  <a:ext uri="{0D108BD9-81ED-4DB2-BD59-A6C34878D82A}">
                    <a16:rowId xmlns:a16="http://schemas.microsoft.com/office/drawing/2014/main" val="613793393"/>
                  </a:ext>
                </a:extLst>
              </a:tr>
              <a:tr h="13806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OCC</a:t>
                      </a:r>
                    </a:p>
                  </a:txBody>
                  <a:tcPr marL="36000" marR="36000" marT="4763" marB="0" anchor="ctr">
                    <a:solidFill>
                      <a:srgbClr val="FFBFBF"/>
                    </a:solidFill>
                  </a:tcPr>
                </a:tc>
                <a:extLst>
                  <a:ext uri="{0D108BD9-81ED-4DB2-BD59-A6C34878D82A}">
                    <a16:rowId xmlns:a16="http://schemas.microsoft.com/office/drawing/2014/main" val="4246246309"/>
                  </a:ext>
                </a:extLst>
              </a:tr>
              <a:tr h="13806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BRE</a:t>
                      </a:r>
                    </a:p>
                  </a:txBody>
                  <a:tcPr marL="36000" marR="36000" marT="4763" marB="0" anchor="ctr">
                    <a:solidFill>
                      <a:srgbClr val="FFBFBF"/>
                    </a:solidFill>
                  </a:tcPr>
                </a:tc>
                <a:extLst>
                  <a:ext uri="{0D108BD9-81ED-4DB2-BD59-A6C34878D82A}">
                    <a16:rowId xmlns:a16="http://schemas.microsoft.com/office/drawing/2014/main" val="418503086"/>
                  </a:ext>
                </a:extLst>
              </a:tr>
              <a:tr h="13806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LOI</a:t>
                      </a:r>
                    </a:p>
                  </a:txBody>
                  <a:tcPr marL="36000" marR="36000" marT="4763" marB="0" anchor="ctr">
                    <a:solidFill>
                      <a:srgbClr val="FFBFBF"/>
                    </a:solidFill>
                  </a:tcPr>
                </a:tc>
                <a:extLst>
                  <a:ext uri="{0D108BD9-81ED-4DB2-BD59-A6C34878D82A}">
                    <a16:rowId xmlns:a16="http://schemas.microsoft.com/office/drawing/2014/main" val="381854689"/>
                  </a:ext>
                </a:extLst>
              </a:tr>
              <a:tr h="13806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HAU</a:t>
                      </a:r>
                    </a:p>
                  </a:txBody>
                  <a:tcPr marL="36000" marR="36000" marT="4763" marB="0" anchor="ctr">
                    <a:solidFill>
                      <a:srgbClr val="FFBFBF"/>
                    </a:solidFill>
                  </a:tcPr>
                </a:tc>
                <a:extLst>
                  <a:ext uri="{0D108BD9-81ED-4DB2-BD59-A6C34878D82A}">
                    <a16:rowId xmlns:a16="http://schemas.microsoft.com/office/drawing/2014/main" val="362768916"/>
                  </a:ext>
                </a:extLst>
              </a:tr>
              <a:tr h="13806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CEN</a:t>
                      </a:r>
                    </a:p>
                  </a:txBody>
                  <a:tcPr marL="36000" marR="36000" marT="4763" marB="0" anchor="ctr">
                    <a:solidFill>
                      <a:srgbClr val="CBEAE7"/>
                    </a:solidFill>
                  </a:tcPr>
                </a:tc>
                <a:extLst>
                  <a:ext uri="{0D108BD9-81ED-4DB2-BD59-A6C34878D82A}">
                    <a16:rowId xmlns:a16="http://schemas.microsoft.com/office/drawing/2014/main" val="1139766948"/>
                  </a:ext>
                </a:extLst>
              </a:tr>
              <a:tr h="138066">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Celene/NICOLAS NDI</a:t>
                      </a:r>
                    </a:p>
                  </a:txBody>
                  <a:tcPr marL="36000" marR="36000" marT="4763" marB="0" anchor="ctr">
                    <a:solidFill>
                      <a:srgbClr val="F2F2F2"/>
                    </a:solidFill>
                  </a:tcPr>
                </a:tc>
                <a:extLst>
                  <a:ext uri="{0D108BD9-81ED-4DB2-BD59-A6C34878D82A}">
                    <a16:rowId xmlns:a16="http://schemas.microsoft.com/office/drawing/2014/main" val="1687090376"/>
                  </a:ext>
                </a:extLst>
              </a:tr>
              <a:tr h="138066">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Celene/NICOLAS CEN</a:t>
                      </a:r>
                    </a:p>
                  </a:txBody>
                  <a:tcPr marL="36000" marR="36000" marT="4763" marB="0" anchor="ctr">
                    <a:solidFill>
                      <a:srgbClr val="F2F2F2"/>
                    </a:solidFill>
                  </a:tcPr>
                </a:tc>
                <a:extLst>
                  <a:ext uri="{0D108BD9-81ED-4DB2-BD59-A6C34878D82A}">
                    <a16:rowId xmlns:a16="http://schemas.microsoft.com/office/drawing/2014/main" val="1182192680"/>
                  </a:ext>
                </a:extLst>
              </a:tr>
              <a:tr h="13806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BOU</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620153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hampagne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A</a:t>
                      </a:r>
                    </a:p>
                  </a:txBody>
                  <a:tcPr marL="36000" marR="36000" marT="4763" marB="0" anchor="ctr">
                    <a:solidFill>
                      <a:srgbClr val="F2F2F2"/>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C</a:t>
                      </a:r>
                    </a:p>
                  </a:txBody>
                  <a:tcPr marL="36000" marR="36000" marT="4763" marB="0" anchor="ctr">
                    <a:solidFill>
                      <a:srgbClr val="F2F2F2"/>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D</a:t>
                      </a:r>
                    </a:p>
                  </a:txBody>
                  <a:tcPr marL="36000" marR="36000" marT="4763" marB="0" anchor="ctr">
                    <a:solidFill>
                      <a:srgbClr val="F2F2F2"/>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E</a:t>
                      </a:r>
                    </a:p>
                  </a:txBody>
                  <a:tcPr marL="36000" marR="36000" marT="4763" marB="0" anchor="ctr">
                    <a:solidFill>
                      <a:srgbClr val="CBEAE7"/>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B</a:t>
                      </a:r>
                    </a:p>
                  </a:txBody>
                  <a:tcPr marL="36000" marR="36000" marT="4763" marB="0" anchor="ctr">
                    <a:solidFill>
                      <a:srgbClr val="CBEAE7"/>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A</a:t>
                      </a:r>
                    </a:p>
                  </a:txBody>
                  <a:tcPr marL="36000" marR="36000" marT="4763" marB="0" anchor="ctr">
                    <a:solidFill>
                      <a:srgbClr val="F2F2F2"/>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Deutz/CA A</a:t>
                      </a:r>
                    </a:p>
                  </a:txBody>
                  <a:tcPr marL="36000" marR="36000" marT="4763" marB="0" anchor="ctr">
                    <a:solidFill>
                      <a:srgbClr val="FFBFBF"/>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C</a:t>
                      </a:r>
                    </a:p>
                  </a:txBody>
                  <a:tcPr marL="36000" marR="36000" marT="4763" marB="0" anchor="ctr">
                    <a:solidFill>
                      <a:srgbClr val="F2F2F2"/>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Deutz/CA C</a:t>
                      </a:r>
                    </a:p>
                  </a:txBody>
                  <a:tcPr marL="36000" marR="36000" marT="4763" marB="0" anchor="ctr">
                    <a:solidFill>
                      <a:srgbClr val="FFBFBF"/>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E</a:t>
                      </a:r>
                    </a:p>
                  </a:txBody>
                  <a:tcPr marL="36000" marR="36000" marT="4763" marB="0" anchor="ctr">
                    <a:solidFill>
                      <a:srgbClr val="F2F2F2"/>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D</a:t>
                      </a:r>
                    </a:p>
                  </a:txBody>
                  <a:tcPr marL="36000" marR="36000" marT="4763" marB="0" anchor="ctr">
                    <a:solidFill>
                      <a:srgbClr val="F2F2F2"/>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Deutz/CA D</a:t>
                      </a:r>
                    </a:p>
                  </a:txBody>
                  <a:tcPr marL="36000" marR="36000" marT="4763" marB="0" anchor="ctr">
                    <a:solidFill>
                      <a:srgbClr val="F2F2F2"/>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B</a:t>
                      </a:r>
                    </a:p>
                  </a:txBody>
                  <a:tcPr marL="36000" marR="36000" marT="4763" marB="0" anchor="ctr">
                    <a:solidFill>
                      <a:srgbClr val="F2F2F2"/>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Deutz/CA E</a:t>
                      </a:r>
                    </a:p>
                  </a:txBody>
                  <a:tcPr marL="36000" marR="36000" marT="4763" marB="0" anchor="ctr">
                    <a:solidFill>
                      <a:srgbClr val="FFBFBF"/>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Deutz/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660262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Sans Alcool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De Chanceny/CA A</a:t>
                      </a:r>
                    </a:p>
                  </a:txBody>
                  <a:tcPr marL="36000" marR="36000" marT="4763" marB="0" anchor="ctr">
                    <a:solidFill>
                      <a:srgbClr val="F2F2F2"/>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De Chanceny/CA C</a:t>
                      </a:r>
                    </a:p>
                  </a:txBody>
                  <a:tcPr marL="36000" marR="36000" marT="4763" marB="0" anchor="ctr">
                    <a:solidFill>
                      <a:srgbClr val="F2F2F2"/>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Lyre's/CA A</a:t>
                      </a:r>
                    </a:p>
                  </a:txBody>
                  <a:tcPr marL="36000" marR="36000" marT="4763" marB="0" anchor="ctr">
                    <a:solidFill>
                      <a:srgbClr val="FFBFBF"/>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De Chanceny/CA D</a:t>
                      </a:r>
                    </a:p>
                  </a:txBody>
                  <a:tcPr marL="36000" marR="36000" marT="4763" marB="0" anchor="ctr">
                    <a:solidFill>
                      <a:srgbClr val="F2F2F2"/>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Lyre's/CA C</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De Chanceny/CA B</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De Chanceny/CA E</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Lyre's/CA D</a:t>
                      </a:r>
                    </a:p>
                  </a:txBody>
                  <a:tcPr marL="36000" marR="36000" marT="4763" marB="0" anchor="ctr">
                    <a:solidFill>
                      <a:srgbClr val="FFBFBF"/>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Lyre's/CA E</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Lyre's/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424441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Laurent Perrier: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4846398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14546516"/>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IDF/Champagnes/Bruts</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IDF/Champagnes/Blanc De Blancs</a:t>
                      </a:r>
                    </a:p>
                  </a:txBody>
                  <a:tcPr marL="36000" marR="36000" marT="4763" marB="0" anchor="ctr">
                    <a:solidFill>
                      <a:srgbClr val="FFBFBF"/>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IDF/Champagnes/Bruts</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IDF/Champagnes/Bruts</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IDF/Champagnes/Bruts</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IDF/Champagnes/Crus</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IDF/Champagnes/Bruts</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PAC/Champagnes/Bruts</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PAC/Champagnes/Blanc De Blancs</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Champagnes/Bruts</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RHO/Champagnes/Bruts</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PAC/Champagnes/Bruts</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IDF/Champagnes/Blanc De Blancs</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RHO/Champagnes/Blanc De Blancs</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RHO/Champagnes/Bruts</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IDF/Champagnes/Rosés</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PAC/Champagnes/Bruts</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OCC/Champagnes/Bruts</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AQU/Champagnes/Bruts</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RHO/Champagnes/Bruts</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PAC/Champagnes/Bruts</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AQU/Champagnes/Bruts</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EST/Champagnes/Bruts</a:t>
                      </a:r>
                    </a:p>
                  </a:txBody>
                  <a:tcPr marL="36000" marR="36000" marT="4763" marB="0" anchor="ctr">
                    <a:solidFill>
                      <a:srgbClr val="CBEAE7"/>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PAC/Champagnes/Rosés</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NDI/Champagnes/Bruts</a:t>
                      </a:r>
                    </a:p>
                  </a:txBody>
                  <a:tcPr marL="36000" marR="36000" marT="4763" marB="0" anchor="ctr">
                    <a:solidFill>
                      <a:srgbClr val="F2F2F2"/>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HAU/Champagnes/Bruts</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AQU/Champagnes/Bruts</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HAU/Champagnes/Bruts</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Champagnes/Bruts</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RHO/Champagnes/Brut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4723785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QCT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219710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CCC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CBEAE7"/>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Dom Perignon/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0629835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IDF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364586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BR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CBEAE7"/>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F2F2F2"/>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F2F2F2"/>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66272227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CE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CBEAE7"/>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FBFBF"/>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yala/Champagnes</a:t>
                      </a:r>
                    </a:p>
                  </a:txBody>
                  <a:tcPr marL="36000" marR="36000" marT="4763" marB="0" anchor="ctr">
                    <a:solidFill>
                      <a:srgbClr val="CBEAE7"/>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120611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A D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2948753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1398425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235764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5166327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5927735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7.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6338433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9877067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9065398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4528525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25112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8615748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4220064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695180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0613513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0795985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896850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0767759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906532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51796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83849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3647597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5546184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268340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1443470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8984797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9679904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4971776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9761990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0.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4337576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9.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3.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8.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626514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2967183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0.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0.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020270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884147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3581706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astella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8903141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8402917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0.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2789878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24113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26650178"/>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85568238"/>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1.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83307079"/>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Veuve Amb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Couvent Des Visitandi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Moil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Louis Bouill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Vale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aves De Lu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Couvent Des Visitandin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o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Louis Bouill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Vale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Caves De Lu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201393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reixen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Wolfber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4158408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6420349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4522995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143731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65848782"/>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017210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ontaud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89965660"/>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1779706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57101929"/>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2316319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39799035"/>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8141109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6505514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0820753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49475312"/>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8114233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94899640"/>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92175639"/>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6173093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7890673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7526854"/>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154531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9832359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36467290"/>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0938752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921596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6581094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7893501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61437302"/>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Celene Bordea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Jaill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Sieur Gail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Les Cordeli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alv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allarin Jean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Males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Jaill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ieur Ga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Les Cordeli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Calv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70657766"/>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12751089"/>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6985298"/>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46493831"/>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15957259"/>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4892585"/>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93955512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7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72">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72">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72">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63915958"/>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8/29/2025</a:t>
            </a:fld>
            <a:endParaRPr lang="en-US"/>
          </a:p>
        </p:txBody>
      </p:sp>
    </p:spTree>
    <p:extLst>
      <p:ext uri="{BB962C8B-B14F-4D97-AF65-F5344CB8AC3E}">
        <p14:creationId xmlns:p14="http://schemas.microsoft.com/office/powerpoint/2010/main" val="2378674179"/>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83791179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Best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ve Beblen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Les Caves Len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Geiler Je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opf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Henri Ehrh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96122373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430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430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4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D'Art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Festilla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Petillant De 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74139825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Best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ve Beblen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Les Quinze Arpen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Geiler Je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opf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Henri Ehrh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419082697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4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4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4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Ballarin Jean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Males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Jaill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Sieur Ga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Les Cordeli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Calv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875892200"/>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300949390"/>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75488348"/>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3779641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8147506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19282365"/>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9205101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4845219"/>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465462832"/>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108036688"/>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3749325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2634929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10514415"/>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181588187"/>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751345653"/>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398486787"/>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241087555"/>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8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010844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15056292"/>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9924185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28236624"/>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44706142"/>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12623315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768536212"/>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65630545"/>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543262502"/>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313549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884332085"/>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0598074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0.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09851490"/>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594840882"/>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04720669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0974951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133921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Bardin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Gratien &amp; Mey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Li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Freixen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Orchide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D'Art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Festilla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Petillant De 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19072315"/>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14686997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753656702"/>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26718598"/>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005568303"/>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60000563"/>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74344053"/>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2688380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308455833"/>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244517302"/>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12962326"/>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169766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12713863"/>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194116761"/>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gion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77492443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VENUE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214268315"/>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VENUE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 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CA 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012474398"/>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VENUE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42274323"/>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VENUE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00594226"/>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VENUE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 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CA 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86834343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VENUE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52566712"/>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VENUE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767911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94502113"/>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VENUE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65547431"/>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VENUE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 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CA 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132500523"/>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VENUE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 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CA 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84507180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VENUE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30689089"/>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VENUE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 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CA 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70801374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VENUE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A 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CA B</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A 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524808441"/>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Bardi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Gratien &amp; Mey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Orchide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ampa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81384454"/>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HMS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Montau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Bardi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Gratien &amp; Mey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Orchide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ampa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92631925"/>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8382671"/>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ICOLAS PA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181191653"/>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ICOLAS HA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900525736"/>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9550056"/>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HMS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D'Art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Festilla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Petillant De 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Riccadon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588474674"/>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Q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54216061"/>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CC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621722056"/>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PA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057047583"/>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ICOLAS HA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43298325"/>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766364728"/>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Champagn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Effervescents Sans Alcool</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08384007"/>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590774497"/>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HMS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Couvent Des Visitandin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Mo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Louis Bouill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Vale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Caves De Lu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844584091"/>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12113548"/>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6404359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51804151"/>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QC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758245085"/>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057861252"/>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V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9348556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y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French Bloo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Veuve Du Vern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Nectaro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Sans Alcool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28252633"/>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CCQ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49894190"/>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IDF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46814892"/>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IDF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48534324"/>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RH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22002192"/>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AQ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388814408"/>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AQ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4201103148"/>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OC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4232457050"/>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HA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966738431"/>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HA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728002494"/>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ND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069685441"/>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B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120331048"/>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LO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84071702"/>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LO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87673936"/>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NICOLAS BO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0141799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07012223"/>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2852971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45507043"/>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92029694"/>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34226024"/>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173265607"/>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4.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14752345"/>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585299043"/>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HMSM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70">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70">
                <a:tc>
                  <a:txBody>
                    <a:bodyPr/>
                    <a:lstStyle/>
                    <a:p>
                      <a:pPr>
                        <a:defRPr sz="900">
                          <a:latin typeface="Nexa Bold"/>
                        </a:defRPr>
                      </a:pPr>
                      <a:r>
                        <a:t>Ballarin Jean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70">
                <a:tc>
                  <a:txBody>
                    <a:bodyPr/>
                    <a:lstStyle/>
                    <a:p>
                      <a:pPr>
                        <a:defRPr sz="900">
                          <a:latin typeface="Nexa Bold"/>
                        </a:defRPr>
                      </a:pPr>
                      <a:r>
                        <a:t>Males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70">
                <a:tc>
                  <a:txBody>
                    <a:bodyPr/>
                    <a:lstStyle/>
                    <a:p>
                      <a:pPr>
                        <a:defRPr sz="900">
                          <a:latin typeface="Nexa Bold"/>
                        </a:defRPr>
                      </a:pPr>
                      <a:r>
                        <a:t>Jaill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70">
                <a:tc>
                  <a:txBody>
                    <a:bodyPr/>
                    <a:lstStyle/>
                    <a:p>
                      <a:pPr>
                        <a:defRPr sz="900">
                          <a:latin typeface="Nexa Bold"/>
                        </a:defRPr>
                      </a:pPr>
                      <a:r>
                        <a:t>Sieur Ga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70">
                <a:tc>
                  <a:txBody>
                    <a:bodyPr/>
                    <a:lstStyle/>
                    <a:p>
                      <a:pPr>
                        <a:defRPr sz="900">
                          <a:latin typeface="Nexa Bold"/>
                        </a:defRPr>
                      </a:pPr>
                      <a:r>
                        <a:t>Les Cordeli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70">
                <a:tc>
                  <a:txBody>
                    <a:bodyPr/>
                    <a:lstStyle/>
                    <a:p>
                      <a:pPr>
                        <a:defRPr sz="900">
                          <a:latin typeface="Nexa Bold"/>
                        </a:defRPr>
                      </a:pPr>
                      <a:r>
                        <a:t>Calv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63915958"/>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8/29/2025</a:t>
            </a:fld>
            <a:endParaRPr lang="en-US"/>
          </a:p>
        </p:txBody>
      </p:sp>
    </p:spTree>
    <p:extLst>
      <p:ext uri="{BB962C8B-B14F-4D97-AF65-F5344CB8AC3E}">
        <p14:creationId xmlns:p14="http://schemas.microsoft.com/office/powerpoint/2010/main" val="2425545583"/>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VC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3774243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31121104"/>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948169842"/>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Q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858552454"/>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C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283953667"/>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VC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23949272"/>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C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523303444"/>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C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9.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76972227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80155996"/>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IDF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193114157"/>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PA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140418505"/>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RH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478280041"/>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066006376"/>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HA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707419548"/>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HA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722525665"/>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60765575"/>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LO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8.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329325203"/>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788529819"/>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016452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4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4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5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6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6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7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8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8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8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9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0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1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3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5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5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7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7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8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9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0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0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0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0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1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2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3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1</cp:revision>
  <dcterms:created xsi:type="dcterms:W3CDTF">2024-07-05T07:54:38Z</dcterms:created>
  <dcterms:modified xsi:type="dcterms:W3CDTF">2025-08-29T09:10:38Z</dcterms:modified>
</cp:coreProperties>
</file>